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comment2.xml" ContentType="application/vnd.openxmlformats-officedocument.presentationml.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6.xml" ContentType="application/vnd.openxmlformats-officedocument.presentationml.notesSlide+xml"/>
  <Override PartName="/ppt/charts/chart1.xml" ContentType="application/vnd.openxmlformats-officedocument.drawingml.chart+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comments/comment3.xml" ContentType="application/vnd.openxmlformats-officedocument.presentationml.comment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00" r:id="rId5"/>
    <p:sldMasterId id="2147483729" r:id="rId6"/>
  </p:sldMasterIdLst>
  <p:notesMasterIdLst>
    <p:notesMasterId r:id="rId50"/>
  </p:notesMasterIdLst>
  <p:sldIdLst>
    <p:sldId id="257" r:id="rId7"/>
    <p:sldId id="256" r:id="rId8"/>
    <p:sldId id="299" r:id="rId9"/>
    <p:sldId id="303" r:id="rId10"/>
    <p:sldId id="324" r:id="rId11"/>
    <p:sldId id="321" r:id="rId12"/>
    <p:sldId id="346" r:id="rId13"/>
    <p:sldId id="343" r:id="rId14"/>
    <p:sldId id="322" r:id="rId15"/>
    <p:sldId id="325" r:id="rId16"/>
    <p:sldId id="344" r:id="rId17"/>
    <p:sldId id="327" r:id="rId18"/>
    <p:sldId id="328" r:id="rId19"/>
    <p:sldId id="326" r:id="rId20"/>
    <p:sldId id="329" r:id="rId21"/>
    <p:sldId id="331" r:id="rId22"/>
    <p:sldId id="330" r:id="rId23"/>
    <p:sldId id="332" r:id="rId24"/>
    <p:sldId id="333" r:id="rId25"/>
    <p:sldId id="335" r:id="rId26"/>
    <p:sldId id="336" r:id="rId27"/>
    <p:sldId id="334" r:id="rId28"/>
    <p:sldId id="309" r:id="rId29"/>
    <p:sldId id="337" r:id="rId30"/>
    <p:sldId id="338" r:id="rId31"/>
    <p:sldId id="339" r:id="rId32"/>
    <p:sldId id="348" r:id="rId33"/>
    <p:sldId id="412" r:id="rId34"/>
    <p:sldId id="405" r:id="rId35"/>
    <p:sldId id="417" r:id="rId36"/>
    <p:sldId id="406" r:id="rId37"/>
    <p:sldId id="400" r:id="rId38"/>
    <p:sldId id="415" r:id="rId39"/>
    <p:sldId id="419" r:id="rId40"/>
    <p:sldId id="426" r:id="rId41"/>
    <p:sldId id="425" r:id="rId42"/>
    <p:sldId id="323" r:id="rId43"/>
    <p:sldId id="340" r:id="rId44"/>
    <p:sldId id="341" r:id="rId45"/>
    <p:sldId id="347" r:id="rId46"/>
    <p:sldId id="345" r:id="rId47"/>
    <p:sldId id="320" r:id="rId48"/>
    <p:sldId id="287"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31" userDrawn="1">
          <p15:clr>
            <a:srgbClr val="A4A3A4"/>
          </p15:clr>
        </p15:guide>
        <p15:guide id="2" pos="506" userDrawn="1">
          <p15:clr>
            <a:srgbClr val="A4A3A4"/>
          </p15:clr>
        </p15:guide>
        <p15:guide id="3" orient="horz" pos="1321" userDrawn="1">
          <p15:clr>
            <a:srgbClr val="A4A3A4"/>
          </p15:clr>
        </p15:guide>
        <p15:guide id="4" orient="horz" pos="402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Voorden, Carolien" initials="VC" lastIdx="6" clrIdx="0">
    <p:extLst>
      <p:ext uri="{19B8F6BF-5375-455C-9EA6-DF929625EA0E}">
        <p15:presenceInfo xmlns:p15="http://schemas.microsoft.com/office/powerpoint/2012/main" userId="S::C.VANDERVOORDEN@tetratech.com::148847bf-7b2e-4572-92ce-d26cd5178f0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020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4D0E9C-A248-47D0-824A-444E9D333E41}" v="4" dt="2023-05-01T18:07:16.5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3493" autoAdjust="0"/>
    <p:restoredTop sz="84689" autoAdjust="0"/>
  </p:normalViewPr>
  <p:slideViewPr>
    <p:cSldViewPr snapToGrid="0" showGuides="1">
      <p:cViewPr varScale="1">
        <p:scale>
          <a:sx n="62" d="100"/>
          <a:sy n="62" d="100"/>
        </p:scale>
        <p:origin x="278" y="67"/>
      </p:cViewPr>
      <p:guideLst>
        <p:guide orient="horz" pos="731"/>
        <p:guide pos="506"/>
        <p:guide orient="horz" pos="1321"/>
        <p:guide orient="horz" pos="4020"/>
      </p:guideLst>
    </p:cSldViewPr>
  </p:slideViewPr>
  <p:notesTextViewPr>
    <p:cViewPr>
      <p:scale>
        <a:sx n="1" d="1"/>
        <a:sy n="1" d="1"/>
      </p:scale>
      <p:origin x="0" y="0"/>
    </p:cViewPr>
  </p:notesTextViewPr>
  <p:sorterViewPr>
    <p:cViewPr varScale="1">
      <p:scale>
        <a:sx n="1" d="1"/>
        <a:sy n="1" d="1"/>
      </p:scale>
      <p:origin x="0" y="-11587"/>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microsoft.com/office/2015/10/relationships/revisionInfo" Target="revisionInfo.xml"/><Relationship Id="rId8" Type="http://schemas.openxmlformats.org/officeDocument/2006/relationships/slide" Target="slides/slide2.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307933662034961E-2"/>
          <c:y val="4.779411764705882E-2"/>
          <c:w val="0.95338413267593003"/>
          <c:h val="0.90441176470588236"/>
        </c:manualLayout>
      </c:layout>
      <c:barChart>
        <c:barDir val="bar"/>
        <c:grouping val="stacked"/>
        <c:varyColors val="0"/>
        <c:ser>
          <c:idx val="0"/>
          <c:order val="0"/>
          <c:spPr>
            <a:solidFill>
              <a:srgbClr val="9DB1CF"/>
            </a:solidFill>
            <a:ln w="9525" algn="ctr">
              <a:solidFill>
                <a:schemeClr val="tx1"/>
              </a:solidFill>
              <a:prstDash val="solid"/>
            </a:ln>
          </c:spPr>
          <c:invertIfNegative val="0"/>
          <c:dLbls>
            <c:dLbl>
              <c:idx val="0"/>
              <c:layout>
                <c:manualLayout>
                  <c:x val="0"/>
                  <c:y val="2.7573529411764708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CB3-4B5D-B3D6-9F04458645B0}"/>
                </c:ext>
              </c:extLst>
            </c:dLbl>
            <c:dLbl>
              <c:idx val="1"/>
              <c:layout>
                <c:manualLayout>
                  <c:x val="0"/>
                  <c:y val="2.7573529411764708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CB3-4B5D-B3D6-9F04458645B0}"/>
                </c:ext>
              </c:extLst>
            </c:dLbl>
            <c:dLbl>
              <c:idx val="2"/>
              <c:layout>
                <c:manualLayout>
                  <c:x val="0"/>
                  <c:y val="2.7573529411764708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CB3-4B5D-B3D6-9F04458645B0}"/>
                </c:ext>
              </c:extLst>
            </c:dLbl>
            <c:dLbl>
              <c:idx val="3"/>
              <c:layout>
                <c:manualLayout>
                  <c:x val="0"/>
                  <c:y val="2.7573529411764708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CB3-4B5D-B3D6-9F04458645B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5</c:v>
                </c:pt>
                <c:pt idx="1">
                  <c:v>11</c:v>
                </c:pt>
                <c:pt idx="2">
                  <c:v>14.000000000000002</c:v>
                </c:pt>
                <c:pt idx="3">
                  <c:v>37</c:v>
                </c:pt>
              </c:numCache>
            </c:numRef>
          </c:val>
          <c:extLst>
            <c:ext xmlns:c16="http://schemas.microsoft.com/office/drawing/2014/chart" uri="{C3380CC4-5D6E-409C-BE32-E72D297353CC}">
              <c16:uniqueId val="{00000004-9CB3-4B5D-B3D6-9F04458645B0}"/>
            </c:ext>
          </c:extLst>
        </c:ser>
        <c:ser>
          <c:idx val="1"/>
          <c:order val="1"/>
          <c:spPr>
            <a:solidFill>
              <a:srgbClr val="B9FDE3"/>
            </a:solidFill>
            <a:ln>
              <a:noFill/>
            </a:ln>
          </c:spPr>
          <c:invertIfNegative val="0"/>
          <c:dLbls>
            <c:dLbl>
              <c:idx val="0"/>
              <c:layout>
                <c:manualLayout>
                  <c:x val="0"/>
                  <c:y val="2.7573529411764708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CB3-4B5D-B3D6-9F04458645B0}"/>
                </c:ext>
              </c:extLst>
            </c:dLbl>
            <c:dLbl>
              <c:idx val="1"/>
              <c:layout>
                <c:manualLayout>
                  <c:x val="0"/>
                  <c:y val="2.7573529411764708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CB3-4B5D-B3D6-9F04458645B0}"/>
                </c:ext>
              </c:extLst>
            </c:dLbl>
            <c:dLbl>
              <c:idx val="2"/>
              <c:layout>
                <c:manualLayout>
                  <c:x val="0"/>
                  <c:y val="2.7573529411764708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CB3-4B5D-B3D6-9F04458645B0}"/>
                </c:ext>
              </c:extLst>
            </c:dLbl>
            <c:dLbl>
              <c:idx val="3"/>
              <c:layout>
                <c:manualLayout>
                  <c:x val="0"/>
                  <c:y val="2.7573529411764708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CB3-4B5D-B3D6-9F04458645B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2.000000000000007</c:v>
                </c:pt>
                <c:pt idx="1">
                  <c:v>35</c:v>
                </c:pt>
                <c:pt idx="2">
                  <c:v>63</c:v>
                </c:pt>
                <c:pt idx="3">
                  <c:v>55.000000000000007</c:v>
                </c:pt>
              </c:numCache>
            </c:numRef>
          </c:val>
          <c:extLst>
            <c:ext xmlns:c16="http://schemas.microsoft.com/office/drawing/2014/chart" uri="{C3380CC4-5D6E-409C-BE32-E72D297353CC}">
              <c16:uniqueId val="{00000009-9CB3-4B5D-B3D6-9F04458645B0}"/>
            </c:ext>
          </c:extLst>
        </c:ser>
        <c:ser>
          <c:idx val="2"/>
          <c:order val="2"/>
          <c:spPr>
            <a:solidFill>
              <a:srgbClr val="DFE5EF"/>
            </a:solidFill>
            <a:ln w="9525" algn="ctr">
              <a:solidFill>
                <a:schemeClr val="tx1"/>
              </a:solidFill>
              <a:prstDash val="solid"/>
            </a:ln>
          </c:spPr>
          <c:invertIfNegative val="0"/>
          <c:dLbls>
            <c:dLbl>
              <c:idx val="0"/>
              <c:layout>
                <c:manualLayout>
                  <c:x val="-4.4822949350067237E-4"/>
                  <c:y val="2.7573529411764708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CB3-4B5D-B3D6-9F04458645B0}"/>
                </c:ext>
              </c:extLst>
            </c:dLbl>
            <c:dLbl>
              <c:idx val="1"/>
              <c:layout>
                <c:manualLayout>
                  <c:x val="-4.4822949350067237E-4"/>
                  <c:y val="2.7573529411764708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CB3-4B5D-B3D6-9F04458645B0}"/>
                </c:ext>
              </c:extLst>
            </c:dLbl>
            <c:dLbl>
              <c:idx val="2"/>
              <c:layout>
                <c:manualLayout>
                  <c:x val="0"/>
                  <c:y val="2.7573529411764708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CB3-4B5D-B3D6-9F04458645B0}"/>
                </c:ext>
              </c:extLst>
            </c:dLbl>
            <c:dLbl>
              <c:idx val="3"/>
              <c:layout>
                <c:manualLayout>
                  <c:x val="0"/>
                  <c:y val="2.7573529411764708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CB3-4B5D-B3D6-9F04458645B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42.999999999999993</c:v>
                </c:pt>
                <c:pt idx="1">
                  <c:v>54</c:v>
                </c:pt>
                <c:pt idx="2">
                  <c:v>23</c:v>
                </c:pt>
                <c:pt idx="3">
                  <c:v>7.9999999999999964</c:v>
                </c:pt>
              </c:numCache>
            </c:numRef>
          </c:val>
          <c:extLst>
            <c:ext xmlns:c16="http://schemas.microsoft.com/office/drawing/2014/chart" uri="{C3380CC4-5D6E-409C-BE32-E72D297353CC}">
              <c16:uniqueId val="{0000000E-9CB3-4B5D-B3D6-9F04458645B0}"/>
            </c:ext>
          </c:extLst>
        </c:ser>
        <c:dLbls>
          <c:showLegendKey val="0"/>
          <c:showVal val="0"/>
          <c:showCatName val="0"/>
          <c:showSerName val="0"/>
          <c:showPercent val="0"/>
          <c:showBubbleSize val="0"/>
        </c:dLbls>
        <c:gapWidth val="80"/>
        <c:overlap val="100"/>
        <c:axId val="872659024"/>
        <c:axId val="1"/>
      </c:barChart>
      <c:catAx>
        <c:axId val="87265902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872659024"/>
        <c:crosses val="min"/>
        <c:crossBetween val="between"/>
      </c:valAx>
    </c:plotArea>
    <c:plotVisOnly val="0"/>
    <c:dispBlanksAs val="gap"/>
    <c:showDLblsOverMax val="1"/>
  </c:chart>
  <c:externalData r:id="rId1">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1" dt="2023-04-03T17:50:53.502" idx="3">
    <p:pos x="-952" y="3429"/>
    <p:text>placeholder for FINISH Mondial logo</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3-04-04T12:51:42.138" idx="4">
    <p:pos x="-527" y="57"/>
    <p:text>placeholder for FINISH mondial presentation. Incorporate here or switch screens at this point.</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3-04-04T14:51:51.657" idx="5">
    <p:pos x="7258" y="3847"/>
    <p:text>Add FINISH mondial logo</p:text>
    <p:extLst>
      <p:ext uri="{C676402C-5697-4E1C-873F-D02D1690AC5C}">
        <p15:threadingInfo xmlns:p15="http://schemas.microsoft.com/office/powerpoint/2012/main" timeZoneBias="-120"/>
      </p:ext>
    </p:extLst>
  </p:cm>
</p:cmLst>
</file>

<file path=ppt/diagrams/_rels/data7.xml.rels><?xml version="1.0" encoding="UTF-8" standalone="yes"?>
<Relationships xmlns="http://schemas.openxmlformats.org/package/2006/relationships"><Relationship Id="rId3" Type="http://schemas.openxmlformats.org/officeDocument/2006/relationships/hyperlink" Target="https://finishmondial.org/we-recycle-the-human-waste-from-the-toilets-we-build/" TargetMode="External"/><Relationship Id="rId7" Type="http://schemas.openxmlformats.org/officeDocument/2006/relationships/image" Target="../media/image80.png"/><Relationship Id="rId2" Type="http://schemas.openxmlformats.org/officeDocument/2006/relationships/hyperlink" Target="https://www.thecirculateinitiative.org/_files/ugd/77554d_c9e7f8bcbc9a4bf6931be17e7387f40a.pdf" TargetMode="External"/><Relationship Id="rId1" Type="http://schemas.openxmlformats.org/officeDocument/2006/relationships/hyperlink" Target="https://www.susana.org/en/knowledge-hub/resources-and-publications/library/details/2895" TargetMode="External"/><Relationship Id="rId6" Type="http://schemas.openxmlformats.org/officeDocument/2006/relationships/image" Target="../media/image79.jpeg"/><Relationship Id="rId5" Type="http://schemas.openxmlformats.org/officeDocument/2006/relationships/image" Target="../media/image78.jpeg"/><Relationship Id="rId4" Type="http://schemas.openxmlformats.org/officeDocument/2006/relationships/image" Target="../media/image77.png"/></Relationships>
</file>

<file path=ppt/diagrams/_rels/drawing7.xml.rels><?xml version="1.0" encoding="UTF-8" standalone="yes"?>
<Relationships xmlns="http://schemas.openxmlformats.org/package/2006/relationships"><Relationship Id="rId3" Type="http://schemas.openxmlformats.org/officeDocument/2006/relationships/image" Target="../media/image78.jpeg"/><Relationship Id="rId7" Type="http://schemas.openxmlformats.org/officeDocument/2006/relationships/hyperlink" Target="https://finishmondial.org/we-recycle-the-human-waste-from-the-toilets-we-build/" TargetMode="External"/><Relationship Id="rId2" Type="http://schemas.openxmlformats.org/officeDocument/2006/relationships/hyperlink" Target="https://www.susana.org/en/knowledge-hub/resources-and-publications/library/details/2895" TargetMode="External"/><Relationship Id="rId1" Type="http://schemas.openxmlformats.org/officeDocument/2006/relationships/image" Target="../media/image77.png"/><Relationship Id="rId6" Type="http://schemas.openxmlformats.org/officeDocument/2006/relationships/image" Target="../media/image80.png"/><Relationship Id="rId5" Type="http://schemas.openxmlformats.org/officeDocument/2006/relationships/hyperlink" Target="https://www.thecirculateinitiative.org/_files/ugd/77554d_c9e7f8bcbc9a4bf6931be17e7387f40a.pdf" TargetMode="External"/><Relationship Id="rId4" Type="http://schemas.openxmlformats.org/officeDocument/2006/relationships/image" Target="../media/image79.jpeg"/></Relationships>
</file>

<file path=ppt/diagrams/colors1.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39CCC3E-B032-425E-8F2B-CF08BA78433C}" type="doc">
      <dgm:prSet loTypeId="urn:microsoft.com/office/officeart/2005/8/layout/process1" loCatId="process" qsTypeId="urn:microsoft.com/office/officeart/2005/8/quickstyle/simple1" qsCatId="simple" csTypeId="urn:microsoft.com/office/officeart/2005/8/colors/accent2_4" csCatId="accent2" phldr="1"/>
      <dgm:spPr/>
    </dgm:pt>
    <dgm:pt modelId="{66FE08F5-32C9-49EF-A77B-0FAB181C0769}">
      <dgm:prSet phldrT="[Text]" custT="1"/>
      <dgm:spPr>
        <a:solidFill>
          <a:schemeClr val="accent6">
            <a:lumMod val="75000"/>
          </a:schemeClr>
        </a:solidFill>
        <a:ln>
          <a:solidFill>
            <a:schemeClr val="accent6">
              <a:lumMod val="75000"/>
            </a:schemeClr>
          </a:solidFill>
        </a:ln>
      </dgm:spPr>
      <dgm:t>
        <a:bodyPr/>
        <a:lstStyle/>
        <a:p>
          <a:pPr>
            <a:lnSpc>
              <a:spcPct val="100000"/>
            </a:lnSpc>
            <a:spcAft>
              <a:spcPts val="0"/>
            </a:spcAft>
          </a:pPr>
          <a:r>
            <a:rPr lang="en-US" sz="1200" dirty="0">
              <a:latin typeface="Quicksand" pitchFamily="2" charset="0"/>
            </a:rPr>
            <a:t>IF guiding principles ensure a focus on</a:t>
          </a:r>
        </a:p>
        <a:p>
          <a:pPr>
            <a:lnSpc>
              <a:spcPct val="100000"/>
            </a:lnSpc>
            <a:spcAft>
              <a:spcPts val="0"/>
            </a:spcAft>
          </a:pPr>
          <a:r>
            <a:rPr lang="en-US" sz="1200" dirty="0">
              <a:latin typeface="Quicksand" pitchFamily="2" charset="0"/>
            </a:rPr>
            <a:t>scale,</a:t>
          </a:r>
        </a:p>
        <a:p>
          <a:pPr>
            <a:lnSpc>
              <a:spcPct val="100000"/>
            </a:lnSpc>
            <a:spcAft>
              <a:spcPts val="0"/>
            </a:spcAft>
          </a:pPr>
          <a:r>
            <a:rPr lang="en-US" sz="1200" dirty="0">
              <a:latin typeface="Quicksand" pitchFamily="2" charset="0"/>
            </a:rPr>
            <a:t>universal and inclusive coverage,</a:t>
          </a:r>
        </a:p>
        <a:p>
          <a:pPr>
            <a:lnSpc>
              <a:spcPct val="100000"/>
            </a:lnSpc>
            <a:spcAft>
              <a:spcPts val="0"/>
            </a:spcAft>
          </a:pPr>
          <a:r>
            <a:rPr lang="en-US" sz="1200" dirty="0">
              <a:latin typeface="Quicksand" pitchFamily="2" charset="0"/>
            </a:rPr>
            <a:t>government leadership, and</a:t>
          </a:r>
        </a:p>
        <a:p>
          <a:pPr>
            <a:lnSpc>
              <a:spcPct val="100000"/>
            </a:lnSpc>
            <a:spcAft>
              <a:spcPts val="0"/>
            </a:spcAft>
          </a:pPr>
          <a:r>
            <a:rPr lang="en-US" sz="1200" dirty="0">
              <a:latin typeface="Quicksand" pitchFamily="2" charset="0"/>
            </a:rPr>
            <a:t>sustainability;</a:t>
          </a:r>
        </a:p>
      </dgm:t>
    </dgm:pt>
    <dgm:pt modelId="{BDF7F313-C5E6-4B61-82C2-4BBA6A6AA3F6}" type="parTrans" cxnId="{755234F7-6836-4BA6-B6EC-92C47614BCE7}">
      <dgm:prSet/>
      <dgm:spPr/>
      <dgm:t>
        <a:bodyPr/>
        <a:lstStyle/>
        <a:p>
          <a:endParaRPr lang="en-US" sz="1200">
            <a:latin typeface="Quicksand" pitchFamily="2" charset="0"/>
          </a:endParaRPr>
        </a:p>
      </dgm:t>
    </dgm:pt>
    <dgm:pt modelId="{2E0E5FD0-E42C-4356-908A-6B776AF0A68D}" type="sibTrans" cxnId="{755234F7-6836-4BA6-B6EC-92C47614BCE7}">
      <dgm:prSet custT="1"/>
      <dgm:spPr>
        <a:solidFill>
          <a:srgbClr val="BA0C2F"/>
        </a:solidFill>
        <a:ln>
          <a:noFill/>
        </a:ln>
      </dgm:spPr>
      <dgm:t>
        <a:bodyPr/>
        <a:lstStyle/>
        <a:p>
          <a:endParaRPr lang="en-US" sz="1200">
            <a:latin typeface="Quicksand" pitchFamily="2" charset="0"/>
          </a:endParaRPr>
        </a:p>
      </dgm:t>
    </dgm:pt>
    <dgm:pt modelId="{BC323D66-F350-4F9E-9403-FEC1F71AEB52}">
      <dgm:prSet phldrT="[Text]" custT="1"/>
      <dgm:spPr>
        <a:solidFill>
          <a:schemeClr val="tx2">
            <a:lumMod val="75000"/>
          </a:schemeClr>
        </a:solidFill>
        <a:ln>
          <a:solidFill>
            <a:schemeClr val="tx2">
              <a:lumMod val="75000"/>
            </a:schemeClr>
          </a:solidFill>
        </a:ln>
      </dgm:spPr>
      <dgm:t>
        <a:bodyPr/>
        <a:lstStyle/>
        <a:p>
          <a:pPr>
            <a:lnSpc>
              <a:spcPct val="100000"/>
            </a:lnSpc>
            <a:spcAft>
              <a:spcPts val="0"/>
            </a:spcAft>
          </a:pPr>
          <a:r>
            <a:rPr lang="en-US" sz="1200" dirty="0">
              <a:latin typeface="Quicksand" pitchFamily="2" charset="0"/>
            </a:rPr>
            <a:t>AND IF a range of proven, available sanitation and hygiene interventions, products, and services exist that can be applied in the administrative area; </a:t>
          </a:r>
          <a:endParaRPr lang="en-US" sz="1200">
            <a:latin typeface="Quicksand" pitchFamily="2" charset="0"/>
          </a:endParaRPr>
        </a:p>
      </dgm:t>
    </dgm:pt>
    <dgm:pt modelId="{D0654708-3449-4A7E-A76D-4944F36D8E8F}" type="parTrans" cxnId="{371D9E76-E920-4FA6-9614-BA0719F600A4}">
      <dgm:prSet/>
      <dgm:spPr/>
      <dgm:t>
        <a:bodyPr/>
        <a:lstStyle/>
        <a:p>
          <a:endParaRPr lang="en-US" sz="1200">
            <a:latin typeface="Quicksand" pitchFamily="2" charset="0"/>
          </a:endParaRPr>
        </a:p>
      </dgm:t>
    </dgm:pt>
    <dgm:pt modelId="{8C3C1E88-D241-4B75-A080-32CEB6EC9A22}" type="sibTrans" cxnId="{371D9E76-E920-4FA6-9614-BA0719F600A4}">
      <dgm:prSet custT="1"/>
      <dgm:spPr>
        <a:solidFill>
          <a:srgbClr val="BA0C2F">
            <a:alpha val="45000"/>
          </a:srgbClr>
        </a:solidFill>
        <a:ln>
          <a:noFill/>
        </a:ln>
      </dgm:spPr>
      <dgm:t>
        <a:bodyPr/>
        <a:lstStyle/>
        <a:p>
          <a:endParaRPr lang="en-US" sz="1200">
            <a:latin typeface="Quicksand" pitchFamily="2" charset="0"/>
          </a:endParaRPr>
        </a:p>
      </dgm:t>
    </dgm:pt>
    <dgm:pt modelId="{DD257840-8276-4726-95D4-FDE3EB9BC95E}">
      <dgm:prSet phldrT="[Text]" custT="1"/>
      <dgm:spPr>
        <a:solidFill>
          <a:schemeClr val="bg2"/>
        </a:solidFill>
        <a:ln>
          <a:solidFill>
            <a:schemeClr val="bg2"/>
          </a:solidFill>
        </a:ln>
      </dgm:spPr>
      <dgm:t>
        <a:bodyPr/>
        <a:lstStyle/>
        <a:p>
          <a:pPr>
            <a:lnSpc>
              <a:spcPct val="100000"/>
            </a:lnSpc>
            <a:spcAft>
              <a:spcPts val="0"/>
            </a:spcAft>
          </a:pPr>
          <a:r>
            <a:rPr lang="en-US" sz="1200" dirty="0">
              <a:latin typeface="Quicksand" pitchFamily="2" charset="0"/>
            </a:rPr>
            <a:t>THEN local government and implementing partners can ensure application of a mix of sanitation and hygiene interventions and services at scale, properly adapted for the different rural contexts and target populations, and adapted over time to achieve planned outcomes;</a:t>
          </a:r>
        </a:p>
      </dgm:t>
    </dgm:pt>
    <dgm:pt modelId="{F32EB9F6-D9A1-4BD0-9EF2-C268A16457BD}" type="parTrans" cxnId="{A23F3C43-A129-440E-96FE-3071BA5CA3E4}">
      <dgm:prSet/>
      <dgm:spPr/>
      <dgm:t>
        <a:bodyPr/>
        <a:lstStyle/>
        <a:p>
          <a:endParaRPr lang="en-US" sz="1200">
            <a:latin typeface="Quicksand" pitchFamily="2" charset="0"/>
          </a:endParaRPr>
        </a:p>
      </dgm:t>
    </dgm:pt>
    <dgm:pt modelId="{3C22DF45-1FA7-40AD-85F7-901CD15EC354}" type="sibTrans" cxnId="{A23F3C43-A129-440E-96FE-3071BA5CA3E4}">
      <dgm:prSet custT="1"/>
      <dgm:spPr>
        <a:solidFill>
          <a:srgbClr val="BA0C2F">
            <a:alpha val="25000"/>
          </a:srgbClr>
        </a:solidFill>
        <a:ln>
          <a:noFill/>
        </a:ln>
      </dgm:spPr>
      <dgm:t>
        <a:bodyPr/>
        <a:lstStyle/>
        <a:p>
          <a:endParaRPr lang="en-US" sz="1200">
            <a:latin typeface="Quicksand" pitchFamily="2" charset="0"/>
          </a:endParaRPr>
        </a:p>
      </dgm:t>
    </dgm:pt>
    <dgm:pt modelId="{07B33795-DA6A-4DC9-A84F-FCC647797C0F}">
      <dgm:prSet custT="1"/>
      <dgm:spPr>
        <a:solidFill>
          <a:schemeClr val="accent5">
            <a:lumMod val="60000"/>
            <a:lumOff val="40000"/>
          </a:schemeClr>
        </a:solidFill>
        <a:ln>
          <a:solidFill>
            <a:schemeClr val="accent5">
              <a:lumMod val="60000"/>
              <a:lumOff val="40000"/>
            </a:schemeClr>
          </a:solidFill>
        </a:ln>
      </dgm:spPr>
      <dgm:t>
        <a:bodyPr/>
        <a:lstStyle/>
        <a:p>
          <a:pPr>
            <a:lnSpc>
              <a:spcPct val="100000"/>
            </a:lnSpc>
            <a:spcAft>
              <a:spcPts val="0"/>
            </a:spcAft>
          </a:pPr>
          <a:r>
            <a:rPr lang="en-US" sz="1200" dirty="0">
              <a:latin typeface="Quicksand" pitchFamily="2" charset="0"/>
            </a:rPr>
            <a:t>AND IF a national enabling environment for AWS and subnational building blocks are in place; </a:t>
          </a:r>
        </a:p>
      </dgm:t>
    </dgm:pt>
    <dgm:pt modelId="{F34E03B4-E23F-4DF5-AB7F-F9ACA07EF2A3}" type="parTrans" cxnId="{EC63BCE9-B9A7-4C1F-A286-125C1167D139}">
      <dgm:prSet/>
      <dgm:spPr/>
      <dgm:t>
        <a:bodyPr/>
        <a:lstStyle/>
        <a:p>
          <a:endParaRPr lang="en-US" sz="1200">
            <a:latin typeface="Quicksand" pitchFamily="2" charset="0"/>
          </a:endParaRPr>
        </a:p>
      </dgm:t>
    </dgm:pt>
    <dgm:pt modelId="{5A3C44FF-D27C-4A58-8963-F2CAE8213E7F}" type="sibTrans" cxnId="{EC63BCE9-B9A7-4C1F-A286-125C1167D139}">
      <dgm:prSet custT="1"/>
      <dgm:spPr>
        <a:solidFill>
          <a:srgbClr val="BA0C2F">
            <a:alpha val="70000"/>
          </a:srgbClr>
        </a:solidFill>
        <a:ln>
          <a:noFill/>
        </a:ln>
      </dgm:spPr>
      <dgm:t>
        <a:bodyPr/>
        <a:lstStyle/>
        <a:p>
          <a:endParaRPr lang="en-US" sz="1200">
            <a:solidFill>
              <a:schemeClr val="lt1"/>
            </a:solidFill>
            <a:latin typeface="Quicksand" pitchFamily="2" charset="0"/>
          </a:endParaRPr>
        </a:p>
      </dgm:t>
    </dgm:pt>
    <dgm:pt modelId="{BA3A47CF-4199-43EF-ACAD-582EBC21DC92}">
      <dgm:prSet phldrT="[Text]" custT="1"/>
      <dgm:spPr>
        <a:solidFill>
          <a:schemeClr val="accent3"/>
        </a:solidFill>
        <a:ln>
          <a:solidFill>
            <a:schemeClr val="accent3"/>
          </a:solidFill>
        </a:ln>
      </dgm:spPr>
      <dgm:t>
        <a:bodyPr/>
        <a:lstStyle/>
        <a:p>
          <a:r>
            <a:rPr lang="en-US" sz="1200" dirty="0">
              <a:latin typeface="Quicksand" pitchFamily="2" charset="0"/>
            </a:rPr>
            <a:t>AND IF THAT, THEN behaviors, demand and access to  appropriate, affordable materials and markets across all population groups can lead to universal, equitable, and sustained area-wide use of safe sanitation services and practice of hygiene. </a:t>
          </a:r>
        </a:p>
      </dgm:t>
    </dgm:pt>
    <dgm:pt modelId="{45831CFA-B020-4F59-9485-A65EDDCA27C8}" type="parTrans" cxnId="{763F5FAB-CBC3-4208-8725-2B53CE4B3C0D}">
      <dgm:prSet/>
      <dgm:spPr/>
      <dgm:t>
        <a:bodyPr/>
        <a:lstStyle/>
        <a:p>
          <a:endParaRPr lang="en-US" sz="1200">
            <a:latin typeface="Quicksand" pitchFamily="2" charset="0"/>
          </a:endParaRPr>
        </a:p>
      </dgm:t>
    </dgm:pt>
    <dgm:pt modelId="{F5A0DB45-F54B-48DF-9C56-D51A734578AA}" type="sibTrans" cxnId="{763F5FAB-CBC3-4208-8725-2B53CE4B3C0D}">
      <dgm:prSet/>
      <dgm:spPr/>
      <dgm:t>
        <a:bodyPr/>
        <a:lstStyle/>
        <a:p>
          <a:endParaRPr lang="en-US" sz="1200">
            <a:latin typeface="Quicksand" pitchFamily="2" charset="0"/>
          </a:endParaRPr>
        </a:p>
      </dgm:t>
    </dgm:pt>
    <dgm:pt modelId="{ADEB3AEA-FA35-455A-9D22-B6EEB64BCAFE}" type="pres">
      <dgm:prSet presAssocID="{739CCC3E-B032-425E-8F2B-CF08BA78433C}" presName="Name0" presStyleCnt="0">
        <dgm:presLayoutVars>
          <dgm:dir/>
          <dgm:resizeHandles val="exact"/>
        </dgm:presLayoutVars>
      </dgm:prSet>
      <dgm:spPr/>
    </dgm:pt>
    <dgm:pt modelId="{B8B91D3A-1888-4D9F-8F51-3BB28F2FE5ED}" type="pres">
      <dgm:prSet presAssocID="{66FE08F5-32C9-49EF-A77B-0FAB181C0769}" presName="node" presStyleLbl="node1" presStyleIdx="0" presStyleCnt="5">
        <dgm:presLayoutVars>
          <dgm:bulletEnabled val="1"/>
        </dgm:presLayoutVars>
      </dgm:prSet>
      <dgm:spPr/>
    </dgm:pt>
    <dgm:pt modelId="{FE52F7AE-999C-41CB-AF81-0B181A790FB9}" type="pres">
      <dgm:prSet presAssocID="{2E0E5FD0-E42C-4356-908A-6B776AF0A68D}" presName="sibTrans" presStyleLbl="sibTrans2D1" presStyleIdx="0" presStyleCnt="4"/>
      <dgm:spPr/>
    </dgm:pt>
    <dgm:pt modelId="{9285085F-5E1E-4A74-B00D-9CB06FC3E2E4}" type="pres">
      <dgm:prSet presAssocID="{2E0E5FD0-E42C-4356-908A-6B776AF0A68D}" presName="connectorText" presStyleLbl="sibTrans2D1" presStyleIdx="0" presStyleCnt="4"/>
      <dgm:spPr/>
    </dgm:pt>
    <dgm:pt modelId="{FAA88AA5-7F0C-4201-9AF2-8D07DE4A72AD}" type="pres">
      <dgm:prSet presAssocID="{07B33795-DA6A-4DC9-A84F-FCC647797C0F}" presName="node" presStyleLbl="node1" presStyleIdx="1" presStyleCnt="5">
        <dgm:presLayoutVars>
          <dgm:bulletEnabled val="1"/>
        </dgm:presLayoutVars>
      </dgm:prSet>
      <dgm:spPr/>
    </dgm:pt>
    <dgm:pt modelId="{0118B657-7416-4565-BD26-18A2E47D30B8}" type="pres">
      <dgm:prSet presAssocID="{5A3C44FF-D27C-4A58-8963-F2CAE8213E7F}" presName="sibTrans" presStyleLbl="sibTrans2D1" presStyleIdx="1" presStyleCnt="4"/>
      <dgm:spPr/>
    </dgm:pt>
    <dgm:pt modelId="{DFD13A35-41D0-490D-9F24-60603E58C652}" type="pres">
      <dgm:prSet presAssocID="{5A3C44FF-D27C-4A58-8963-F2CAE8213E7F}" presName="connectorText" presStyleLbl="sibTrans2D1" presStyleIdx="1" presStyleCnt="4"/>
      <dgm:spPr/>
    </dgm:pt>
    <dgm:pt modelId="{18AF97CD-EFF4-40BE-AF7A-7231BD46A41A}" type="pres">
      <dgm:prSet presAssocID="{BC323D66-F350-4F9E-9403-FEC1F71AEB52}" presName="node" presStyleLbl="node1" presStyleIdx="2" presStyleCnt="5">
        <dgm:presLayoutVars>
          <dgm:bulletEnabled val="1"/>
        </dgm:presLayoutVars>
      </dgm:prSet>
      <dgm:spPr/>
    </dgm:pt>
    <dgm:pt modelId="{8E0F0E89-8674-4963-8594-C0EFB6C41EAE}" type="pres">
      <dgm:prSet presAssocID="{8C3C1E88-D241-4B75-A080-32CEB6EC9A22}" presName="sibTrans" presStyleLbl="sibTrans2D1" presStyleIdx="2" presStyleCnt="4"/>
      <dgm:spPr/>
    </dgm:pt>
    <dgm:pt modelId="{1CC28F71-56D1-4BED-A95E-DB25516158B5}" type="pres">
      <dgm:prSet presAssocID="{8C3C1E88-D241-4B75-A080-32CEB6EC9A22}" presName="connectorText" presStyleLbl="sibTrans2D1" presStyleIdx="2" presStyleCnt="4"/>
      <dgm:spPr/>
    </dgm:pt>
    <dgm:pt modelId="{54E7985A-2DA1-489B-9A92-D072FB29D387}" type="pres">
      <dgm:prSet presAssocID="{DD257840-8276-4726-95D4-FDE3EB9BC95E}" presName="node" presStyleLbl="node1" presStyleIdx="3" presStyleCnt="5" custScaleX="104577">
        <dgm:presLayoutVars>
          <dgm:bulletEnabled val="1"/>
        </dgm:presLayoutVars>
      </dgm:prSet>
      <dgm:spPr/>
    </dgm:pt>
    <dgm:pt modelId="{83017C9F-01C9-464D-81E4-0B1D499D8038}" type="pres">
      <dgm:prSet presAssocID="{3C22DF45-1FA7-40AD-85F7-901CD15EC354}" presName="sibTrans" presStyleLbl="sibTrans2D1" presStyleIdx="3" presStyleCnt="4"/>
      <dgm:spPr/>
    </dgm:pt>
    <dgm:pt modelId="{67A26F67-BDBD-445E-85A6-AF64F4EE783F}" type="pres">
      <dgm:prSet presAssocID="{3C22DF45-1FA7-40AD-85F7-901CD15EC354}" presName="connectorText" presStyleLbl="sibTrans2D1" presStyleIdx="3" presStyleCnt="4"/>
      <dgm:spPr/>
    </dgm:pt>
    <dgm:pt modelId="{14C3DA66-FAC4-4CE0-AC42-95167BA2A1A5}" type="pres">
      <dgm:prSet presAssocID="{BA3A47CF-4199-43EF-ACAD-582EBC21DC92}" presName="node" presStyleLbl="node1" presStyleIdx="4" presStyleCnt="5">
        <dgm:presLayoutVars>
          <dgm:bulletEnabled val="1"/>
        </dgm:presLayoutVars>
      </dgm:prSet>
      <dgm:spPr/>
    </dgm:pt>
  </dgm:ptLst>
  <dgm:cxnLst>
    <dgm:cxn modelId="{E9C50B07-5363-41B4-82B7-C78209A072A8}" type="presOf" srcId="{2E0E5FD0-E42C-4356-908A-6B776AF0A68D}" destId="{9285085F-5E1E-4A74-B00D-9CB06FC3E2E4}" srcOrd="1" destOrd="0" presId="urn:microsoft.com/office/officeart/2005/8/layout/process1"/>
    <dgm:cxn modelId="{4B1D1611-AAE9-4115-A994-FAC995840310}" type="presOf" srcId="{BA3A47CF-4199-43EF-ACAD-582EBC21DC92}" destId="{14C3DA66-FAC4-4CE0-AC42-95167BA2A1A5}" srcOrd="0" destOrd="0" presId="urn:microsoft.com/office/officeart/2005/8/layout/process1"/>
    <dgm:cxn modelId="{25A50F19-7B1B-4A35-807D-69132FCD34DE}" type="presOf" srcId="{8C3C1E88-D241-4B75-A080-32CEB6EC9A22}" destId="{8E0F0E89-8674-4963-8594-C0EFB6C41EAE}" srcOrd="0" destOrd="0" presId="urn:microsoft.com/office/officeart/2005/8/layout/process1"/>
    <dgm:cxn modelId="{DF40E026-E0DB-4976-96AF-C194678E1F29}" type="presOf" srcId="{739CCC3E-B032-425E-8F2B-CF08BA78433C}" destId="{ADEB3AEA-FA35-455A-9D22-B6EEB64BCAFE}" srcOrd="0" destOrd="0" presId="urn:microsoft.com/office/officeart/2005/8/layout/process1"/>
    <dgm:cxn modelId="{8FF4CB32-96DE-4B53-91F0-9C33A8C86A7D}" type="presOf" srcId="{66FE08F5-32C9-49EF-A77B-0FAB181C0769}" destId="{B8B91D3A-1888-4D9F-8F51-3BB28F2FE5ED}" srcOrd="0" destOrd="0" presId="urn:microsoft.com/office/officeart/2005/8/layout/process1"/>
    <dgm:cxn modelId="{D155F832-1111-4744-8E49-CE4B4472DBE6}" type="presOf" srcId="{3C22DF45-1FA7-40AD-85F7-901CD15EC354}" destId="{83017C9F-01C9-464D-81E4-0B1D499D8038}" srcOrd="0" destOrd="0" presId="urn:microsoft.com/office/officeart/2005/8/layout/process1"/>
    <dgm:cxn modelId="{8A1DA633-F4B6-4FF9-8816-B39D80296FE4}" type="presOf" srcId="{2E0E5FD0-E42C-4356-908A-6B776AF0A68D}" destId="{FE52F7AE-999C-41CB-AF81-0B181A790FB9}" srcOrd="0" destOrd="0" presId="urn:microsoft.com/office/officeart/2005/8/layout/process1"/>
    <dgm:cxn modelId="{3066CA3A-19DF-4D7D-B3B3-39F7302C8516}" type="presOf" srcId="{DD257840-8276-4726-95D4-FDE3EB9BC95E}" destId="{54E7985A-2DA1-489B-9A92-D072FB29D387}" srcOrd="0" destOrd="0" presId="urn:microsoft.com/office/officeart/2005/8/layout/process1"/>
    <dgm:cxn modelId="{A23F3C43-A129-440E-96FE-3071BA5CA3E4}" srcId="{739CCC3E-B032-425E-8F2B-CF08BA78433C}" destId="{DD257840-8276-4726-95D4-FDE3EB9BC95E}" srcOrd="3" destOrd="0" parTransId="{F32EB9F6-D9A1-4BD0-9EF2-C268A16457BD}" sibTransId="{3C22DF45-1FA7-40AD-85F7-901CD15EC354}"/>
    <dgm:cxn modelId="{371D9E76-E920-4FA6-9614-BA0719F600A4}" srcId="{739CCC3E-B032-425E-8F2B-CF08BA78433C}" destId="{BC323D66-F350-4F9E-9403-FEC1F71AEB52}" srcOrd="2" destOrd="0" parTransId="{D0654708-3449-4A7E-A76D-4944F36D8E8F}" sibTransId="{8C3C1E88-D241-4B75-A080-32CEB6EC9A22}"/>
    <dgm:cxn modelId="{58D4E25A-A7DF-4EC3-81C3-152759EB2BE4}" type="presOf" srcId="{3C22DF45-1FA7-40AD-85F7-901CD15EC354}" destId="{67A26F67-BDBD-445E-85A6-AF64F4EE783F}" srcOrd="1" destOrd="0" presId="urn:microsoft.com/office/officeart/2005/8/layout/process1"/>
    <dgm:cxn modelId="{2F8CF0A1-691F-489B-BFD3-3C3A4AD309A1}" type="presOf" srcId="{BC323D66-F350-4F9E-9403-FEC1F71AEB52}" destId="{18AF97CD-EFF4-40BE-AF7A-7231BD46A41A}" srcOrd="0" destOrd="0" presId="urn:microsoft.com/office/officeart/2005/8/layout/process1"/>
    <dgm:cxn modelId="{38F988A3-90F8-47CA-9AA6-B192F5C6D399}" type="presOf" srcId="{8C3C1E88-D241-4B75-A080-32CEB6EC9A22}" destId="{1CC28F71-56D1-4BED-A95E-DB25516158B5}" srcOrd="1" destOrd="0" presId="urn:microsoft.com/office/officeart/2005/8/layout/process1"/>
    <dgm:cxn modelId="{763F5FAB-CBC3-4208-8725-2B53CE4B3C0D}" srcId="{739CCC3E-B032-425E-8F2B-CF08BA78433C}" destId="{BA3A47CF-4199-43EF-ACAD-582EBC21DC92}" srcOrd="4" destOrd="0" parTransId="{45831CFA-B020-4F59-9485-A65EDDCA27C8}" sibTransId="{F5A0DB45-F54B-48DF-9C56-D51A734578AA}"/>
    <dgm:cxn modelId="{28FF7ABE-95AC-4363-B94D-3F4A0978DFEB}" type="presOf" srcId="{5A3C44FF-D27C-4A58-8963-F2CAE8213E7F}" destId="{DFD13A35-41D0-490D-9F24-60603E58C652}" srcOrd="1" destOrd="0" presId="urn:microsoft.com/office/officeart/2005/8/layout/process1"/>
    <dgm:cxn modelId="{42C7F5C0-0CE0-4900-8077-54D2C1915415}" type="presOf" srcId="{5A3C44FF-D27C-4A58-8963-F2CAE8213E7F}" destId="{0118B657-7416-4565-BD26-18A2E47D30B8}" srcOrd="0" destOrd="0" presId="urn:microsoft.com/office/officeart/2005/8/layout/process1"/>
    <dgm:cxn modelId="{EC63BCE9-B9A7-4C1F-A286-125C1167D139}" srcId="{739CCC3E-B032-425E-8F2B-CF08BA78433C}" destId="{07B33795-DA6A-4DC9-A84F-FCC647797C0F}" srcOrd="1" destOrd="0" parTransId="{F34E03B4-E23F-4DF5-AB7F-F9ACA07EF2A3}" sibTransId="{5A3C44FF-D27C-4A58-8963-F2CAE8213E7F}"/>
    <dgm:cxn modelId="{755234F7-6836-4BA6-B6EC-92C47614BCE7}" srcId="{739CCC3E-B032-425E-8F2B-CF08BA78433C}" destId="{66FE08F5-32C9-49EF-A77B-0FAB181C0769}" srcOrd="0" destOrd="0" parTransId="{BDF7F313-C5E6-4B61-82C2-4BBA6A6AA3F6}" sibTransId="{2E0E5FD0-E42C-4356-908A-6B776AF0A68D}"/>
    <dgm:cxn modelId="{A51713FF-6EF0-410F-A230-DDDAEFAB21E8}" type="presOf" srcId="{07B33795-DA6A-4DC9-A84F-FCC647797C0F}" destId="{FAA88AA5-7F0C-4201-9AF2-8D07DE4A72AD}" srcOrd="0" destOrd="0" presId="urn:microsoft.com/office/officeart/2005/8/layout/process1"/>
    <dgm:cxn modelId="{31CB5FB1-C345-4791-99C1-AF4F149CED7E}" type="presParOf" srcId="{ADEB3AEA-FA35-455A-9D22-B6EEB64BCAFE}" destId="{B8B91D3A-1888-4D9F-8F51-3BB28F2FE5ED}" srcOrd="0" destOrd="0" presId="urn:microsoft.com/office/officeart/2005/8/layout/process1"/>
    <dgm:cxn modelId="{8BFA951A-658F-49B8-907E-53C1849F95AD}" type="presParOf" srcId="{ADEB3AEA-FA35-455A-9D22-B6EEB64BCAFE}" destId="{FE52F7AE-999C-41CB-AF81-0B181A790FB9}" srcOrd="1" destOrd="0" presId="urn:microsoft.com/office/officeart/2005/8/layout/process1"/>
    <dgm:cxn modelId="{AE1ABB0D-43AE-4458-B139-A0A53B2B3F96}" type="presParOf" srcId="{FE52F7AE-999C-41CB-AF81-0B181A790FB9}" destId="{9285085F-5E1E-4A74-B00D-9CB06FC3E2E4}" srcOrd="0" destOrd="0" presId="urn:microsoft.com/office/officeart/2005/8/layout/process1"/>
    <dgm:cxn modelId="{57A6CC5C-C59A-4B57-B8B6-2C7CCF5AC1DE}" type="presParOf" srcId="{ADEB3AEA-FA35-455A-9D22-B6EEB64BCAFE}" destId="{FAA88AA5-7F0C-4201-9AF2-8D07DE4A72AD}" srcOrd="2" destOrd="0" presId="urn:microsoft.com/office/officeart/2005/8/layout/process1"/>
    <dgm:cxn modelId="{71262C57-7B29-4088-AD97-E13777C6337B}" type="presParOf" srcId="{ADEB3AEA-FA35-455A-9D22-B6EEB64BCAFE}" destId="{0118B657-7416-4565-BD26-18A2E47D30B8}" srcOrd="3" destOrd="0" presId="urn:microsoft.com/office/officeart/2005/8/layout/process1"/>
    <dgm:cxn modelId="{9195E37A-8B93-4BB4-83EF-98BC30F49660}" type="presParOf" srcId="{0118B657-7416-4565-BD26-18A2E47D30B8}" destId="{DFD13A35-41D0-490D-9F24-60603E58C652}" srcOrd="0" destOrd="0" presId="urn:microsoft.com/office/officeart/2005/8/layout/process1"/>
    <dgm:cxn modelId="{44739010-3A9E-4BCF-B1F2-70099EA20775}" type="presParOf" srcId="{ADEB3AEA-FA35-455A-9D22-B6EEB64BCAFE}" destId="{18AF97CD-EFF4-40BE-AF7A-7231BD46A41A}" srcOrd="4" destOrd="0" presId="urn:microsoft.com/office/officeart/2005/8/layout/process1"/>
    <dgm:cxn modelId="{87CD21E3-38D4-4F4C-AA9A-AB86721A1570}" type="presParOf" srcId="{ADEB3AEA-FA35-455A-9D22-B6EEB64BCAFE}" destId="{8E0F0E89-8674-4963-8594-C0EFB6C41EAE}" srcOrd="5" destOrd="0" presId="urn:microsoft.com/office/officeart/2005/8/layout/process1"/>
    <dgm:cxn modelId="{B3173B1C-F96D-43C9-9E6D-3222023C58E0}" type="presParOf" srcId="{8E0F0E89-8674-4963-8594-C0EFB6C41EAE}" destId="{1CC28F71-56D1-4BED-A95E-DB25516158B5}" srcOrd="0" destOrd="0" presId="urn:microsoft.com/office/officeart/2005/8/layout/process1"/>
    <dgm:cxn modelId="{43F61FFE-8000-4A8A-9C32-FC2C419D3929}" type="presParOf" srcId="{ADEB3AEA-FA35-455A-9D22-B6EEB64BCAFE}" destId="{54E7985A-2DA1-489B-9A92-D072FB29D387}" srcOrd="6" destOrd="0" presId="urn:microsoft.com/office/officeart/2005/8/layout/process1"/>
    <dgm:cxn modelId="{D43E2487-5546-4859-B287-105D1F809784}" type="presParOf" srcId="{ADEB3AEA-FA35-455A-9D22-B6EEB64BCAFE}" destId="{83017C9F-01C9-464D-81E4-0B1D499D8038}" srcOrd="7" destOrd="0" presId="urn:microsoft.com/office/officeart/2005/8/layout/process1"/>
    <dgm:cxn modelId="{F6C3CC8A-FE60-4C66-A2D0-31C77A87D075}" type="presParOf" srcId="{83017C9F-01C9-464D-81E4-0B1D499D8038}" destId="{67A26F67-BDBD-445E-85A6-AF64F4EE783F}" srcOrd="0" destOrd="0" presId="urn:microsoft.com/office/officeart/2005/8/layout/process1"/>
    <dgm:cxn modelId="{89AF80C7-BD59-4C1A-9155-3FA7BFA284DA}" type="presParOf" srcId="{ADEB3AEA-FA35-455A-9D22-B6EEB64BCAFE}" destId="{14C3DA66-FAC4-4CE0-AC42-95167BA2A1A5}" srcOrd="8"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39CCC3E-B032-425E-8F2B-CF08BA78433C}" type="doc">
      <dgm:prSet loTypeId="urn:microsoft.com/office/officeart/2005/8/layout/process1" loCatId="process" qsTypeId="urn:microsoft.com/office/officeart/2005/8/quickstyle/simple1" qsCatId="simple" csTypeId="urn:microsoft.com/office/officeart/2005/8/colors/accent2_4" csCatId="accent2" phldr="1"/>
      <dgm:spPr/>
    </dgm:pt>
    <dgm:pt modelId="{66FE08F5-32C9-49EF-A77B-0FAB181C0769}">
      <dgm:prSet phldrT="[Text]" custT="1"/>
      <dgm:spPr>
        <a:solidFill>
          <a:schemeClr val="accent6">
            <a:lumMod val="75000"/>
          </a:schemeClr>
        </a:solidFill>
        <a:ln>
          <a:solidFill>
            <a:schemeClr val="accent6">
              <a:lumMod val="75000"/>
            </a:schemeClr>
          </a:solidFill>
        </a:ln>
      </dgm:spPr>
      <dgm:t>
        <a:bodyPr/>
        <a:lstStyle/>
        <a:p>
          <a:pPr>
            <a:lnSpc>
              <a:spcPct val="100000"/>
            </a:lnSpc>
            <a:spcAft>
              <a:spcPts val="0"/>
            </a:spcAft>
          </a:pPr>
          <a:r>
            <a:rPr lang="en-US" sz="1100" dirty="0">
              <a:latin typeface="Gill Sans MT" panose="020B0502020104020203" pitchFamily="34" charset="0"/>
            </a:rPr>
            <a:t>IF guiding principles ensure a focus on</a:t>
          </a:r>
        </a:p>
        <a:p>
          <a:pPr>
            <a:lnSpc>
              <a:spcPct val="100000"/>
            </a:lnSpc>
            <a:spcAft>
              <a:spcPts val="0"/>
            </a:spcAft>
          </a:pPr>
          <a:r>
            <a:rPr lang="en-US" sz="1100" dirty="0">
              <a:latin typeface="Gill Sans MT" panose="020B0502020104020203" pitchFamily="34" charset="0"/>
            </a:rPr>
            <a:t>scale,</a:t>
          </a:r>
        </a:p>
        <a:p>
          <a:pPr>
            <a:lnSpc>
              <a:spcPct val="100000"/>
            </a:lnSpc>
            <a:spcAft>
              <a:spcPts val="0"/>
            </a:spcAft>
          </a:pPr>
          <a:r>
            <a:rPr lang="en-US" sz="1100" dirty="0">
              <a:latin typeface="Gill Sans MT" panose="020B0502020104020203" pitchFamily="34" charset="0"/>
            </a:rPr>
            <a:t>universal and inclusive coverage,</a:t>
          </a:r>
        </a:p>
        <a:p>
          <a:pPr>
            <a:lnSpc>
              <a:spcPct val="100000"/>
            </a:lnSpc>
            <a:spcAft>
              <a:spcPts val="0"/>
            </a:spcAft>
          </a:pPr>
          <a:r>
            <a:rPr lang="en-US" sz="1100" dirty="0">
              <a:latin typeface="Gill Sans MT" panose="020B0502020104020203" pitchFamily="34" charset="0"/>
            </a:rPr>
            <a:t>government leadership, and</a:t>
          </a:r>
        </a:p>
        <a:p>
          <a:pPr>
            <a:lnSpc>
              <a:spcPct val="100000"/>
            </a:lnSpc>
            <a:spcAft>
              <a:spcPts val="0"/>
            </a:spcAft>
          </a:pPr>
          <a:r>
            <a:rPr lang="en-US" sz="1100" dirty="0">
              <a:latin typeface="Gill Sans MT" panose="020B0502020104020203" pitchFamily="34" charset="0"/>
            </a:rPr>
            <a:t>sustainability;</a:t>
          </a:r>
        </a:p>
      </dgm:t>
    </dgm:pt>
    <dgm:pt modelId="{BDF7F313-C5E6-4B61-82C2-4BBA6A6AA3F6}" type="parTrans" cxnId="{755234F7-6836-4BA6-B6EC-92C47614BCE7}">
      <dgm:prSet/>
      <dgm:spPr/>
      <dgm:t>
        <a:bodyPr/>
        <a:lstStyle/>
        <a:p>
          <a:endParaRPr lang="en-US" sz="1100">
            <a:latin typeface="Gill Sans MT" panose="020B0502020104020203" pitchFamily="34" charset="0"/>
          </a:endParaRPr>
        </a:p>
      </dgm:t>
    </dgm:pt>
    <dgm:pt modelId="{2E0E5FD0-E42C-4356-908A-6B776AF0A68D}" type="sibTrans" cxnId="{755234F7-6836-4BA6-B6EC-92C47614BCE7}">
      <dgm:prSet custT="1"/>
      <dgm:spPr>
        <a:solidFill>
          <a:srgbClr val="BA0C2F"/>
        </a:solidFill>
        <a:ln>
          <a:noFill/>
        </a:ln>
      </dgm:spPr>
      <dgm:t>
        <a:bodyPr/>
        <a:lstStyle/>
        <a:p>
          <a:endParaRPr lang="en-US" sz="1100">
            <a:latin typeface="Gill Sans MT" panose="020B0502020104020203" pitchFamily="34" charset="0"/>
          </a:endParaRPr>
        </a:p>
      </dgm:t>
    </dgm:pt>
    <dgm:pt modelId="{BC323D66-F350-4F9E-9403-FEC1F71AEB52}">
      <dgm:prSet phldrT="[Text]" custT="1"/>
      <dgm:spPr>
        <a:solidFill>
          <a:schemeClr val="tx2">
            <a:lumMod val="75000"/>
          </a:schemeClr>
        </a:solidFill>
        <a:ln>
          <a:solidFill>
            <a:schemeClr val="tx2">
              <a:lumMod val="75000"/>
            </a:schemeClr>
          </a:solidFill>
        </a:ln>
      </dgm:spPr>
      <dgm:t>
        <a:bodyPr/>
        <a:lstStyle/>
        <a:p>
          <a:pPr>
            <a:lnSpc>
              <a:spcPct val="100000"/>
            </a:lnSpc>
            <a:spcAft>
              <a:spcPts val="0"/>
            </a:spcAft>
          </a:pPr>
          <a:r>
            <a:rPr lang="en-US" sz="1100" dirty="0">
              <a:latin typeface="Gill Sans MT" panose="020B0502020104020203" pitchFamily="34" charset="0"/>
            </a:rPr>
            <a:t>AND IF a range of proven, available sanitation and hygiene interventions, products, and services exist that can be applied in the administrative area; </a:t>
          </a:r>
        </a:p>
      </dgm:t>
    </dgm:pt>
    <dgm:pt modelId="{D0654708-3449-4A7E-A76D-4944F36D8E8F}" type="parTrans" cxnId="{371D9E76-E920-4FA6-9614-BA0719F600A4}">
      <dgm:prSet/>
      <dgm:spPr/>
      <dgm:t>
        <a:bodyPr/>
        <a:lstStyle/>
        <a:p>
          <a:endParaRPr lang="en-US" sz="1100">
            <a:latin typeface="Gill Sans MT" panose="020B0502020104020203" pitchFamily="34" charset="0"/>
          </a:endParaRPr>
        </a:p>
      </dgm:t>
    </dgm:pt>
    <dgm:pt modelId="{8C3C1E88-D241-4B75-A080-32CEB6EC9A22}" type="sibTrans" cxnId="{371D9E76-E920-4FA6-9614-BA0719F600A4}">
      <dgm:prSet custT="1"/>
      <dgm:spPr>
        <a:solidFill>
          <a:srgbClr val="BA0C2F">
            <a:alpha val="45000"/>
          </a:srgbClr>
        </a:solidFill>
        <a:ln>
          <a:noFill/>
        </a:ln>
      </dgm:spPr>
      <dgm:t>
        <a:bodyPr/>
        <a:lstStyle/>
        <a:p>
          <a:endParaRPr lang="en-US" sz="1100">
            <a:latin typeface="Gill Sans MT" panose="020B0502020104020203" pitchFamily="34" charset="0"/>
          </a:endParaRPr>
        </a:p>
      </dgm:t>
    </dgm:pt>
    <dgm:pt modelId="{DD257840-8276-4726-95D4-FDE3EB9BC95E}">
      <dgm:prSet phldrT="[Text]" custT="1"/>
      <dgm:spPr>
        <a:solidFill>
          <a:schemeClr val="bg2"/>
        </a:solidFill>
        <a:ln>
          <a:solidFill>
            <a:schemeClr val="bg2"/>
          </a:solidFill>
        </a:ln>
      </dgm:spPr>
      <dgm:t>
        <a:bodyPr/>
        <a:lstStyle/>
        <a:p>
          <a:pPr>
            <a:lnSpc>
              <a:spcPct val="100000"/>
            </a:lnSpc>
            <a:spcAft>
              <a:spcPts val="0"/>
            </a:spcAft>
          </a:pPr>
          <a:r>
            <a:rPr lang="en-US" sz="1100" dirty="0">
              <a:latin typeface="Gill Sans MT" panose="020B0502020104020203" pitchFamily="34" charset="0"/>
            </a:rPr>
            <a:t>THEN local government and implementing partners can ensure application of a mix of sanitation and hygiene interventions and services at scale, properly adapted for the different rural contexts and target populations, and adapted over time to achieve planned outcomes;</a:t>
          </a:r>
        </a:p>
      </dgm:t>
    </dgm:pt>
    <dgm:pt modelId="{F32EB9F6-D9A1-4BD0-9EF2-C268A16457BD}" type="parTrans" cxnId="{A23F3C43-A129-440E-96FE-3071BA5CA3E4}">
      <dgm:prSet/>
      <dgm:spPr/>
      <dgm:t>
        <a:bodyPr/>
        <a:lstStyle/>
        <a:p>
          <a:endParaRPr lang="en-US" sz="1100">
            <a:latin typeface="Gill Sans MT" panose="020B0502020104020203" pitchFamily="34" charset="0"/>
          </a:endParaRPr>
        </a:p>
      </dgm:t>
    </dgm:pt>
    <dgm:pt modelId="{3C22DF45-1FA7-40AD-85F7-901CD15EC354}" type="sibTrans" cxnId="{A23F3C43-A129-440E-96FE-3071BA5CA3E4}">
      <dgm:prSet custT="1"/>
      <dgm:spPr>
        <a:solidFill>
          <a:srgbClr val="BA0C2F">
            <a:alpha val="25000"/>
          </a:srgbClr>
        </a:solidFill>
        <a:ln>
          <a:noFill/>
        </a:ln>
      </dgm:spPr>
      <dgm:t>
        <a:bodyPr/>
        <a:lstStyle/>
        <a:p>
          <a:endParaRPr lang="en-US" sz="1100">
            <a:latin typeface="Gill Sans MT" panose="020B0502020104020203" pitchFamily="34" charset="0"/>
          </a:endParaRPr>
        </a:p>
      </dgm:t>
    </dgm:pt>
    <dgm:pt modelId="{07B33795-DA6A-4DC9-A84F-FCC647797C0F}">
      <dgm:prSet custT="1"/>
      <dgm:spPr>
        <a:solidFill>
          <a:schemeClr val="accent5">
            <a:lumMod val="60000"/>
            <a:lumOff val="40000"/>
          </a:schemeClr>
        </a:solidFill>
        <a:ln>
          <a:solidFill>
            <a:schemeClr val="accent5">
              <a:lumMod val="60000"/>
              <a:lumOff val="40000"/>
            </a:schemeClr>
          </a:solidFill>
        </a:ln>
      </dgm:spPr>
      <dgm:t>
        <a:bodyPr/>
        <a:lstStyle/>
        <a:p>
          <a:pPr>
            <a:lnSpc>
              <a:spcPct val="100000"/>
            </a:lnSpc>
            <a:spcAft>
              <a:spcPts val="0"/>
            </a:spcAft>
          </a:pPr>
          <a:r>
            <a:rPr lang="en-US" sz="1100" dirty="0">
              <a:latin typeface="Gill Sans MT" panose="020B0502020104020203" pitchFamily="34" charset="0"/>
            </a:rPr>
            <a:t>AND IF a national enabling environment for AWS and subnational building blocks are in place; </a:t>
          </a:r>
        </a:p>
      </dgm:t>
    </dgm:pt>
    <dgm:pt modelId="{F34E03B4-E23F-4DF5-AB7F-F9ACA07EF2A3}" type="parTrans" cxnId="{EC63BCE9-B9A7-4C1F-A286-125C1167D139}">
      <dgm:prSet/>
      <dgm:spPr/>
      <dgm:t>
        <a:bodyPr/>
        <a:lstStyle/>
        <a:p>
          <a:endParaRPr lang="en-US" sz="1100">
            <a:latin typeface="Gill Sans MT" panose="020B0502020104020203" pitchFamily="34" charset="0"/>
          </a:endParaRPr>
        </a:p>
      </dgm:t>
    </dgm:pt>
    <dgm:pt modelId="{5A3C44FF-D27C-4A58-8963-F2CAE8213E7F}" type="sibTrans" cxnId="{EC63BCE9-B9A7-4C1F-A286-125C1167D139}">
      <dgm:prSet custT="1"/>
      <dgm:spPr>
        <a:solidFill>
          <a:srgbClr val="BA0C2F">
            <a:alpha val="70000"/>
          </a:srgbClr>
        </a:solidFill>
        <a:ln>
          <a:noFill/>
        </a:ln>
      </dgm:spPr>
      <dgm:t>
        <a:bodyPr/>
        <a:lstStyle/>
        <a:p>
          <a:endParaRPr lang="en-US" sz="1100">
            <a:solidFill>
              <a:schemeClr val="lt1"/>
            </a:solidFill>
            <a:latin typeface="Gill Sans MT" panose="020B0502020104020203" pitchFamily="34" charset="0"/>
          </a:endParaRPr>
        </a:p>
      </dgm:t>
    </dgm:pt>
    <dgm:pt modelId="{BA3A47CF-4199-43EF-ACAD-582EBC21DC92}">
      <dgm:prSet phldrT="[Text]" custT="1"/>
      <dgm:spPr>
        <a:solidFill>
          <a:schemeClr val="accent3"/>
        </a:solidFill>
        <a:ln>
          <a:solidFill>
            <a:schemeClr val="accent3"/>
          </a:solidFill>
        </a:ln>
      </dgm:spPr>
      <dgm:t>
        <a:bodyPr/>
        <a:lstStyle/>
        <a:p>
          <a:r>
            <a:rPr lang="en-US" sz="1100" dirty="0">
              <a:latin typeface="Gill Sans MT" panose="020B0502020104020203" pitchFamily="34" charset="0"/>
            </a:rPr>
            <a:t>AND IF THAT, THEN behaviors, demand and access to  appropriate, affordable materials and markets across all population groups can lead to universal, equitable, and sustained area-wide use of safe sanitation services and practice of hygiene. </a:t>
          </a:r>
        </a:p>
      </dgm:t>
    </dgm:pt>
    <dgm:pt modelId="{45831CFA-B020-4F59-9485-A65EDDCA27C8}" type="parTrans" cxnId="{763F5FAB-CBC3-4208-8725-2B53CE4B3C0D}">
      <dgm:prSet/>
      <dgm:spPr/>
      <dgm:t>
        <a:bodyPr/>
        <a:lstStyle/>
        <a:p>
          <a:endParaRPr lang="en-US" sz="1100">
            <a:latin typeface="Gill Sans MT" panose="020B0502020104020203" pitchFamily="34" charset="0"/>
          </a:endParaRPr>
        </a:p>
      </dgm:t>
    </dgm:pt>
    <dgm:pt modelId="{F5A0DB45-F54B-48DF-9C56-D51A734578AA}" type="sibTrans" cxnId="{763F5FAB-CBC3-4208-8725-2B53CE4B3C0D}">
      <dgm:prSet/>
      <dgm:spPr/>
      <dgm:t>
        <a:bodyPr/>
        <a:lstStyle/>
        <a:p>
          <a:endParaRPr lang="en-US" sz="1100">
            <a:latin typeface="Gill Sans MT" panose="020B0502020104020203" pitchFamily="34" charset="0"/>
          </a:endParaRPr>
        </a:p>
      </dgm:t>
    </dgm:pt>
    <dgm:pt modelId="{ADEB3AEA-FA35-455A-9D22-B6EEB64BCAFE}" type="pres">
      <dgm:prSet presAssocID="{739CCC3E-B032-425E-8F2B-CF08BA78433C}" presName="Name0" presStyleCnt="0">
        <dgm:presLayoutVars>
          <dgm:dir/>
          <dgm:resizeHandles val="exact"/>
        </dgm:presLayoutVars>
      </dgm:prSet>
      <dgm:spPr/>
    </dgm:pt>
    <dgm:pt modelId="{B8B91D3A-1888-4D9F-8F51-3BB28F2FE5ED}" type="pres">
      <dgm:prSet presAssocID="{66FE08F5-32C9-49EF-A77B-0FAB181C0769}" presName="node" presStyleLbl="node1" presStyleIdx="0" presStyleCnt="5">
        <dgm:presLayoutVars>
          <dgm:bulletEnabled val="1"/>
        </dgm:presLayoutVars>
      </dgm:prSet>
      <dgm:spPr/>
    </dgm:pt>
    <dgm:pt modelId="{FE52F7AE-999C-41CB-AF81-0B181A790FB9}" type="pres">
      <dgm:prSet presAssocID="{2E0E5FD0-E42C-4356-908A-6B776AF0A68D}" presName="sibTrans" presStyleLbl="sibTrans2D1" presStyleIdx="0" presStyleCnt="4"/>
      <dgm:spPr/>
    </dgm:pt>
    <dgm:pt modelId="{9285085F-5E1E-4A74-B00D-9CB06FC3E2E4}" type="pres">
      <dgm:prSet presAssocID="{2E0E5FD0-E42C-4356-908A-6B776AF0A68D}" presName="connectorText" presStyleLbl="sibTrans2D1" presStyleIdx="0" presStyleCnt="4"/>
      <dgm:spPr/>
    </dgm:pt>
    <dgm:pt modelId="{FAA88AA5-7F0C-4201-9AF2-8D07DE4A72AD}" type="pres">
      <dgm:prSet presAssocID="{07B33795-DA6A-4DC9-A84F-FCC647797C0F}" presName="node" presStyleLbl="node1" presStyleIdx="1" presStyleCnt="5">
        <dgm:presLayoutVars>
          <dgm:bulletEnabled val="1"/>
        </dgm:presLayoutVars>
      </dgm:prSet>
      <dgm:spPr/>
    </dgm:pt>
    <dgm:pt modelId="{0118B657-7416-4565-BD26-18A2E47D30B8}" type="pres">
      <dgm:prSet presAssocID="{5A3C44FF-D27C-4A58-8963-F2CAE8213E7F}" presName="sibTrans" presStyleLbl="sibTrans2D1" presStyleIdx="1" presStyleCnt="4"/>
      <dgm:spPr/>
    </dgm:pt>
    <dgm:pt modelId="{DFD13A35-41D0-490D-9F24-60603E58C652}" type="pres">
      <dgm:prSet presAssocID="{5A3C44FF-D27C-4A58-8963-F2CAE8213E7F}" presName="connectorText" presStyleLbl="sibTrans2D1" presStyleIdx="1" presStyleCnt="4"/>
      <dgm:spPr/>
    </dgm:pt>
    <dgm:pt modelId="{18AF97CD-EFF4-40BE-AF7A-7231BD46A41A}" type="pres">
      <dgm:prSet presAssocID="{BC323D66-F350-4F9E-9403-FEC1F71AEB52}" presName="node" presStyleLbl="node1" presStyleIdx="2" presStyleCnt="5">
        <dgm:presLayoutVars>
          <dgm:bulletEnabled val="1"/>
        </dgm:presLayoutVars>
      </dgm:prSet>
      <dgm:spPr/>
    </dgm:pt>
    <dgm:pt modelId="{8E0F0E89-8674-4963-8594-C0EFB6C41EAE}" type="pres">
      <dgm:prSet presAssocID="{8C3C1E88-D241-4B75-A080-32CEB6EC9A22}" presName="sibTrans" presStyleLbl="sibTrans2D1" presStyleIdx="2" presStyleCnt="4"/>
      <dgm:spPr/>
    </dgm:pt>
    <dgm:pt modelId="{1CC28F71-56D1-4BED-A95E-DB25516158B5}" type="pres">
      <dgm:prSet presAssocID="{8C3C1E88-D241-4B75-A080-32CEB6EC9A22}" presName="connectorText" presStyleLbl="sibTrans2D1" presStyleIdx="2" presStyleCnt="4"/>
      <dgm:spPr/>
    </dgm:pt>
    <dgm:pt modelId="{54E7985A-2DA1-489B-9A92-D072FB29D387}" type="pres">
      <dgm:prSet presAssocID="{DD257840-8276-4726-95D4-FDE3EB9BC95E}" presName="node" presStyleLbl="node1" presStyleIdx="3" presStyleCnt="5" custScaleX="104577">
        <dgm:presLayoutVars>
          <dgm:bulletEnabled val="1"/>
        </dgm:presLayoutVars>
      </dgm:prSet>
      <dgm:spPr/>
    </dgm:pt>
    <dgm:pt modelId="{83017C9F-01C9-464D-81E4-0B1D499D8038}" type="pres">
      <dgm:prSet presAssocID="{3C22DF45-1FA7-40AD-85F7-901CD15EC354}" presName="sibTrans" presStyleLbl="sibTrans2D1" presStyleIdx="3" presStyleCnt="4"/>
      <dgm:spPr/>
    </dgm:pt>
    <dgm:pt modelId="{67A26F67-BDBD-445E-85A6-AF64F4EE783F}" type="pres">
      <dgm:prSet presAssocID="{3C22DF45-1FA7-40AD-85F7-901CD15EC354}" presName="connectorText" presStyleLbl="sibTrans2D1" presStyleIdx="3" presStyleCnt="4"/>
      <dgm:spPr/>
    </dgm:pt>
    <dgm:pt modelId="{14C3DA66-FAC4-4CE0-AC42-95167BA2A1A5}" type="pres">
      <dgm:prSet presAssocID="{BA3A47CF-4199-43EF-ACAD-582EBC21DC92}" presName="node" presStyleLbl="node1" presStyleIdx="4" presStyleCnt="5">
        <dgm:presLayoutVars>
          <dgm:bulletEnabled val="1"/>
        </dgm:presLayoutVars>
      </dgm:prSet>
      <dgm:spPr/>
    </dgm:pt>
  </dgm:ptLst>
  <dgm:cxnLst>
    <dgm:cxn modelId="{E9C50B07-5363-41B4-82B7-C78209A072A8}" type="presOf" srcId="{2E0E5FD0-E42C-4356-908A-6B776AF0A68D}" destId="{9285085F-5E1E-4A74-B00D-9CB06FC3E2E4}" srcOrd="1" destOrd="0" presId="urn:microsoft.com/office/officeart/2005/8/layout/process1"/>
    <dgm:cxn modelId="{4B1D1611-AAE9-4115-A994-FAC995840310}" type="presOf" srcId="{BA3A47CF-4199-43EF-ACAD-582EBC21DC92}" destId="{14C3DA66-FAC4-4CE0-AC42-95167BA2A1A5}" srcOrd="0" destOrd="0" presId="urn:microsoft.com/office/officeart/2005/8/layout/process1"/>
    <dgm:cxn modelId="{25A50F19-7B1B-4A35-807D-69132FCD34DE}" type="presOf" srcId="{8C3C1E88-D241-4B75-A080-32CEB6EC9A22}" destId="{8E0F0E89-8674-4963-8594-C0EFB6C41EAE}" srcOrd="0" destOrd="0" presId="urn:microsoft.com/office/officeart/2005/8/layout/process1"/>
    <dgm:cxn modelId="{DF40E026-E0DB-4976-96AF-C194678E1F29}" type="presOf" srcId="{739CCC3E-B032-425E-8F2B-CF08BA78433C}" destId="{ADEB3AEA-FA35-455A-9D22-B6EEB64BCAFE}" srcOrd="0" destOrd="0" presId="urn:microsoft.com/office/officeart/2005/8/layout/process1"/>
    <dgm:cxn modelId="{8FF4CB32-96DE-4B53-91F0-9C33A8C86A7D}" type="presOf" srcId="{66FE08F5-32C9-49EF-A77B-0FAB181C0769}" destId="{B8B91D3A-1888-4D9F-8F51-3BB28F2FE5ED}" srcOrd="0" destOrd="0" presId="urn:microsoft.com/office/officeart/2005/8/layout/process1"/>
    <dgm:cxn modelId="{D155F832-1111-4744-8E49-CE4B4472DBE6}" type="presOf" srcId="{3C22DF45-1FA7-40AD-85F7-901CD15EC354}" destId="{83017C9F-01C9-464D-81E4-0B1D499D8038}" srcOrd="0" destOrd="0" presId="urn:microsoft.com/office/officeart/2005/8/layout/process1"/>
    <dgm:cxn modelId="{8A1DA633-F4B6-4FF9-8816-B39D80296FE4}" type="presOf" srcId="{2E0E5FD0-E42C-4356-908A-6B776AF0A68D}" destId="{FE52F7AE-999C-41CB-AF81-0B181A790FB9}" srcOrd="0" destOrd="0" presId="urn:microsoft.com/office/officeart/2005/8/layout/process1"/>
    <dgm:cxn modelId="{3066CA3A-19DF-4D7D-B3B3-39F7302C8516}" type="presOf" srcId="{DD257840-8276-4726-95D4-FDE3EB9BC95E}" destId="{54E7985A-2DA1-489B-9A92-D072FB29D387}" srcOrd="0" destOrd="0" presId="urn:microsoft.com/office/officeart/2005/8/layout/process1"/>
    <dgm:cxn modelId="{A23F3C43-A129-440E-96FE-3071BA5CA3E4}" srcId="{739CCC3E-B032-425E-8F2B-CF08BA78433C}" destId="{DD257840-8276-4726-95D4-FDE3EB9BC95E}" srcOrd="3" destOrd="0" parTransId="{F32EB9F6-D9A1-4BD0-9EF2-C268A16457BD}" sibTransId="{3C22DF45-1FA7-40AD-85F7-901CD15EC354}"/>
    <dgm:cxn modelId="{371D9E76-E920-4FA6-9614-BA0719F600A4}" srcId="{739CCC3E-B032-425E-8F2B-CF08BA78433C}" destId="{BC323D66-F350-4F9E-9403-FEC1F71AEB52}" srcOrd="2" destOrd="0" parTransId="{D0654708-3449-4A7E-A76D-4944F36D8E8F}" sibTransId="{8C3C1E88-D241-4B75-A080-32CEB6EC9A22}"/>
    <dgm:cxn modelId="{58D4E25A-A7DF-4EC3-81C3-152759EB2BE4}" type="presOf" srcId="{3C22DF45-1FA7-40AD-85F7-901CD15EC354}" destId="{67A26F67-BDBD-445E-85A6-AF64F4EE783F}" srcOrd="1" destOrd="0" presId="urn:microsoft.com/office/officeart/2005/8/layout/process1"/>
    <dgm:cxn modelId="{2F8CF0A1-691F-489B-BFD3-3C3A4AD309A1}" type="presOf" srcId="{BC323D66-F350-4F9E-9403-FEC1F71AEB52}" destId="{18AF97CD-EFF4-40BE-AF7A-7231BD46A41A}" srcOrd="0" destOrd="0" presId="urn:microsoft.com/office/officeart/2005/8/layout/process1"/>
    <dgm:cxn modelId="{38F988A3-90F8-47CA-9AA6-B192F5C6D399}" type="presOf" srcId="{8C3C1E88-D241-4B75-A080-32CEB6EC9A22}" destId="{1CC28F71-56D1-4BED-A95E-DB25516158B5}" srcOrd="1" destOrd="0" presId="urn:microsoft.com/office/officeart/2005/8/layout/process1"/>
    <dgm:cxn modelId="{763F5FAB-CBC3-4208-8725-2B53CE4B3C0D}" srcId="{739CCC3E-B032-425E-8F2B-CF08BA78433C}" destId="{BA3A47CF-4199-43EF-ACAD-582EBC21DC92}" srcOrd="4" destOrd="0" parTransId="{45831CFA-B020-4F59-9485-A65EDDCA27C8}" sibTransId="{F5A0DB45-F54B-48DF-9C56-D51A734578AA}"/>
    <dgm:cxn modelId="{28FF7ABE-95AC-4363-B94D-3F4A0978DFEB}" type="presOf" srcId="{5A3C44FF-D27C-4A58-8963-F2CAE8213E7F}" destId="{DFD13A35-41D0-490D-9F24-60603E58C652}" srcOrd="1" destOrd="0" presId="urn:microsoft.com/office/officeart/2005/8/layout/process1"/>
    <dgm:cxn modelId="{42C7F5C0-0CE0-4900-8077-54D2C1915415}" type="presOf" srcId="{5A3C44FF-D27C-4A58-8963-F2CAE8213E7F}" destId="{0118B657-7416-4565-BD26-18A2E47D30B8}" srcOrd="0" destOrd="0" presId="urn:microsoft.com/office/officeart/2005/8/layout/process1"/>
    <dgm:cxn modelId="{EC63BCE9-B9A7-4C1F-A286-125C1167D139}" srcId="{739CCC3E-B032-425E-8F2B-CF08BA78433C}" destId="{07B33795-DA6A-4DC9-A84F-FCC647797C0F}" srcOrd="1" destOrd="0" parTransId="{F34E03B4-E23F-4DF5-AB7F-F9ACA07EF2A3}" sibTransId="{5A3C44FF-D27C-4A58-8963-F2CAE8213E7F}"/>
    <dgm:cxn modelId="{755234F7-6836-4BA6-B6EC-92C47614BCE7}" srcId="{739CCC3E-B032-425E-8F2B-CF08BA78433C}" destId="{66FE08F5-32C9-49EF-A77B-0FAB181C0769}" srcOrd="0" destOrd="0" parTransId="{BDF7F313-C5E6-4B61-82C2-4BBA6A6AA3F6}" sibTransId="{2E0E5FD0-E42C-4356-908A-6B776AF0A68D}"/>
    <dgm:cxn modelId="{A51713FF-6EF0-410F-A230-DDDAEFAB21E8}" type="presOf" srcId="{07B33795-DA6A-4DC9-A84F-FCC647797C0F}" destId="{FAA88AA5-7F0C-4201-9AF2-8D07DE4A72AD}" srcOrd="0" destOrd="0" presId="urn:microsoft.com/office/officeart/2005/8/layout/process1"/>
    <dgm:cxn modelId="{31CB5FB1-C345-4791-99C1-AF4F149CED7E}" type="presParOf" srcId="{ADEB3AEA-FA35-455A-9D22-B6EEB64BCAFE}" destId="{B8B91D3A-1888-4D9F-8F51-3BB28F2FE5ED}" srcOrd="0" destOrd="0" presId="urn:microsoft.com/office/officeart/2005/8/layout/process1"/>
    <dgm:cxn modelId="{8BFA951A-658F-49B8-907E-53C1849F95AD}" type="presParOf" srcId="{ADEB3AEA-FA35-455A-9D22-B6EEB64BCAFE}" destId="{FE52F7AE-999C-41CB-AF81-0B181A790FB9}" srcOrd="1" destOrd="0" presId="urn:microsoft.com/office/officeart/2005/8/layout/process1"/>
    <dgm:cxn modelId="{AE1ABB0D-43AE-4458-B139-A0A53B2B3F96}" type="presParOf" srcId="{FE52F7AE-999C-41CB-AF81-0B181A790FB9}" destId="{9285085F-5E1E-4A74-B00D-9CB06FC3E2E4}" srcOrd="0" destOrd="0" presId="urn:microsoft.com/office/officeart/2005/8/layout/process1"/>
    <dgm:cxn modelId="{57A6CC5C-C59A-4B57-B8B6-2C7CCF5AC1DE}" type="presParOf" srcId="{ADEB3AEA-FA35-455A-9D22-B6EEB64BCAFE}" destId="{FAA88AA5-7F0C-4201-9AF2-8D07DE4A72AD}" srcOrd="2" destOrd="0" presId="urn:microsoft.com/office/officeart/2005/8/layout/process1"/>
    <dgm:cxn modelId="{71262C57-7B29-4088-AD97-E13777C6337B}" type="presParOf" srcId="{ADEB3AEA-FA35-455A-9D22-B6EEB64BCAFE}" destId="{0118B657-7416-4565-BD26-18A2E47D30B8}" srcOrd="3" destOrd="0" presId="urn:microsoft.com/office/officeart/2005/8/layout/process1"/>
    <dgm:cxn modelId="{9195E37A-8B93-4BB4-83EF-98BC30F49660}" type="presParOf" srcId="{0118B657-7416-4565-BD26-18A2E47D30B8}" destId="{DFD13A35-41D0-490D-9F24-60603E58C652}" srcOrd="0" destOrd="0" presId="urn:microsoft.com/office/officeart/2005/8/layout/process1"/>
    <dgm:cxn modelId="{44739010-3A9E-4BCF-B1F2-70099EA20775}" type="presParOf" srcId="{ADEB3AEA-FA35-455A-9D22-B6EEB64BCAFE}" destId="{18AF97CD-EFF4-40BE-AF7A-7231BD46A41A}" srcOrd="4" destOrd="0" presId="urn:microsoft.com/office/officeart/2005/8/layout/process1"/>
    <dgm:cxn modelId="{87CD21E3-38D4-4F4C-AA9A-AB86721A1570}" type="presParOf" srcId="{ADEB3AEA-FA35-455A-9D22-B6EEB64BCAFE}" destId="{8E0F0E89-8674-4963-8594-C0EFB6C41EAE}" srcOrd="5" destOrd="0" presId="urn:microsoft.com/office/officeart/2005/8/layout/process1"/>
    <dgm:cxn modelId="{B3173B1C-F96D-43C9-9E6D-3222023C58E0}" type="presParOf" srcId="{8E0F0E89-8674-4963-8594-C0EFB6C41EAE}" destId="{1CC28F71-56D1-4BED-A95E-DB25516158B5}" srcOrd="0" destOrd="0" presId="urn:microsoft.com/office/officeart/2005/8/layout/process1"/>
    <dgm:cxn modelId="{43F61FFE-8000-4A8A-9C32-FC2C419D3929}" type="presParOf" srcId="{ADEB3AEA-FA35-455A-9D22-B6EEB64BCAFE}" destId="{54E7985A-2DA1-489B-9A92-D072FB29D387}" srcOrd="6" destOrd="0" presId="urn:microsoft.com/office/officeart/2005/8/layout/process1"/>
    <dgm:cxn modelId="{D43E2487-5546-4859-B287-105D1F809784}" type="presParOf" srcId="{ADEB3AEA-FA35-455A-9D22-B6EEB64BCAFE}" destId="{83017C9F-01C9-464D-81E4-0B1D499D8038}" srcOrd="7" destOrd="0" presId="urn:microsoft.com/office/officeart/2005/8/layout/process1"/>
    <dgm:cxn modelId="{F6C3CC8A-FE60-4C66-A2D0-31C77A87D075}" type="presParOf" srcId="{83017C9F-01C9-464D-81E4-0B1D499D8038}" destId="{67A26F67-BDBD-445E-85A6-AF64F4EE783F}" srcOrd="0" destOrd="0" presId="urn:microsoft.com/office/officeart/2005/8/layout/process1"/>
    <dgm:cxn modelId="{89AF80C7-BD59-4C1A-9155-3FA7BFA284DA}" type="presParOf" srcId="{ADEB3AEA-FA35-455A-9D22-B6EEB64BCAFE}" destId="{14C3DA66-FAC4-4CE0-AC42-95167BA2A1A5}" srcOrd="8"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39CCC3E-B032-425E-8F2B-CF08BA78433C}" type="doc">
      <dgm:prSet loTypeId="urn:microsoft.com/office/officeart/2005/8/layout/process1" loCatId="process" qsTypeId="urn:microsoft.com/office/officeart/2005/8/quickstyle/simple1" qsCatId="simple" csTypeId="urn:microsoft.com/office/officeart/2005/8/colors/accent2_4" csCatId="accent2" phldr="1"/>
      <dgm:spPr/>
    </dgm:pt>
    <dgm:pt modelId="{66FE08F5-32C9-49EF-A77B-0FAB181C0769}">
      <dgm:prSet phldrT="[Text]" custT="1"/>
      <dgm:spPr>
        <a:solidFill>
          <a:schemeClr val="accent6">
            <a:lumMod val="75000"/>
          </a:schemeClr>
        </a:solidFill>
        <a:ln>
          <a:solidFill>
            <a:schemeClr val="accent6">
              <a:lumMod val="75000"/>
            </a:schemeClr>
          </a:solidFill>
        </a:ln>
      </dgm:spPr>
      <dgm:t>
        <a:bodyPr/>
        <a:lstStyle/>
        <a:p>
          <a:pPr>
            <a:lnSpc>
              <a:spcPct val="100000"/>
            </a:lnSpc>
            <a:spcAft>
              <a:spcPts val="0"/>
            </a:spcAft>
          </a:pPr>
          <a:r>
            <a:rPr lang="en-US" sz="1050" dirty="0">
              <a:latin typeface="Gill Sans MT" panose="020B0502020104020203" pitchFamily="34" charset="0"/>
            </a:rPr>
            <a:t>IF guiding principles ensure a focus on</a:t>
          </a:r>
        </a:p>
        <a:p>
          <a:pPr>
            <a:lnSpc>
              <a:spcPct val="100000"/>
            </a:lnSpc>
            <a:spcAft>
              <a:spcPts val="0"/>
            </a:spcAft>
          </a:pPr>
          <a:r>
            <a:rPr lang="en-US" sz="1050" dirty="0">
              <a:latin typeface="Gill Sans MT" panose="020B0502020104020203" pitchFamily="34" charset="0"/>
            </a:rPr>
            <a:t>scale,</a:t>
          </a:r>
        </a:p>
        <a:p>
          <a:pPr>
            <a:lnSpc>
              <a:spcPct val="100000"/>
            </a:lnSpc>
            <a:spcAft>
              <a:spcPts val="0"/>
            </a:spcAft>
          </a:pPr>
          <a:r>
            <a:rPr lang="en-US" sz="1050" dirty="0">
              <a:latin typeface="Gill Sans MT" panose="020B0502020104020203" pitchFamily="34" charset="0"/>
            </a:rPr>
            <a:t>universal and inclusive coverage,</a:t>
          </a:r>
        </a:p>
        <a:p>
          <a:pPr>
            <a:lnSpc>
              <a:spcPct val="100000"/>
            </a:lnSpc>
            <a:spcAft>
              <a:spcPts val="0"/>
            </a:spcAft>
          </a:pPr>
          <a:r>
            <a:rPr lang="en-US" sz="1050" dirty="0">
              <a:latin typeface="Gill Sans MT" panose="020B0502020104020203" pitchFamily="34" charset="0"/>
            </a:rPr>
            <a:t>government leadership, and</a:t>
          </a:r>
        </a:p>
        <a:p>
          <a:pPr>
            <a:lnSpc>
              <a:spcPct val="100000"/>
            </a:lnSpc>
            <a:spcAft>
              <a:spcPts val="0"/>
            </a:spcAft>
          </a:pPr>
          <a:r>
            <a:rPr lang="en-US" sz="1050" dirty="0">
              <a:latin typeface="Gill Sans MT" panose="020B0502020104020203" pitchFamily="34" charset="0"/>
            </a:rPr>
            <a:t>sustainability;</a:t>
          </a:r>
        </a:p>
      </dgm:t>
    </dgm:pt>
    <dgm:pt modelId="{BDF7F313-C5E6-4B61-82C2-4BBA6A6AA3F6}" type="parTrans" cxnId="{755234F7-6836-4BA6-B6EC-92C47614BCE7}">
      <dgm:prSet/>
      <dgm:spPr/>
      <dgm:t>
        <a:bodyPr/>
        <a:lstStyle/>
        <a:p>
          <a:endParaRPr lang="en-US" sz="1050">
            <a:latin typeface="Gill Sans MT" panose="020B0502020104020203" pitchFamily="34" charset="0"/>
          </a:endParaRPr>
        </a:p>
      </dgm:t>
    </dgm:pt>
    <dgm:pt modelId="{2E0E5FD0-E42C-4356-908A-6B776AF0A68D}" type="sibTrans" cxnId="{755234F7-6836-4BA6-B6EC-92C47614BCE7}">
      <dgm:prSet custT="1"/>
      <dgm:spPr>
        <a:solidFill>
          <a:srgbClr val="BA0C2F"/>
        </a:solidFill>
        <a:ln>
          <a:noFill/>
        </a:ln>
      </dgm:spPr>
      <dgm:t>
        <a:bodyPr/>
        <a:lstStyle/>
        <a:p>
          <a:endParaRPr lang="en-US" sz="1050">
            <a:latin typeface="Gill Sans MT" panose="020B0502020104020203" pitchFamily="34" charset="0"/>
          </a:endParaRPr>
        </a:p>
      </dgm:t>
    </dgm:pt>
    <dgm:pt modelId="{BC323D66-F350-4F9E-9403-FEC1F71AEB52}">
      <dgm:prSet phldrT="[Text]" custT="1"/>
      <dgm:spPr>
        <a:solidFill>
          <a:schemeClr val="tx2">
            <a:lumMod val="75000"/>
          </a:schemeClr>
        </a:solidFill>
        <a:ln>
          <a:solidFill>
            <a:schemeClr val="tx2">
              <a:lumMod val="75000"/>
            </a:schemeClr>
          </a:solidFill>
        </a:ln>
      </dgm:spPr>
      <dgm:t>
        <a:bodyPr/>
        <a:lstStyle/>
        <a:p>
          <a:pPr>
            <a:lnSpc>
              <a:spcPct val="100000"/>
            </a:lnSpc>
            <a:spcAft>
              <a:spcPts val="0"/>
            </a:spcAft>
          </a:pPr>
          <a:r>
            <a:rPr lang="en-US" sz="1050" dirty="0">
              <a:latin typeface="Gill Sans MT" panose="020B0502020104020203" pitchFamily="34" charset="0"/>
            </a:rPr>
            <a:t>AND IF a range of proven, available sanitation and hygiene interventions, products, and services exist that can be applied in the administrative area; </a:t>
          </a:r>
        </a:p>
      </dgm:t>
    </dgm:pt>
    <dgm:pt modelId="{D0654708-3449-4A7E-A76D-4944F36D8E8F}" type="parTrans" cxnId="{371D9E76-E920-4FA6-9614-BA0719F600A4}">
      <dgm:prSet/>
      <dgm:spPr/>
      <dgm:t>
        <a:bodyPr/>
        <a:lstStyle/>
        <a:p>
          <a:endParaRPr lang="en-US" sz="1050">
            <a:latin typeface="Gill Sans MT" panose="020B0502020104020203" pitchFamily="34" charset="0"/>
          </a:endParaRPr>
        </a:p>
      </dgm:t>
    </dgm:pt>
    <dgm:pt modelId="{8C3C1E88-D241-4B75-A080-32CEB6EC9A22}" type="sibTrans" cxnId="{371D9E76-E920-4FA6-9614-BA0719F600A4}">
      <dgm:prSet custT="1"/>
      <dgm:spPr>
        <a:solidFill>
          <a:srgbClr val="BA0C2F">
            <a:alpha val="45000"/>
          </a:srgbClr>
        </a:solidFill>
        <a:ln>
          <a:noFill/>
        </a:ln>
      </dgm:spPr>
      <dgm:t>
        <a:bodyPr/>
        <a:lstStyle/>
        <a:p>
          <a:endParaRPr lang="en-US" sz="1050">
            <a:latin typeface="Gill Sans MT" panose="020B0502020104020203" pitchFamily="34" charset="0"/>
          </a:endParaRPr>
        </a:p>
      </dgm:t>
    </dgm:pt>
    <dgm:pt modelId="{DD257840-8276-4726-95D4-FDE3EB9BC95E}">
      <dgm:prSet phldrT="[Text]" custT="1"/>
      <dgm:spPr>
        <a:solidFill>
          <a:schemeClr val="bg2"/>
        </a:solidFill>
        <a:ln>
          <a:solidFill>
            <a:schemeClr val="bg2"/>
          </a:solidFill>
        </a:ln>
      </dgm:spPr>
      <dgm:t>
        <a:bodyPr/>
        <a:lstStyle/>
        <a:p>
          <a:pPr>
            <a:lnSpc>
              <a:spcPct val="100000"/>
            </a:lnSpc>
            <a:spcAft>
              <a:spcPts val="0"/>
            </a:spcAft>
          </a:pPr>
          <a:r>
            <a:rPr lang="en-US" sz="1050" dirty="0">
              <a:latin typeface="Gill Sans MT" panose="020B0502020104020203" pitchFamily="34" charset="0"/>
            </a:rPr>
            <a:t>THEN local government and implementing partners can ensure application of a mix of sanitation and hygiene interventions and services at scale, properly adapted for the different rural contexts and target populations, and adapted over time to achieve planned outcomes;</a:t>
          </a:r>
        </a:p>
      </dgm:t>
    </dgm:pt>
    <dgm:pt modelId="{F32EB9F6-D9A1-4BD0-9EF2-C268A16457BD}" type="parTrans" cxnId="{A23F3C43-A129-440E-96FE-3071BA5CA3E4}">
      <dgm:prSet/>
      <dgm:spPr/>
      <dgm:t>
        <a:bodyPr/>
        <a:lstStyle/>
        <a:p>
          <a:endParaRPr lang="en-US" sz="1050">
            <a:latin typeface="Gill Sans MT" panose="020B0502020104020203" pitchFamily="34" charset="0"/>
          </a:endParaRPr>
        </a:p>
      </dgm:t>
    </dgm:pt>
    <dgm:pt modelId="{3C22DF45-1FA7-40AD-85F7-901CD15EC354}" type="sibTrans" cxnId="{A23F3C43-A129-440E-96FE-3071BA5CA3E4}">
      <dgm:prSet custT="1"/>
      <dgm:spPr>
        <a:solidFill>
          <a:srgbClr val="BA0C2F">
            <a:alpha val="25000"/>
          </a:srgbClr>
        </a:solidFill>
        <a:ln>
          <a:noFill/>
        </a:ln>
      </dgm:spPr>
      <dgm:t>
        <a:bodyPr/>
        <a:lstStyle/>
        <a:p>
          <a:endParaRPr lang="en-US" sz="1050">
            <a:latin typeface="Gill Sans MT" panose="020B0502020104020203" pitchFamily="34" charset="0"/>
          </a:endParaRPr>
        </a:p>
      </dgm:t>
    </dgm:pt>
    <dgm:pt modelId="{07B33795-DA6A-4DC9-A84F-FCC647797C0F}">
      <dgm:prSet custT="1"/>
      <dgm:spPr>
        <a:solidFill>
          <a:schemeClr val="accent5">
            <a:lumMod val="60000"/>
            <a:lumOff val="40000"/>
          </a:schemeClr>
        </a:solidFill>
        <a:ln>
          <a:solidFill>
            <a:schemeClr val="accent5">
              <a:lumMod val="60000"/>
              <a:lumOff val="40000"/>
            </a:schemeClr>
          </a:solidFill>
        </a:ln>
      </dgm:spPr>
      <dgm:t>
        <a:bodyPr/>
        <a:lstStyle/>
        <a:p>
          <a:pPr>
            <a:lnSpc>
              <a:spcPct val="100000"/>
            </a:lnSpc>
            <a:spcAft>
              <a:spcPts val="0"/>
            </a:spcAft>
          </a:pPr>
          <a:r>
            <a:rPr lang="en-US" sz="1050" dirty="0">
              <a:latin typeface="Gill Sans MT" panose="020B0502020104020203" pitchFamily="34" charset="0"/>
            </a:rPr>
            <a:t>AND IF a national enabling environment for AWS and subnational building blocks are in place; </a:t>
          </a:r>
        </a:p>
      </dgm:t>
    </dgm:pt>
    <dgm:pt modelId="{F34E03B4-E23F-4DF5-AB7F-F9ACA07EF2A3}" type="parTrans" cxnId="{EC63BCE9-B9A7-4C1F-A286-125C1167D139}">
      <dgm:prSet/>
      <dgm:spPr/>
      <dgm:t>
        <a:bodyPr/>
        <a:lstStyle/>
        <a:p>
          <a:endParaRPr lang="en-US" sz="1050">
            <a:latin typeface="Gill Sans MT" panose="020B0502020104020203" pitchFamily="34" charset="0"/>
          </a:endParaRPr>
        </a:p>
      </dgm:t>
    </dgm:pt>
    <dgm:pt modelId="{5A3C44FF-D27C-4A58-8963-F2CAE8213E7F}" type="sibTrans" cxnId="{EC63BCE9-B9A7-4C1F-A286-125C1167D139}">
      <dgm:prSet custT="1"/>
      <dgm:spPr>
        <a:solidFill>
          <a:srgbClr val="BA0C2F">
            <a:alpha val="70000"/>
          </a:srgbClr>
        </a:solidFill>
        <a:ln>
          <a:noFill/>
        </a:ln>
      </dgm:spPr>
      <dgm:t>
        <a:bodyPr/>
        <a:lstStyle/>
        <a:p>
          <a:endParaRPr lang="en-US" sz="1050">
            <a:solidFill>
              <a:schemeClr val="lt1"/>
            </a:solidFill>
            <a:latin typeface="Gill Sans MT" panose="020B0502020104020203" pitchFamily="34" charset="0"/>
          </a:endParaRPr>
        </a:p>
      </dgm:t>
    </dgm:pt>
    <dgm:pt modelId="{BA3A47CF-4199-43EF-ACAD-582EBC21DC92}">
      <dgm:prSet phldrT="[Text]" custT="1"/>
      <dgm:spPr>
        <a:solidFill>
          <a:schemeClr val="accent3"/>
        </a:solidFill>
        <a:ln>
          <a:solidFill>
            <a:schemeClr val="accent3"/>
          </a:solidFill>
        </a:ln>
      </dgm:spPr>
      <dgm:t>
        <a:bodyPr/>
        <a:lstStyle/>
        <a:p>
          <a:r>
            <a:rPr lang="en-US" sz="1050" dirty="0">
              <a:latin typeface="Gill Sans MT" panose="020B0502020104020203" pitchFamily="34" charset="0"/>
            </a:rPr>
            <a:t>AND IF THAT, THEN behaviors, demand and access to  appropriate, affordable materials and markets across all population groups can lead to universal, equitable, and sustained area-wide use of safe sanitation services and practice of hygiene. </a:t>
          </a:r>
        </a:p>
      </dgm:t>
    </dgm:pt>
    <dgm:pt modelId="{45831CFA-B020-4F59-9485-A65EDDCA27C8}" type="parTrans" cxnId="{763F5FAB-CBC3-4208-8725-2B53CE4B3C0D}">
      <dgm:prSet/>
      <dgm:spPr/>
      <dgm:t>
        <a:bodyPr/>
        <a:lstStyle/>
        <a:p>
          <a:endParaRPr lang="en-US" sz="1050">
            <a:latin typeface="Gill Sans MT" panose="020B0502020104020203" pitchFamily="34" charset="0"/>
          </a:endParaRPr>
        </a:p>
      </dgm:t>
    </dgm:pt>
    <dgm:pt modelId="{F5A0DB45-F54B-48DF-9C56-D51A734578AA}" type="sibTrans" cxnId="{763F5FAB-CBC3-4208-8725-2B53CE4B3C0D}">
      <dgm:prSet/>
      <dgm:spPr/>
      <dgm:t>
        <a:bodyPr/>
        <a:lstStyle/>
        <a:p>
          <a:endParaRPr lang="en-US" sz="1050">
            <a:latin typeface="Gill Sans MT" panose="020B0502020104020203" pitchFamily="34" charset="0"/>
          </a:endParaRPr>
        </a:p>
      </dgm:t>
    </dgm:pt>
    <dgm:pt modelId="{ADEB3AEA-FA35-455A-9D22-B6EEB64BCAFE}" type="pres">
      <dgm:prSet presAssocID="{739CCC3E-B032-425E-8F2B-CF08BA78433C}" presName="Name0" presStyleCnt="0">
        <dgm:presLayoutVars>
          <dgm:dir/>
          <dgm:resizeHandles val="exact"/>
        </dgm:presLayoutVars>
      </dgm:prSet>
      <dgm:spPr/>
    </dgm:pt>
    <dgm:pt modelId="{B8B91D3A-1888-4D9F-8F51-3BB28F2FE5ED}" type="pres">
      <dgm:prSet presAssocID="{66FE08F5-32C9-49EF-A77B-0FAB181C0769}" presName="node" presStyleLbl="node1" presStyleIdx="0" presStyleCnt="5">
        <dgm:presLayoutVars>
          <dgm:bulletEnabled val="1"/>
        </dgm:presLayoutVars>
      </dgm:prSet>
      <dgm:spPr/>
    </dgm:pt>
    <dgm:pt modelId="{FE52F7AE-999C-41CB-AF81-0B181A790FB9}" type="pres">
      <dgm:prSet presAssocID="{2E0E5FD0-E42C-4356-908A-6B776AF0A68D}" presName="sibTrans" presStyleLbl="sibTrans2D1" presStyleIdx="0" presStyleCnt="4"/>
      <dgm:spPr/>
    </dgm:pt>
    <dgm:pt modelId="{9285085F-5E1E-4A74-B00D-9CB06FC3E2E4}" type="pres">
      <dgm:prSet presAssocID="{2E0E5FD0-E42C-4356-908A-6B776AF0A68D}" presName="connectorText" presStyleLbl="sibTrans2D1" presStyleIdx="0" presStyleCnt="4"/>
      <dgm:spPr/>
    </dgm:pt>
    <dgm:pt modelId="{FAA88AA5-7F0C-4201-9AF2-8D07DE4A72AD}" type="pres">
      <dgm:prSet presAssocID="{07B33795-DA6A-4DC9-A84F-FCC647797C0F}" presName="node" presStyleLbl="node1" presStyleIdx="1" presStyleCnt="5">
        <dgm:presLayoutVars>
          <dgm:bulletEnabled val="1"/>
        </dgm:presLayoutVars>
      </dgm:prSet>
      <dgm:spPr/>
    </dgm:pt>
    <dgm:pt modelId="{0118B657-7416-4565-BD26-18A2E47D30B8}" type="pres">
      <dgm:prSet presAssocID="{5A3C44FF-D27C-4A58-8963-F2CAE8213E7F}" presName="sibTrans" presStyleLbl="sibTrans2D1" presStyleIdx="1" presStyleCnt="4"/>
      <dgm:spPr/>
    </dgm:pt>
    <dgm:pt modelId="{DFD13A35-41D0-490D-9F24-60603E58C652}" type="pres">
      <dgm:prSet presAssocID="{5A3C44FF-D27C-4A58-8963-F2CAE8213E7F}" presName="connectorText" presStyleLbl="sibTrans2D1" presStyleIdx="1" presStyleCnt="4"/>
      <dgm:spPr/>
    </dgm:pt>
    <dgm:pt modelId="{18AF97CD-EFF4-40BE-AF7A-7231BD46A41A}" type="pres">
      <dgm:prSet presAssocID="{BC323D66-F350-4F9E-9403-FEC1F71AEB52}" presName="node" presStyleLbl="node1" presStyleIdx="2" presStyleCnt="5">
        <dgm:presLayoutVars>
          <dgm:bulletEnabled val="1"/>
        </dgm:presLayoutVars>
      </dgm:prSet>
      <dgm:spPr/>
    </dgm:pt>
    <dgm:pt modelId="{8E0F0E89-8674-4963-8594-C0EFB6C41EAE}" type="pres">
      <dgm:prSet presAssocID="{8C3C1E88-D241-4B75-A080-32CEB6EC9A22}" presName="sibTrans" presStyleLbl="sibTrans2D1" presStyleIdx="2" presStyleCnt="4"/>
      <dgm:spPr/>
    </dgm:pt>
    <dgm:pt modelId="{1CC28F71-56D1-4BED-A95E-DB25516158B5}" type="pres">
      <dgm:prSet presAssocID="{8C3C1E88-D241-4B75-A080-32CEB6EC9A22}" presName="connectorText" presStyleLbl="sibTrans2D1" presStyleIdx="2" presStyleCnt="4"/>
      <dgm:spPr/>
    </dgm:pt>
    <dgm:pt modelId="{54E7985A-2DA1-489B-9A92-D072FB29D387}" type="pres">
      <dgm:prSet presAssocID="{DD257840-8276-4726-95D4-FDE3EB9BC95E}" presName="node" presStyleLbl="node1" presStyleIdx="3" presStyleCnt="5" custScaleX="104577">
        <dgm:presLayoutVars>
          <dgm:bulletEnabled val="1"/>
        </dgm:presLayoutVars>
      </dgm:prSet>
      <dgm:spPr/>
    </dgm:pt>
    <dgm:pt modelId="{83017C9F-01C9-464D-81E4-0B1D499D8038}" type="pres">
      <dgm:prSet presAssocID="{3C22DF45-1FA7-40AD-85F7-901CD15EC354}" presName="sibTrans" presStyleLbl="sibTrans2D1" presStyleIdx="3" presStyleCnt="4"/>
      <dgm:spPr/>
    </dgm:pt>
    <dgm:pt modelId="{67A26F67-BDBD-445E-85A6-AF64F4EE783F}" type="pres">
      <dgm:prSet presAssocID="{3C22DF45-1FA7-40AD-85F7-901CD15EC354}" presName="connectorText" presStyleLbl="sibTrans2D1" presStyleIdx="3" presStyleCnt="4"/>
      <dgm:spPr/>
    </dgm:pt>
    <dgm:pt modelId="{14C3DA66-FAC4-4CE0-AC42-95167BA2A1A5}" type="pres">
      <dgm:prSet presAssocID="{BA3A47CF-4199-43EF-ACAD-582EBC21DC92}" presName="node" presStyleLbl="node1" presStyleIdx="4" presStyleCnt="5">
        <dgm:presLayoutVars>
          <dgm:bulletEnabled val="1"/>
        </dgm:presLayoutVars>
      </dgm:prSet>
      <dgm:spPr/>
    </dgm:pt>
  </dgm:ptLst>
  <dgm:cxnLst>
    <dgm:cxn modelId="{E9C50B07-5363-41B4-82B7-C78209A072A8}" type="presOf" srcId="{2E0E5FD0-E42C-4356-908A-6B776AF0A68D}" destId="{9285085F-5E1E-4A74-B00D-9CB06FC3E2E4}" srcOrd="1" destOrd="0" presId="urn:microsoft.com/office/officeart/2005/8/layout/process1"/>
    <dgm:cxn modelId="{4B1D1611-AAE9-4115-A994-FAC995840310}" type="presOf" srcId="{BA3A47CF-4199-43EF-ACAD-582EBC21DC92}" destId="{14C3DA66-FAC4-4CE0-AC42-95167BA2A1A5}" srcOrd="0" destOrd="0" presId="urn:microsoft.com/office/officeart/2005/8/layout/process1"/>
    <dgm:cxn modelId="{25A50F19-7B1B-4A35-807D-69132FCD34DE}" type="presOf" srcId="{8C3C1E88-D241-4B75-A080-32CEB6EC9A22}" destId="{8E0F0E89-8674-4963-8594-C0EFB6C41EAE}" srcOrd="0" destOrd="0" presId="urn:microsoft.com/office/officeart/2005/8/layout/process1"/>
    <dgm:cxn modelId="{DF40E026-E0DB-4976-96AF-C194678E1F29}" type="presOf" srcId="{739CCC3E-B032-425E-8F2B-CF08BA78433C}" destId="{ADEB3AEA-FA35-455A-9D22-B6EEB64BCAFE}" srcOrd="0" destOrd="0" presId="urn:microsoft.com/office/officeart/2005/8/layout/process1"/>
    <dgm:cxn modelId="{8FF4CB32-96DE-4B53-91F0-9C33A8C86A7D}" type="presOf" srcId="{66FE08F5-32C9-49EF-A77B-0FAB181C0769}" destId="{B8B91D3A-1888-4D9F-8F51-3BB28F2FE5ED}" srcOrd="0" destOrd="0" presId="urn:microsoft.com/office/officeart/2005/8/layout/process1"/>
    <dgm:cxn modelId="{D155F832-1111-4744-8E49-CE4B4472DBE6}" type="presOf" srcId="{3C22DF45-1FA7-40AD-85F7-901CD15EC354}" destId="{83017C9F-01C9-464D-81E4-0B1D499D8038}" srcOrd="0" destOrd="0" presId="urn:microsoft.com/office/officeart/2005/8/layout/process1"/>
    <dgm:cxn modelId="{8A1DA633-F4B6-4FF9-8816-B39D80296FE4}" type="presOf" srcId="{2E0E5FD0-E42C-4356-908A-6B776AF0A68D}" destId="{FE52F7AE-999C-41CB-AF81-0B181A790FB9}" srcOrd="0" destOrd="0" presId="urn:microsoft.com/office/officeart/2005/8/layout/process1"/>
    <dgm:cxn modelId="{3066CA3A-19DF-4D7D-B3B3-39F7302C8516}" type="presOf" srcId="{DD257840-8276-4726-95D4-FDE3EB9BC95E}" destId="{54E7985A-2DA1-489B-9A92-D072FB29D387}" srcOrd="0" destOrd="0" presId="urn:microsoft.com/office/officeart/2005/8/layout/process1"/>
    <dgm:cxn modelId="{A23F3C43-A129-440E-96FE-3071BA5CA3E4}" srcId="{739CCC3E-B032-425E-8F2B-CF08BA78433C}" destId="{DD257840-8276-4726-95D4-FDE3EB9BC95E}" srcOrd="3" destOrd="0" parTransId="{F32EB9F6-D9A1-4BD0-9EF2-C268A16457BD}" sibTransId="{3C22DF45-1FA7-40AD-85F7-901CD15EC354}"/>
    <dgm:cxn modelId="{371D9E76-E920-4FA6-9614-BA0719F600A4}" srcId="{739CCC3E-B032-425E-8F2B-CF08BA78433C}" destId="{BC323D66-F350-4F9E-9403-FEC1F71AEB52}" srcOrd="2" destOrd="0" parTransId="{D0654708-3449-4A7E-A76D-4944F36D8E8F}" sibTransId="{8C3C1E88-D241-4B75-A080-32CEB6EC9A22}"/>
    <dgm:cxn modelId="{58D4E25A-A7DF-4EC3-81C3-152759EB2BE4}" type="presOf" srcId="{3C22DF45-1FA7-40AD-85F7-901CD15EC354}" destId="{67A26F67-BDBD-445E-85A6-AF64F4EE783F}" srcOrd="1" destOrd="0" presId="urn:microsoft.com/office/officeart/2005/8/layout/process1"/>
    <dgm:cxn modelId="{2F8CF0A1-691F-489B-BFD3-3C3A4AD309A1}" type="presOf" srcId="{BC323D66-F350-4F9E-9403-FEC1F71AEB52}" destId="{18AF97CD-EFF4-40BE-AF7A-7231BD46A41A}" srcOrd="0" destOrd="0" presId="urn:microsoft.com/office/officeart/2005/8/layout/process1"/>
    <dgm:cxn modelId="{38F988A3-90F8-47CA-9AA6-B192F5C6D399}" type="presOf" srcId="{8C3C1E88-D241-4B75-A080-32CEB6EC9A22}" destId="{1CC28F71-56D1-4BED-A95E-DB25516158B5}" srcOrd="1" destOrd="0" presId="urn:microsoft.com/office/officeart/2005/8/layout/process1"/>
    <dgm:cxn modelId="{763F5FAB-CBC3-4208-8725-2B53CE4B3C0D}" srcId="{739CCC3E-B032-425E-8F2B-CF08BA78433C}" destId="{BA3A47CF-4199-43EF-ACAD-582EBC21DC92}" srcOrd="4" destOrd="0" parTransId="{45831CFA-B020-4F59-9485-A65EDDCA27C8}" sibTransId="{F5A0DB45-F54B-48DF-9C56-D51A734578AA}"/>
    <dgm:cxn modelId="{28FF7ABE-95AC-4363-B94D-3F4A0978DFEB}" type="presOf" srcId="{5A3C44FF-D27C-4A58-8963-F2CAE8213E7F}" destId="{DFD13A35-41D0-490D-9F24-60603E58C652}" srcOrd="1" destOrd="0" presId="urn:microsoft.com/office/officeart/2005/8/layout/process1"/>
    <dgm:cxn modelId="{42C7F5C0-0CE0-4900-8077-54D2C1915415}" type="presOf" srcId="{5A3C44FF-D27C-4A58-8963-F2CAE8213E7F}" destId="{0118B657-7416-4565-BD26-18A2E47D30B8}" srcOrd="0" destOrd="0" presId="urn:microsoft.com/office/officeart/2005/8/layout/process1"/>
    <dgm:cxn modelId="{EC63BCE9-B9A7-4C1F-A286-125C1167D139}" srcId="{739CCC3E-B032-425E-8F2B-CF08BA78433C}" destId="{07B33795-DA6A-4DC9-A84F-FCC647797C0F}" srcOrd="1" destOrd="0" parTransId="{F34E03B4-E23F-4DF5-AB7F-F9ACA07EF2A3}" sibTransId="{5A3C44FF-D27C-4A58-8963-F2CAE8213E7F}"/>
    <dgm:cxn modelId="{755234F7-6836-4BA6-B6EC-92C47614BCE7}" srcId="{739CCC3E-B032-425E-8F2B-CF08BA78433C}" destId="{66FE08F5-32C9-49EF-A77B-0FAB181C0769}" srcOrd="0" destOrd="0" parTransId="{BDF7F313-C5E6-4B61-82C2-4BBA6A6AA3F6}" sibTransId="{2E0E5FD0-E42C-4356-908A-6B776AF0A68D}"/>
    <dgm:cxn modelId="{A51713FF-6EF0-410F-A230-DDDAEFAB21E8}" type="presOf" srcId="{07B33795-DA6A-4DC9-A84F-FCC647797C0F}" destId="{FAA88AA5-7F0C-4201-9AF2-8D07DE4A72AD}" srcOrd="0" destOrd="0" presId="urn:microsoft.com/office/officeart/2005/8/layout/process1"/>
    <dgm:cxn modelId="{31CB5FB1-C345-4791-99C1-AF4F149CED7E}" type="presParOf" srcId="{ADEB3AEA-FA35-455A-9D22-B6EEB64BCAFE}" destId="{B8B91D3A-1888-4D9F-8F51-3BB28F2FE5ED}" srcOrd="0" destOrd="0" presId="urn:microsoft.com/office/officeart/2005/8/layout/process1"/>
    <dgm:cxn modelId="{8BFA951A-658F-49B8-907E-53C1849F95AD}" type="presParOf" srcId="{ADEB3AEA-FA35-455A-9D22-B6EEB64BCAFE}" destId="{FE52F7AE-999C-41CB-AF81-0B181A790FB9}" srcOrd="1" destOrd="0" presId="urn:microsoft.com/office/officeart/2005/8/layout/process1"/>
    <dgm:cxn modelId="{AE1ABB0D-43AE-4458-B139-A0A53B2B3F96}" type="presParOf" srcId="{FE52F7AE-999C-41CB-AF81-0B181A790FB9}" destId="{9285085F-5E1E-4A74-B00D-9CB06FC3E2E4}" srcOrd="0" destOrd="0" presId="urn:microsoft.com/office/officeart/2005/8/layout/process1"/>
    <dgm:cxn modelId="{57A6CC5C-C59A-4B57-B8B6-2C7CCF5AC1DE}" type="presParOf" srcId="{ADEB3AEA-FA35-455A-9D22-B6EEB64BCAFE}" destId="{FAA88AA5-7F0C-4201-9AF2-8D07DE4A72AD}" srcOrd="2" destOrd="0" presId="urn:microsoft.com/office/officeart/2005/8/layout/process1"/>
    <dgm:cxn modelId="{71262C57-7B29-4088-AD97-E13777C6337B}" type="presParOf" srcId="{ADEB3AEA-FA35-455A-9D22-B6EEB64BCAFE}" destId="{0118B657-7416-4565-BD26-18A2E47D30B8}" srcOrd="3" destOrd="0" presId="urn:microsoft.com/office/officeart/2005/8/layout/process1"/>
    <dgm:cxn modelId="{9195E37A-8B93-4BB4-83EF-98BC30F49660}" type="presParOf" srcId="{0118B657-7416-4565-BD26-18A2E47D30B8}" destId="{DFD13A35-41D0-490D-9F24-60603E58C652}" srcOrd="0" destOrd="0" presId="urn:microsoft.com/office/officeart/2005/8/layout/process1"/>
    <dgm:cxn modelId="{44739010-3A9E-4BCF-B1F2-70099EA20775}" type="presParOf" srcId="{ADEB3AEA-FA35-455A-9D22-B6EEB64BCAFE}" destId="{18AF97CD-EFF4-40BE-AF7A-7231BD46A41A}" srcOrd="4" destOrd="0" presId="urn:microsoft.com/office/officeart/2005/8/layout/process1"/>
    <dgm:cxn modelId="{87CD21E3-38D4-4F4C-AA9A-AB86721A1570}" type="presParOf" srcId="{ADEB3AEA-FA35-455A-9D22-B6EEB64BCAFE}" destId="{8E0F0E89-8674-4963-8594-C0EFB6C41EAE}" srcOrd="5" destOrd="0" presId="urn:microsoft.com/office/officeart/2005/8/layout/process1"/>
    <dgm:cxn modelId="{B3173B1C-F96D-43C9-9E6D-3222023C58E0}" type="presParOf" srcId="{8E0F0E89-8674-4963-8594-C0EFB6C41EAE}" destId="{1CC28F71-56D1-4BED-A95E-DB25516158B5}" srcOrd="0" destOrd="0" presId="urn:microsoft.com/office/officeart/2005/8/layout/process1"/>
    <dgm:cxn modelId="{43F61FFE-8000-4A8A-9C32-FC2C419D3929}" type="presParOf" srcId="{ADEB3AEA-FA35-455A-9D22-B6EEB64BCAFE}" destId="{54E7985A-2DA1-489B-9A92-D072FB29D387}" srcOrd="6" destOrd="0" presId="urn:microsoft.com/office/officeart/2005/8/layout/process1"/>
    <dgm:cxn modelId="{D43E2487-5546-4859-B287-105D1F809784}" type="presParOf" srcId="{ADEB3AEA-FA35-455A-9D22-B6EEB64BCAFE}" destId="{83017C9F-01C9-464D-81E4-0B1D499D8038}" srcOrd="7" destOrd="0" presId="urn:microsoft.com/office/officeart/2005/8/layout/process1"/>
    <dgm:cxn modelId="{F6C3CC8A-FE60-4C66-A2D0-31C77A87D075}" type="presParOf" srcId="{83017C9F-01C9-464D-81E4-0B1D499D8038}" destId="{67A26F67-BDBD-445E-85A6-AF64F4EE783F}" srcOrd="0" destOrd="0" presId="urn:microsoft.com/office/officeart/2005/8/layout/process1"/>
    <dgm:cxn modelId="{89AF80C7-BD59-4C1A-9155-3FA7BFA284DA}" type="presParOf" srcId="{ADEB3AEA-FA35-455A-9D22-B6EEB64BCAFE}" destId="{14C3DA66-FAC4-4CE0-AC42-95167BA2A1A5}" srcOrd="8"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39CCC3E-B032-425E-8F2B-CF08BA78433C}" type="doc">
      <dgm:prSet loTypeId="urn:microsoft.com/office/officeart/2005/8/layout/process1" loCatId="process" qsTypeId="urn:microsoft.com/office/officeart/2005/8/quickstyle/simple1" qsCatId="simple" csTypeId="urn:microsoft.com/office/officeart/2005/8/colors/accent2_4" csCatId="accent2" phldr="1"/>
      <dgm:spPr/>
    </dgm:pt>
    <dgm:pt modelId="{66FE08F5-32C9-49EF-A77B-0FAB181C0769}">
      <dgm:prSet phldrT="[Text]" custT="1"/>
      <dgm:spPr>
        <a:solidFill>
          <a:schemeClr val="accent6">
            <a:lumMod val="75000"/>
          </a:schemeClr>
        </a:solidFill>
        <a:ln>
          <a:solidFill>
            <a:schemeClr val="accent6">
              <a:lumMod val="75000"/>
            </a:schemeClr>
          </a:solidFill>
        </a:ln>
      </dgm:spPr>
      <dgm:t>
        <a:bodyPr/>
        <a:lstStyle/>
        <a:p>
          <a:pPr>
            <a:lnSpc>
              <a:spcPct val="100000"/>
            </a:lnSpc>
            <a:spcAft>
              <a:spcPts val="0"/>
            </a:spcAft>
          </a:pPr>
          <a:r>
            <a:rPr lang="en-US" sz="1100" dirty="0">
              <a:latin typeface="Gill Sans MT" panose="020B0502020104020203" pitchFamily="34" charset="0"/>
            </a:rPr>
            <a:t>IF guiding principles ensure a focus on</a:t>
          </a:r>
        </a:p>
        <a:p>
          <a:pPr>
            <a:lnSpc>
              <a:spcPct val="100000"/>
            </a:lnSpc>
            <a:spcAft>
              <a:spcPts val="0"/>
            </a:spcAft>
          </a:pPr>
          <a:r>
            <a:rPr lang="en-US" sz="1100" dirty="0">
              <a:latin typeface="Gill Sans MT" panose="020B0502020104020203" pitchFamily="34" charset="0"/>
            </a:rPr>
            <a:t>scale,</a:t>
          </a:r>
        </a:p>
        <a:p>
          <a:pPr>
            <a:lnSpc>
              <a:spcPct val="100000"/>
            </a:lnSpc>
            <a:spcAft>
              <a:spcPts val="0"/>
            </a:spcAft>
          </a:pPr>
          <a:r>
            <a:rPr lang="en-US" sz="1100" dirty="0">
              <a:latin typeface="Gill Sans MT" panose="020B0502020104020203" pitchFamily="34" charset="0"/>
            </a:rPr>
            <a:t>universal and inclusive coverage,</a:t>
          </a:r>
        </a:p>
        <a:p>
          <a:pPr>
            <a:lnSpc>
              <a:spcPct val="100000"/>
            </a:lnSpc>
            <a:spcAft>
              <a:spcPts val="0"/>
            </a:spcAft>
          </a:pPr>
          <a:r>
            <a:rPr lang="en-US" sz="1100" dirty="0">
              <a:latin typeface="Gill Sans MT" panose="020B0502020104020203" pitchFamily="34" charset="0"/>
            </a:rPr>
            <a:t>government leadership, and</a:t>
          </a:r>
        </a:p>
        <a:p>
          <a:pPr>
            <a:lnSpc>
              <a:spcPct val="100000"/>
            </a:lnSpc>
            <a:spcAft>
              <a:spcPts val="0"/>
            </a:spcAft>
          </a:pPr>
          <a:r>
            <a:rPr lang="en-US" sz="1100" dirty="0">
              <a:latin typeface="Gill Sans MT" panose="020B0502020104020203" pitchFamily="34" charset="0"/>
            </a:rPr>
            <a:t>sustainability;</a:t>
          </a:r>
        </a:p>
      </dgm:t>
    </dgm:pt>
    <dgm:pt modelId="{BDF7F313-C5E6-4B61-82C2-4BBA6A6AA3F6}" type="parTrans" cxnId="{755234F7-6836-4BA6-B6EC-92C47614BCE7}">
      <dgm:prSet/>
      <dgm:spPr/>
      <dgm:t>
        <a:bodyPr/>
        <a:lstStyle/>
        <a:p>
          <a:endParaRPr lang="en-US" sz="1100">
            <a:latin typeface="Gill Sans MT" panose="020B0502020104020203" pitchFamily="34" charset="0"/>
          </a:endParaRPr>
        </a:p>
      </dgm:t>
    </dgm:pt>
    <dgm:pt modelId="{2E0E5FD0-E42C-4356-908A-6B776AF0A68D}" type="sibTrans" cxnId="{755234F7-6836-4BA6-B6EC-92C47614BCE7}">
      <dgm:prSet custT="1"/>
      <dgm:spPr>
        <a:solidFill>
          <a:srgbClr val="BA0C2F"/>
        </a:solidFill>
        <a:ln>
          <a:noFill/>
        </a:ln>
      </dgm:spPr>
      <dgm:t>
        <a:bodyPr/>
        <a:lstStyle/>
        <a:p>
          <a:endParaRPr lang="en-US" sz="1100">
            <a:latin typeface="Gill Sans MT" panose="020B0502020104020203" pitchFamily="34" charset="0"/>
          </a:endParaRPr>
        </a:p>
      </dgm:t>
    </dgm:pt>
    <dgm:pt modelId="{BC323D66-F350-4F9E-9403-FEC1F71AEB52}">
      <dgm:prSet phldrT="[Text]" custT="1"/>
      <dgm:spPr>
        <a:solidFill>
          <a:schemeClr val="tx2">
            <a:lumMod val="75000"/>
          </a:schemeClr>
        </a:solidFill>
        <a:ln>
          <a:solidFill>
            <a:schemeClr val="tx2">
              <a:lumMod val="75000"/>
            </a:schemeClr>
          </a:solidFill>
        </a:ln>
      </dgm:spPr>
      <dgm:t>
        <a:bodyPr/>
        <a:lstStyle/>
        <a:p>
          <a:pPr>
            <a:lnSpc>
              <a:spcPct val="100000"/>
            </a:lnSpc>
            <a:spcAft>
              <a:spcPts val="0"/>
            </a:spcAft>
          </a:pPr>
          <a:r>
            <a:rPr lang="en-US" sz="1100" dirty="0">
              <a:latin typeface="Gill Sans MT" panose="020B0502020104020203" pitchFamily="34" charset="0"/>
            </a:rPr>
            <a:t>AND IF a range of proven, available sanitation and hygiene interventions, products, and services exist that can be applied in the administrative area; </a:t>
          </a:r>
        </a:p>
      </dgm:t>
    </dgm:pt>
    <dgm:pt modelId="{D0654708-3449-4A7E-A76D-4944F36D8E8F}" type="parTrans" cxnId="{371D9E76-E920-4FA6-9614-BA0719F600A4}">
      <dgm:prSet/>
      <dgm:spPr/>
      <dgm:t>
        <a:bodyPr/>
        <a:lstStyle/>
        <a:p>
          <a:endParaRPr lang="en-US" sz="1100">
            <a:latin typeface="Gill Sans MT" panose="020B0502020104020203" pitchFamily="34" charset="0"/>
          </a:endParaRPr>
        </a:p>
      </dgm:t>
    </dgm:pt>
    <dgm:pt modelId="{8C3C1E88-D241-4B75-A080-32CEB6EC9A22}" type="sibTrans" cxnId="{371D9E76-E920-4FA6-9614-BA0719F600A4}">
      <dgm:prSet custT="1"/>
      <dgm:spPr>
        <a:solidFill>
          <a:srgbClr val="BA0C2F">
            <a:alpha val="45000"/>
          </a:srgbClr>
        </a:solidFill>
        <a:ln>
          <a:noFill/>
        </a:ln>
      </dgm:spPr>
      <dgm:t>
        <a:bodyPr/>
        <a:lstStyle/>
        <a:p>
          <a:endParaRPr lang="en-US" sz="1100">
            <a:latin typeface="Gill Sans MT" panose="020B0502020104020203" pitchFamily="34" charset="0"/>
          </a:endParaRPr>
        </a:p>
      </dgm:t>
    </dgm:pt>
    <dgm:pt modelId="{DD257840-8276-4726-95D4-FDE3EB9BC95E}">
      <dgm:prSet phldrT="[Text]" custT="1"/>
      <dgm:spPr>
        <a:solidFill>
          <a:schemeClr val="bg2"/>
        </a:solidFill>
        <a:ln>
          <a:solidFill>
            <a:schemeClr val="bg2"/>
          </a:solidFill>
        </a:ln>
      </dgm:spPr>
      <dgm:t>
        <a:bodyPr/>
        <a:lstStyle/>
        <a:p>
          <a:pPr>
            <a:lnSpc>
              <a:spcPct val="100000"/>
            </a:lnSpc>
            <a:spcAft>
              <a:spcPts val="0"/>
            </a:spcAft>
          </a:pPr>
          <a:r>
            <a:rPr lang="en-US" sz="1100" dirty="0">
              <a:latin typeface="Gill Sans MT" panose="020B0502020104020203" pitchFamily="34" charset="0"/>
            </a:rPr>
            <a:t>THEN local government and implementing partners can ensure application of a mix of sanitation and hygiene interventions and services at scale, properly adapted for the different rural contexts and target populations, and adapted over time to achieve planned outcomes;</a:t>
          </a:r>
        </a:p>
      </dgm:t>
    </dgm:pt>
    <dgm:pt modelId="{F32EB9F6-D9A1-4BD0-9EF2-C268A16457BD}" type="parTrans" cxnId="{A23F3C43-A129-440E-96FE-3071BA5CA3E4}">
      <dgm:prSet/>
      <dgm:spPr/>
      <dgm:t>
        <a:bodyPr/>
        <a:lstStyle/>
        <a:p>
          <a:endParaRPr lang="en-US" sz="1100">
            <a:latin typeface="Gill Sans MT" panose="020B0502020104020203" pitchFamily="34" charset="0"/>
          </a:endParaRPr>
        </a:p>
      </dgm:t>
    </dgm:pt>
    <dgm:pt modelId="{3C22DF45-1FA7-40AD-85F7-901CD15EC354}" type="sibTrans" cxnId="{A23F3C43-A129-440E-96FE-3071BA5CA3E4}">
      <dgm:prSet custT="1"/>
      <dgm:spPr>
        <a:solidFill>
          <a:srgbClr val="BA0C2F">
            <a:alpha val="25000"/>
          </a:srgbClr>
        </a:solidFill>
        <a:ln>
          <a:noFill/>
        </a:ln>
      </dgm:spPr>
      <dgm:t>
        <a:bodyPr/>
        <a:lstStyle/>
        <a:p>
          <a:endParaRPr lang="en-US" sz="1100">
            <a:latin typeface="Gill Sans MT" panose="020B0502020104020203" pitchFamily="34" charset="0"/>
          </a:endParaRPr>
        </a:p>
      </dgm:t>
    </dgm:pt>
    <dgm:pt modelId="{07B33795-DA6A-4DC9-A84F-FCC647797C0F}">
      <dgm:prSet custT="1"/>
      <dgm:spPr>
        <a:solidFill>
          <a:schemeClr val="accent5">
            <a:lumMod val="60000"/>
            <a:lumOff val="40000"/>
          </a:schemeClr>
        </a:solidFill>
        <a:ln>
          <a:solidFill>
            <a:schemeClr val="accent5">
              <a:lumMod val="60000"/>
              <a:lumOff val="40000"/>
            </a:schemeClr>
          </a:solidFill>
        </a:ln>
      </dgm:spPr>
      <dgm:t>
        <a:bodyPr/>
        <a:lstStyle/>
        <a:p>
          <a:pPr>
            <a:lnSpc>
              <a:spcPct val="100000"/>
            </a:lnSpc>
            <a:spcAft>
              <a:spcPts val="0"/>
            </a:spcAft>
          </a:pPr>
          <a:r>
            <a:rPr lang="en-US" sz="1100" dirty="0">
              <a:latin typeface="Gill Sans MT" panose="020B0502020104020203" pitchFamily="34" charset="0"/>
            </a:rPr>
            <a:t>AND IF a national enabling environment for AWS and subnational building blocks are in place; </a:t>
          </a:r>
        </a:p>
      </dgm:t>
    </dgm:pt>
    <dgm:pt modelId="{F34E03B4-E23F-4DF5-AB7F-F9ACA07EF2A3}" type="parTrans" cxnId="{EC63BCE9-B9A7-4C1F-A286-125C1167D139}">
      <dgm:prSet/>
      <dgm:spPr/>
      <dgm:t>
        <a:bodyPr/>
        <a:lstStyle/>
        <a:p>
          <a:endParaRPr lang="en-US" sz="1100">
            <a:latin typeface="Gill Sans MT" panose="020B0502020104020203" pitchFamily="34" charset="0"/>
          </a:endParaRPr>
        </a:p>
      </dgm:t>
    </dgm:pt>
    <dgm:pt modelId="{5A3C44FF-D27C-4A58-8963-F2CAE8213E7F}" type="sibTrans" cxnId="{EC63BCE9-B9A7-4C1F-A286-125C1167D139}">
      <dgm:prSet custT="1"/>
      <dgm:spPr>
        <a:solidFill>
          <a:srgbClr val="BA0C2F">
            <a:alpha val="70000"/>
          </a:srgbClr>
        </a:solidFill>
        <a:ln>
          <a:noFill/>
        </a:ln>
      </dgm:spPr>
      <dgm:t>
        <a:bodyPr/>
        <a:lstStyle/>
        <a:p>
          <a:endParaRPr lang="en-US" sz="1100">
            <a:solidFill>
              <a:schemeClr val="lt1"/>
            </a:solidFill>
            <a:latin typeface="Gill Sans MT" panose="020B0502020104020203" pitchFamily="34" charset="0"/>
          </a:endParaRPr>
        </a:p>
      </dgm:t>
    </dgm:pt>
    <dgm:pt modelId="{BA3A47CF-4199-43EF-ACAD-582EBC21DC92}">
      <dgm:prSet phldrT="[Text]" custT="1"/>
      <dgm:spPr>
        <a:solidFill>
          <a:schemeClr val="accent3"/>
        </a:solidFill>
        <a:ln>
          <a:solidFill>
            <a:schemeClr val="accent3"/>
          </a:solidFill>
        </a:ln>
      </dgm:spPr>
      <dgm:t>
        <a:bodyPr/>
        <a:lstStyle/>
        <a:p>
          <a:r>
            <a:rPr lang="en-US" sz="1100" dirty="0">
              <a:latin typeface="Gill Sans MT" panose="020B0502020104020203" pitchFamily="34" charset="0"/>
            </a:rPr>
            <a:t>AND IF THAT, THEN behaviors, demand and access to  appropriate, affordable materials and markets across all population groups can lead to universal, equitable, and sustained area-wide use of safe sanitation services and practice of hygiene. </a:t>
          </a:r>
        </a:p>
      </dgm:t>
    </dgm:pt>
    <dgm:pt modelId="{45831CFA-B020-4F59-9485-A65EDDCA27C8}" type="parTrans" cxnId="{763F5FAB-CBC3-4208-8725-2B53CE4B3C0D}">
      <dgm:prSet/>
      <dgm:spPr/>
      <dgm:t>
        <a:bodyPr/>
        <a:lstStyle/>
        <a:p>
          <a:endParaRPr lang="en-US" sz="1100">
            <a:latin typeface="Gill Sans MT" panose="020B0502020104020203" pitchFamily="34" charset="0"/>
          </a:endParaRPr>
        </a:p>
      </dgm:t>
    </dgm:pt>
    <dgm:pt modelId="{F5A0DB45-F54B-48DF-9C56-D51A734578AA}" type="sibTrans" cxnId="{763F5FAB-CBC3-4208-8725-2B53CE4B3C0D}">
      <dgm:prSet/>
      <dgm:spPr/>
      <dgm:t>
        <a:bodyPr/>
        <a:lstStyle/>
        <a:p>
          <a:endParaRPr lang="en-US" sz="1100">
            <a:latin typeface="Gill Sans MT" panose="020B0502020104020203" pitchFamily="34" charset="0"/>
          </a:endParaRPr>
        </a:p>
      </dgm:t>
    </dgm:pt>
    <dgm:pt modelId="{ADEB3AEA-FA35-455A-9D22-B6EEB64BCAFE}" type="pres">
      <dgm:prSet presAssocID="{739CCC3E-B032-425E-8F2B-CF08BA78433C}" presName="Name0" presStyleCnt="0">
        <dgm:presLayoutVars>
          <dgm:dir/>
          <dgm:resizeHandles val="exact"/>
        </dgm:presLayoutVars>
      </dgm:prSet>
      <dgm:spPr/>
    </dgm:pt>
    <dgm:pt modelId="{B8B91D3A-1888-4D9F-8F51-3BB28F2FE5ED}" type="pres">
      <dgm:prSet presAssocID="{66FE08F5-32C9-49EF-A77B-0FAB181C0769}" presName="node" presStyleLbl="node1" presStyleIdx="0" presStyleCnt="5">
        <dgm:presLayoutVars>
          <dgm:bulletEnabled val="1"/>
        </dgm:presLayoutVars>
      </dgm:prSet>
      <dgm:spPr/>
    </dgm:pt>
    <dgm:pt modelId="{FE52F7AE-999C-41CB-AF81-0B181A790FB9}" type="pres">
      <dgm:prSet presAssocID="{2E0E5FD0-E42C-4356-908A-6B776AF0A68D}" presName="sibTrans" presStyleLbl="sibTrans2D1" presStyleIdx="0" presStyleCnt="4"/>
      <dgm:spPr/>
    </dgm:pt>
    <dgm:pt modelId="{9285085F-5E1E-4A74-B00D-9CB06FC3E2E4}" type="pres">
      <dgm:prSet presAssocID="{2E0E5FD0-E42C-4356-908A-6B776AF0A68D}" presName="connectorText" presStyleLbl="sibTrans2D1" presStyleIdx="0" presStyleCnt="4"/>
      <dgm:spPr/>
    </dgm:pt>
    <dgm:pt modelId="{FAA88AA5-7F0C-4201-9AF2-8D07DE4A72AD}" type="pres">
      <dgm:prSet presAssocID="{07B33795-DA6A-4DC9-A84F-FCC647797C0F}" presName="node" presStyleLbl="node1" presStyleIdx="1" presStyleCnt="5">
        <dgm:presLayoutVars>
          <dgm:bulletEnabled val="1"/>
        </dgm:presLayoutVars>
      </dgm:prSet>
      <dgm:spPr/>
    </dgm:pt>
    <dgm:pt modelId="{0118B657-7416-4565-BD26-18A2E47D30B8}" type="pres">
      <dgm:prSet presAssocID="{5A3C44FF-D27C-4A58-8963-F2CAE8213E7F}" presName="sibTrans" presStyleLbl="sibTrans2D1" presStyleIdx="1" presStyleCnt="4"/>
      <dgm:spPr/>
    </dgm:pt>
    <dgm:pt modelId="{DFD13A35-41D0-490D-9F24-60603E58C652}" type="pres">
      <dgm:prSet presAssocID="{5A3C44FF-D27C-4A58-8963-F2CAE8213E7F}" presName="connectorText" presStyleLbl="sibTrans2D1" presStyleIdx="1" presStyleCnt="4"/>
      <dgm:spPr/>
    </dgm:pt>
    <dgm:pt modelId="{18AF97CD-EFF4-40BE-AF7A-7231BD46A41A}" type="pres">
      <dgm:prSet presAssocID="{BC323D66-F350-4F9E-9403-FEC1F71AEB52}" presName="node" presStyleLbl="node1" presStyleIdx="2" presStyleCnt="5">
        <dgm:presLayoutVars>
          <dgm:bulletEnabled val="1"/>
        </dgm:presLayoutVars>
      </dgm:prSet>
      <dgm:spPr/>
    </dgm:pt>
    <dgm:pt modelId="{8E0F0E89-8674-4963-8594-C0EFB6C41EAE}" type="pres">
      <dgm:prSet presAssocID="{8C3C1E88-D241-4B75-A080-32CEB6EC9A22}" presName="sibTrans" presStyleLbl="sibTrans2D1" presStyleIdx="2" presStyleCnt="4"/>
      <dgm:spPr/>
    </dgm:pt>
    <dgm:pt modelId="{1CC28F71-56D1-4BED-A95E-DB25516158B5}" type="pres">
      <dgm:prSet presAssocID="{8C3C1E88-D241-4B75-A080-32CEB6EC9A22}" presName="connectorText" presStyleLbl="sibTrans2D1" presStyleIdx="2" presStyleCnt="4"/>
      <dgm:spPr/>
    </dgm:pt>
    <dgm:pt modelId="{54E7985A-2DA1-489B-9A92-D072FB29D387}" type="pres">
      <dgm:prSet presAssocID="{DD257840-8276-4726-95D4-FDE3EB9BC95E}" presName="node" presStyleLbl="node1" presStyleIdx="3" presStyleCnt="5" custScaleX="104577">
        <dgm:presLayoutVars>
          <dgm:bulletEnabled val="1"/>
        </dgm:presLayoutVars>
      </dgm:prSet>
      <dgm:spPr/>
    </dgm:pt>
    <dgm:pt modelId="{83017C9F-01C9-464D-81E4-0B1D499D8038}" type="pres">
      <dgm:prSet presAssocID="{3C22DF45-1FA7-40AD-85F7-901CD15EC354}" presName="sibTrans" presStyleLbl="sibTrans2D1" presStyleIdx="3" presStyleCnt="4"/>
      <dgm:spPr/>
    </dgm:pt>
    <dgm:pt modelId="{67A26F67-BDBD-445E-85A6-AF64F4EE783F}" type="pres">
      <dgm:prSet presAssocID="{3C22DF45-1FA7-40AD-85F7-901CD15EC354}" presName="connectorText" presStyleLbl="sibTrans2D1" presStyleIdx="3" presStyleCnt="4"/>
      <dgm:spPr/>
    </dgm:pt>
    <dgm:pt modelId="{14C3DA66-FAC4-4CE0-AC42-95167BA2A1A5}" type="pres">
      <dgm:prSet presAssocID="{BA3A47CF-4199-43EF-ACAD-582EBC21DC92}" presName="node" presStyleLbl="node1" presStyleIdx="4" presStyleCnt="5">
        <dgm:presLayoutVars>
          <dgm:bulletEnabled val="1"/>
        </dgm:presLayoutVars>
      </dgm:prSet>
      <dgm:spPr/>
    </dgm:pt>
  </dgm:ptLst>
  <dgm:cxnLst>
    <dgm:cxn modelId="{E9C50B07-5363-41B4-82B7-C78209A072A8}" type="presOf" srcId="{2E0E5FD0-E42C-4356-908A-6B776AF0A68D}" destId="{9285085F-5E1E-4A74-B00D-9CB06FC3E2E4}" srcOrd="1" destOrd="0" presId="urn:microsoft.com/office/officeart/2005/8/layout/process1"/>
    <dgm:cxn modelId="{4B1D1611-AAE9-4115-A994-FAC995840310}" type="presOf" srcId="{BA3A47CF-4199-43EF-ACAD-582EBC21DC92}" destId="{14C3DA66-FAC4-4CE0-AC42-95167BA2A1A5}" srcOrd="0" destOrd="0" presId="urn:microsoft.com/office/officeart/2005/8/layout/process1"/>
    <dgm:cxn modelId="{25A50F19-7B1B-4A35-807D-69132FCD34DE}" type="presOf" srcId="{8C3C1E88-D241-4B75-A080-32CEB6EC9A22}" destId="{8E0F0E89-8674-4963-8594-C0EFB6C41EAE}" srcOrd="0" destOrd="0" presId="urn:microsoft.com/office/officeart/2005/8/layout/process1"/>
    <dgm:cxn modelId="{DF40E026-E0DB-4976-96AF-C194678E1F29}" type="presOf" srcId="{739CCC3E-B032-425E-8F2B-CF08BA78433C}" destId="{ADEB3AEA-FA35-455A-9D22-B6EEB64BCAFE}" srcOrd="0" destOrd="0" presId="urn:microsoft.com/office/officeart/2005/8/layout/process1"/>
    <dgm:cxn modelId="{8FF4CB32-96DE-4B53-91F0-9C33A8C86A7D}" type="presOf" srcId="{66FE08F5-32C9-49EF-A77B-0FAB181C0769}" destId="{B8B91D3A-1888-4D9F-8F51-3BB28F2FE5ED}" srcOrd="0" destOrd="0" presId="urn:microsoft.com/office/officeart/2005/8/layout/process1"/>
    <dgm:cxn modelId="{D155F832-1111-4744-8E49-CE4B4472DBE6}" type="presOf" srcId="{3C22DF45-1FA7-40AD-85F7-901CD15EC354}" destId="{83017C9F-01C9-464D-81E4-0B1D499D8038}" srcOrd="0" destOrd="0" presId="urn:microsoft.com/office/officeart/2005/8/layout/process1"/>
    <dgm:cxn modelId="{8A1DA633-F4B6-4FF9-8816-B39D80296FE4}" type="presOf" srcId="{2E0E5FD0-E42C-4356-908A-6B776AF0A68D}" destId="{FE52F7AE-999C-41CB-AF81-0B181A790FB9}" srcOrd="0" destOrd="0" presId="urn:microsoft.com/office/officeart/2005/8/layout/process1"/>
    <dgm:cxn modelId="{3066CA3A-19DF-4D7D-B3B3-39F7302C8516}" type="presOf" srcId="{DD257840-8276-4726-95D4-FDE3EB9BC95E}" destId="{54E7985A-2DA1-489B-9A92-D072FB29D387}" srcOrd="0" destOrd="0" presId="urn:microsoft.com/office/officeart/2005/8/layout/process1"/>
    <dgm:cxn modelId="{A23F3C43-A129-440E-96FE-3071BA5CA3E4}" srcId="{739CCC3E-B032-425E-8F2B-CF08BA78433C}" destId="{DD257840-8276-4726-95D4-FDE3EB9BC95E}" srcOrd="3" destOrd="0" parTransId="{F32EB9F6-D9A1-4BD0-9EF2-C268A16457BD}" sibTransId="{3C22DF45-1FA7-40AD-85F7-901CD15EC354}"/>
    <dgm:cxn modelId="{371D9E76-E920-4FA6-9614-BA0719F600A4}" srcId="{739CCC3E-B032-425E-8F2B-CF08BA78433C}" destId="{BC323D66-F350-4F9E-9403-FEC1F71AEB52}" srcOrd="2" destOrd="0" parTransId="{D0654708-3449-4A7E-A76D-4944F36D8E8F}" sibTransId="{8C3C1E88-D241-4B75-A080-32CEB6EC9A22}"/>
    <dgm:cxn modelId="{58D4E25A-A7DF-4EC3-81C3-152759EB2BE4}" type="presOf" srcId="{3C22DF45-1FA7-40AD-85F7-901CD15EC354}" destId="{67A26F67-BDBD-445E-85A6-AF64F4EE783F}" srcOrd="1" destOrd="0" presId="urn:microsoft.com/office/officeart/2005/8/layout/process1"/>
    <dgm:cxn modelId="{2F8CF0A1-691F-489B-BFD3-3C3A4AD309A1}" type="presOf" srcId="{BC323D66-F350-4F9E-9403-FEC1F71AEB52}" destId="{18AF97CD-EFF4-40BE-AF7A-7231BD46A41A}" srcOrd="0" destOrd="0" presId="urn:microsoft.com/office/officeart/2005/8/layout/process1"/>
    <dgm:cxn modelId="{38F988A3-90F8-47CA-9AA6-B192F5C6D399}" type="presOf" srcId="{8C3C1E88-D241-4B75-A080-32CEB6EC9A22}" destId="{1CC28F71-56D1-4BED-A95E-DB25516158B5}" srcOrd="1" destOrd="0" presId="urn:microsoft.com/office/officeart/2005/8/layout/process1"/>
    <dgm:cxn modelId="{763F5FAB-CBC3-4208-8725-2B53CE4B3C0D}" srcId="{739CCC3E-B032-425E-8F2B-CF08BA78433C}" destId="{BA3A47CF-4199-43EF-ACAD-582EBC21DC92}" srcOrd="4" destOrd="0" parTransId="{45831CFA-B020-4F59-9485-A65EDDCA27C8}" sibTransId="{F5A0DB45-F54B-48DF-9C56-D51A734578AA}"/>
    <dgm:cxn modelId="{28FF7ABE-95AC-4363-B94D-3F4A0978DFEB}" type="presOf" srcId="{5A3C44FF-D27C-4A58-8963-F2CAE8213E7F}" destId="{DFD13A35-41D0-490D-9F24-60603E58C652}" srcOrd="1" destOrd="0" presId="urn:microsoft.com/office/officeart/2005/8/layout/process1"/>
    <dgm:cxn modelId="{42C7F5C0-0CE0-4900-8077-54D2C1915415}" type="presOf" srcId="{5A3C44FF-D27C-4A58-8963-F2CAE8213E7F}" destId="{0118B657-7416-4565-BD26-18A2E47D30B8}" srcOrd="0" destOrd="0" presId="urn:microsoft.com/office/officeart/2005/8/layout/process1"/>
    <dgm:cxn modelId="{EC63BCE9-B9A7-4C1F-A286-125C1167D139}" srcId="{739CCC3E-B032-425E-8F2B-CF08BA78433C}" destId="{07B33795-DA6A-4DC9-A84F-FCC647797C0F}" srcOrd="1" destOrd="0" parTransId="{F34E03B4-E23F-4DF5-AB7F-F9ACA07EF2A3}" sibTransId="{5A3C44FF-D27C-4A58-8963-F2CAE8213E7F}"/>
    <dgm:cxn modelId="{755234F7-6836-4BA6-B6EC-92C47614BCE7}" srcId="{739CCC3E-B032-425E-8F2B-CF08BA78433C}" destId="{66FE08F5-32C9-49EF-A77B-0FAB181C0769}" srcOrd="0" destOrd="0" parTransId="{BDF7F313-C5E6-4B61-82C2-4BBA6A6AA3F6}" sibTransId="{2E0E5FD0-E42C-4356-908A-6B776AF0A68D}"/>
    <dgm:cxn modelId="{A51713FF-6EF0-410F-A230-DDDAEFAB21E8}" type="presOf" srcId="{07B33795-DA6A-4DC9-A84F-FCC647797C0F}" destId="{FAA88AA5-7F0C-4201-9AF2-8D07DE4A72AD}" srcOrd="0" destOrd="0" presId="urn:microsoft.com/office/officeart/2005/8/layout/process1"/>
    <dgm:cxn modelId="{31CB5FB1-C345-4791-99C1-AF4F149CED7E}" type="presParOf" srcId="{ADEB3AEA-FA35-455A-9D22-B6EEB64BCAFE}" destId="{B8B91D3A-1888-4D9F-8F51-3BB28F2FE5ED}" srcOrd="0" destOrd="0" presId="urn:microsoft.com/office/officeart/2005/8/layout/process1"/>
    <dgm:cxn modelId="{8BFA951A-658F-49B8-907E-53C1849F95AD}" type="presParOf" srcId="{ADEB3AEA-FA35-455A-9D22-B6EEB64BCAFE}" destId="{FE52F7AE-999C-41CB-AF81-0B181A790FB9}" srcOrd="1" destOrd="0" presId="urn:microsoft.com/office/officeart/2005/8/layout/process1"/>
    <dgm:cxn modelId="{AE1ABB0D-43AE-4458-B139-A0A53B2B3F96}" type="presParOf" srcId="{FE52F7AE-999C-41CB-AF81-0B181A790FB9}" destId="{9285085F-5E1E-4A74-B00D-9CB06FC3E2E4}" srcOrd="0" destOrd="0" presId="urn:microsoft.com/office/officeart/2005/8/layout/process1"/>
    <dgm:cxn modelId="{57A6CC5C-C59A-4B57-B8B6-2C7CCF5AC1DE}" type="presParOf" srcId="{ADEB3AEA-FA35-455A-9D22-B6EEB64BCAFE}" destId="{FAA88AA5-7F0C-4201-9AF2-8D07DE4A72AD}" srcOrd="2" destOrd="0" presId="urn:microsoft.com/office/officeart/2005/8/layout/process1"/>
    <dgm:cxn modelId="{71262C57-7B29-4088-AD97-E13777C6337B}" type="presParOf" srcId="{ADEB3AEA-FA35-455A-9D22-B6EEB64BCAFE}" destId="{0118B657-7416-4565-BD26-18A2E47D30B8}" srcOrd="3" destOrd="0" presId="urn:microsoft.com/office/officeart/2005/8/layout/process1"/>
    <dgm:cxn modelId="{9195E37A-8B93-4BB4-83EF-98BC30F49660}" type="presParOf" srcId="{0118B657-7416-4565-BD26-18A2E47D30B8}" destId="{DFD13A35-41D0-490D-9F24-60603E58C652}" srcOrd="0" destOrd="0" presId="urn:microsoft.com/office/officeart/2005/8/layout/process1"/>
    <dgm:cxn modelId="{44739010-3A9E-4BCF-B1F2-70099EA20775}" type="presParOf" srcId="{ADEB3AEA-FA35-455A-9D22-B6EEB64BCAFE}" destId="{18AF97CD-EFF4-40BE-AF7A-7231BD46A41A}" srcOrd="4" destOrd="0" presId="urn:microsoft.com/office/officeart/2005/8/layout/process1"/>
    <dgm:cxn modelId="{87CD21E3-38D4-4F4C-AA9A-AB86721A1570}" type="presParOf" srcId="{ADEB3AEA-FA35-455A-9D22-B6EEB64BCAFE}" destId="{8E0F0E89-8674-4963-8594-C0EFB6C41EAE}" srcOrd="5" destOrd="0" presId="urn:microsoft.com/office/officeart/2005/8/layout/process1"/>
    <dgm:cxn modelId="{B3173B1C-F96D-43C9-9E6D-3222023C58E0}" type="presParOf" srcId="{8E0F0E89-8674-4963-8594-C0EFB6C41EAE}" destId="{1CC28F71-56D1-4BED-A95E-DB25516158B5}" srcOrd="0" destOrd="0" presId="urn:microsoft.com/office/officeart/2005/8/layout/process1"/>
    <dgm:cxn modelId="{43F61FFE-8000-4A8A-9C32-FC2C419D3929}" type="presParOf" srcId="{ADEB3AEA-FA35-455A-9D22-B6EEB64BCAFE}" destId="{54E7985A-2DA1-489B-9A92-D072FB29D387}" srcOrd="6" destOrd="0" presId="urn:microsoft.com/office/officeart/2005/8/layout/process1"/>
    <dgm:cxn modelId="{D43E2487-5546-4859-B287-105D1F809784}" type="presParOf" srcId="{ADEB3AEA-FA35-455A-9D22-B6EEB64BCAFE}" destId="{83017C9F-01C9-464D-81E4-0B1D499D8038}" srcOrd="7" destOrd="0" presId="urn:microsoft.com/office/officeart/2005/8/layout/process1"/>
    <dgm:cxn modelId="{F6C3CC8A-FE60-4C66-A2D0-31C77A87D075}" type="presParOf" srcId="{83017C9F-01C9-464D-81E4-0B1D499D8038}" destId="{67A26F67-BDBD-445E-85A6-AF64F4EE783F}" srcOrd="0" destOrd="0" presId="urn:microsoft.com/office/officeart/2005/8/layout/process1"/>
    <dgm:cxn modelId="{89AF80C7-BD59-4C1A-9155-3FA7BFA284DA}" type="presParOf" srcId="{ADEB3AEA-FA35-455A-9D22-B6EEB64BCAFE}" destId="{14C3DA66-FAC4-4CE0-AC42-95167BA2A1A5}" srcOrd="8"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79C600D-2642-4E1E-9A3B-CBB4EAB1CE60}" type="doc">
      <dgm:prSet loTypeId="urn:microsoft.com/office/officeart/2005/8/layout/default" loCatId="list" qsTypeId="urn:microsoft.com/office/officeart/2005/8/quickstyle/simple5" qsCatId="simple" csTypeId="urn:microsoft.com/office/officeart/2005/8/colors/accent1_2" csCatId="accent1" phldr="1"/>
      <dgm:spPr/>
      <dgm:t>
        <a:bodyPr/>
        <a:lstStyle/>
        <a:p>
          <a:endParaRPr lang="en-US"/>
        </a:p>
      </dgm:t>
    </dgm:pt>
    <dgm:pt modelId="{A845119B-5A65-43EB-96E0-92AEDD26CC4E}">
      <dgm:prSet/>
      <dgm:spPr>
        <a:solidFill>
          <a:schemeClr val="accent6">
            <a:lumMod val="40000"/>
            <a:lumOff val="60000"/>
          </a:schemeClr>
        </a:solidFill>
      </dgm:spPr>
      <dgm:t>
        <a:bodyPr/>
        <a:lstStyle/>
        <a:p>
          <a:r>
            <a:rPr lang="en-US" dirty="0">
              <a:solidFill>
                <a:srgbClr val="4A3C31"/>
              </a:solidFill>
              <a:latin typeface="Quicksand" pitchFamily="2" charset="0"/>
            </a:rPr>
            <a:t>Availing the building in a pro-business area</a:t>
          </a:r>
        </a:p>
      </dgm:t>
    </dgm:pt>
    <dgm:pt modelId="{B37157DC-7600-40DB-ABFA-622B5DA3D33A}" type="parTrans" cxnId="{980B9BE8-2B85-4F25-92AA-52280CC5FCBA}">
      <dgm:prSet/>
      <dgm:spPr/>
      <dgm:t>
        <a:bodyPr/>
        <a:lstStyle/>
        <a:p>
          <a:endParaRPr lang="en-US">
            <a:solidFill>
              <a:srgbClr val="4A3C31"/>
            </a:solidFill>
            <a:latin typeface="Quicksand" pitchFamily="2" charset="0"/>
          </a:endParaRPr>
        </a:p>
      </dgm:t>
    </dgm:pt>
    <dgm:pt modelId="{27A955BE-2F29-4BEA-951A-7C4383645ACA}" type="sibTrans" cxnId="{980B9BE8-2B85-4F25-92AA-52280CC5FCBA}">
      <dgm:prSet/>
      <dgm:spPr/>
      <dgm:t>
        <a:bodyPr/>
        <a:lstStyle/>
        <a:p>
          <a:endParaRPr lang="en-US">
            <a:solidFill>
              <a:srgbClr val="4A3C31"/>
            </a:solidFill>
            <a:latin typeface="Quicksand" pitchFamily="2" charset="0"/>
          </a:endParaRPr>
        </a:p>
      </dgm:t>
    </dgm:pt>
    <dgm:pt modelId="{839AFDC6-5DF9-4CEE-8A71-4B37BEEEB9FB}">
      <dgm:prSet/>
      <dgm:spPr>
        <a:solidFill>
          <a:schemeClr val="accent6">
            <a:lumMod val="40000"/>
            <a:lumOff val="60000"/>
          </a:schemeClr>
        </a:solidFill>
      </dgm:spPr>
      <dgm:t>
        <a:bodyPr/>
        <a:lstStyle/>
        <a:p>
          <a:r>
            <a:rPr lang="en-US" dirty="0">
              <a:solidFill>
                <a:srgbClr val="4A3C31"/>
              </a:solidFill>
              <a:latin typeface="Quicksand" pitchFamily="2" charset="0"/>
            </a:rPr>
            <a:t>Selection &amp; contracting the DSC/Community showroom operator</a:t>
          </a:r>
        </a:p>
      </dgm:t>
    </dgm:pt>
    <dgm:pt modelId="{812396A1-F6F5-425C-BE84-EB79E411CCD2}" type="parTrans" cxnId="{2EC8325B-A11F-44D2-A5AC-093F0A5EB8A3}">
      <dgm:prSet/>
      <dgm:spPr/>
      <dgm:t>
        <a:bodyPr/>
        <a:lstStyle/>
        <a:p>
          <a:endParaRPr lang="en-US">
            <a:solidFill>
              <a:srgbClr val="4A3C31"/>
            </a:solidFill>
            <a:latin typeface="Quicksand" pitchFamily="2" charset="0"/>
          </a:endParaRPr>
        </a:p>
      </dgm:t>
    </dgm:pt>
    <dgm:pt modelId="{C5819669-D806-40E9-A632-32642D751C74}" type="sibTrans" cxnId="{2EC8325B-A11F-44D2-A5AC-093F0A5EB8A3}">
      <dgm:prSet/>
      <dgm:spPr/>
      <dgm:t>
        <a:bodyPr/>
        <a:lstStyle/>
        <a:p>
          <a:endParaRPr lang="en-US">
            <a:solidFill>
              <a:srgbClr val="4A3C31"/>
            </a:solidFill>
            <a:latin typeface="Quicksand" pitchFamily="2" charset="0"/>
          </a:endParaRPr>
        </a:p>
      </dgm:t>
    </dgm:pt>
    <dgm:pt modelId="{3BD50D2F-FFCF-4506-96BC-72F07DEAE84E}">
      <dgm:prSet/>
      <dgm:spPr>
        <a:solidFill>
          <a:schemeClr val="accent3">
            <a:lumMod val="75000"/>
          </a:schemeClr>
        </a:solidFill>
      </dgm:spPr>
      <dgm:t>
        <a:bodyPr/>
        <a:lstStyle/>
        <a:p>
          <a:r>
            <a:rPr lang="en-US" b="1" dirty="0">
              <a:solidFill>
                <a:schemeClr val="bg1"/>
              </a:solidFill>
              <a:latin typeface="Quicksand" pitchFamily="2" charset="0"/>
            </a:rPr>
            <a:t>WATER FOR PEOPLE</a:t>
          </a:r>
        </a:p>
        <a:p>
          <a:r>
            <a:rPr lang="en-US" b="1" dirty="0">
              <a:solidFill>
                <a:schemeClr val="bg1"/>
              </a:solidFill>
              <a:latin typeface="Quicksand" pitchFamily="2" charset="0"/>
            </a:rPr>
            <a:t>Other Partners</a:t>
          </a:r>
        </a:p>
      </dgm:t>
    </dgm:pt>
    <dgm:pt modelId="{25E07DAC-F3C8-4FAC-B6E6-DFD69A012A8E}" type="parTrans" cxnId="{03D4C92C-27C3-416B-B258-8F8DF11736AF}">
      <dgm:prSet/>
      <dgm:spPr/>
      <dgm:t>
        <a:bodyPr/>
        <a:lstStyle/>
        <a:p>
          <a:endParaRPr lang="en-US">
            <a:solidFill>
              <a:srgbClr val="4A3C31"/>
            </a:solidFill>
            <a:latin typeface="Quicksand" pitchFamily="2" charset="0"/>
          </a:endParaRPr>
        </a:p>
      </dgm:t>
    </dgm:pt>
    <dgm:pt modelId="{B78DAAB6-D6B3-427A-8E1D-B67E14649DAA}" type="sibTrans" cxnId="{03D4C92C-27C3-416B-B258-8F8DF11736AF}">
      <dgm:prSet/>
      <dgm:spPr/>
      <dgm:t>
        <a:bodyPr/>
        <a:lstStyle/>
        <a:p>
          <a:endParaRPr lang="en-US">
            <a:solidFill>
              <a:srgbClr val="4A3C31"/>
            </a:solidFill>
            <a:latin typeface="Quicksand" pitchFamily="2" charset="0"/>
          </a:endParaRPr>
        </a:p>
      </dgm:t>
    </dgm:pt>
    <dgm:pt modelId="{9A771088-484D-4020-8DCC-A2782685314E}">
      <dgm:prSet/>
      <dgm:spPr>
        <a:solidFill>
          <a:schemeClr val="accent3">
            <a:lumMod val="60000"/>
            <a:lumOff val="40000"/>
          </a:schemeClr>
        </a:solidFill>
      </dgm:spPr>
      <dgm:t>
        <a:bodyPr/>
        <a:lstStyle/>
        <a:p>
          <a:r>
            <a:rPr lang="en-US" i="1" dirty="0">
              <a:solidFill>
                <a:srgbClr val="4A3C31"/>
              </a:solidFill>
              <a:latin typeface="Quicksand" pitchFamily="2" charset="0"/>
            </a:rPr>
            <a:t>Financial support</a:t>
          </a:r>
          <a:endParaRPr lang="en-US" dirty="0">
            <a:solidFill>
              <a:srgbClr val="4A3C31"/>
            </a:solidFill>
            <a:latin typeface="Quicksand" pitchFamily="2" charset="0"/>
          </a:endParaRPr>
        </a:p>
      </dgm:t>
    </dgm:pt>
    <dgm:pt modelId="{A5153351-C640-41E3-92E6-1A6951E62825}" type="parTrans" cxnId="{A53B53E3-1161-40A9-B43A-87BD9B1B9296}">
      <dgm:prSet/>
      <dgm:spPr/>
      <dgm:t>
        <a:bodyPr/>
        <a:lstStyle/>
        <a:p>
          <a:endParaRPr lang="en-US">
            <a:solidFill>
              <a:srgbClr val="4A3C31"/>
            </a:solidFill>
            <a:latin typeface="Quicksand" pitchFamily="2" charset="0"/>
          </a:endParaRPr>
        </a:p>
      </dgm:t>
    </dgm:pt>
    <dgm:pt modelId="{FB1CD71D-7369-4CF0-8ECF-4FE893A69E28}" type="sibTrans" cxnId="{A53B53E3-1161-40A9-B43A-87BD9B1B9296}">
      <dgm:prSet/>
      <dgm:spPr/>
      <dgm:t>
        <a:bodyPr/>
        <a:lstStyle/>
        <a:p>
          <a:endParaRPr lang="en-US">
            <a:solidFill>
              <a:srgbClr val="4A3C31"/>
            </a:solidFill>
            <a:latin typeface="Quicksand" pitchFamily="2" charset="0"/>
          </a:endParaRPr>
        </a:p>
      </dgm:t>
    </dgm:pt>
    <dgm:pt modelId="{C8BA0F12-F2BB-421E-8AD2-5E3AAD722FD6}">
      <dgm:prSet/>
      <dgm:spPr>
        <a:solidFill>
          <a:schemeClr val="accent3">
            <a:lumMod val="60000"/>
            <a:lumOff val="40000"/>
          </a:schemeClr>
        </a:solidFill>
      </dgm:spPr>
      <dgm:t>
        <a:bodyPr/>
        <a:lstStyle/>
        <a:p>
          <a:r>
            <a:rPr lang="en-US" dirty="0">
              <a:solidFill>
                <a:srgbClr val="4A3C31"/>
              </a:solidFill>
              <a:latin typeface="Quicksand" pitchFamily="2" charset="0"/>
            </a:rPr>
            <a:t>Rehabilitation of the building &amp; installation of latrine prototypes</a:t>
          </a:r>
        </a:p>
      </dgm:t>
    </dgm:pt>
    <dgm:pt modelId="{FFBED194-5D9A-425A-8307-F0A879CDE695}" type="parTrans" cxnId="{01F90422-331B-491F-A33C-B081FD0E30C2}">
      <dgm:prSet/>
      <dgm:spPr/>
      <dgm:t>
        <a:bodyPr/>
        <a:lstStyle/>
        <a:p>
          <a:endParaRPr lang="en-US">
            <a:solidFill>
              <a:srgbClr val="4A3C31"/>
            </a:solidFill>
            <a:latin typeface="Quicksand" pitchFamily="2" charset="0"/>
          </a:endParaRPr>
        </a:p>
      </dgm:t>
    </dgm:pt>
    <dgm:pt modelId="{975B7F19-3B42-4722-BC48-96F2900BB79E}" type="sibTrans" cxnId="{01F90422-331B-491F-A33C-B081FD0E30C2}">
      <dgm:prSet/>
      <dgm:spPr/>
      <dgm:t>
        <a:bodyPr/>
        <a:lstStyle/>
        <a:p>
          <a:endParaRPr lang="en-US">
            <a:solidFill>
              <a:srgbClr val="4A3C31"/>
            </a:solidFill>
            <a:latin typeface="Quicksand" pitchFamily="2" charset="0"/>
          </a:endParaRPr>
        </a:p>
      </dgm:t>
    </dgm:pt>
    <dgm:pt modelId="{BFF8A8B7-32F4-4355-A505-BF88106FADB2}">
      <dgm:prSet/>
      <dgm:spPr>
        <a:solidFill>
          <a:schemeClr val="accent3">
            <a:lumMod val="60000"/>
            <a:lumOff val="40000"/>
          </a:schemeClr>
        </a:solidFill>
      </dgm:spPr>
      <dgm:t>
        <a:bodyPr/>
        <a:lstStyle/>
        <a:p>
          <a:r>
            <a:rPr lang="en-US" i="1" dirty="0">
              <a:solidFill>
                <a:srgbClr val="4A3C31"/>
              </a:solidFill>
              <a:latin typeface="Quicksand" pitchFamily="2" charset="0"/>
            </a:rPr>
            <a:t>Technical support</a:t>
          </a:r>
          <a:endParaRPr lang="en-US" dirty="0">
            <a:solidFill>
              <a:srgbClr val="4A3C31"/>
            </a:solidFill>
            <a:latin typeface="Quicksand" pitchFamily="2" charset="0"/>
          </a:endParaRPr>
        </a:p>
      </dgm:t>
    </dgm:pt>
    <dgm:pt modelId="{3950B012-2BF3-4588-9A9F-13344D61D9F8}" type="parTrans" cxnId="{80DC0E80-A8BD-48AD-9E8B-64FF536AE7A4}">
      <dgm:prSet/>
      <dgm:spPr/>
      <dgm:t>
        <a:bodyPr/>
        <a:lstStyle/>
        <a:p>
          <a:endParaRPr lang="en-US">
            <a:solidFill>
              <a:srgbClr val="4A3C31"/>
            </a:solidFill>
            <a:latin typeface="Quicksand" pitchFamily="2" charset="0"/>
          </a:endParaRPr>
        </a:p>
      </dgm:t>
    </dgm:pt>
    <dgm:pt modelId="{1280ED90-2727-48F8-824A-469F052E8336}" type="sibTrans" cxnId="{80DC0E80-A8BD-48AD-9E8B-64FF536AE7A4}">
      <dgm:prSet/>
      <dgm:spPr/>
      <dgm:t>
        <a:bodyPr/>
        <a:lstStyle/>
        <a:p>
          <a:endParaRPr lang="en-US">
            <a:solidFill>
              <a:srgbClr val="4A3C31"/>
            </a:solidFill>
            <a:latin typeface="Quicksand" pitchFamily="2" charset="0"/>
          </a:endParaRPr>
        </a:p>
      </dgm:t>
    </dgm:pt>
    <dgm:pt modelId="{6541BAFD-0A1F-4890-82EF-0866771D8C74}">
      <dgm:prSet/>
      <dgm:spPr>
        <a:solidFill>
          <a:schemeClr val="accent3">
            <a:lumMod val="60000"/>
            <a:lumOff val="40000"/>
          </a:schemeClr>
        </a:solidFill>
      </dgm:spPr>
      <dgm:t>
        <a:bodyPr/>
        <a:lstStyle/>
        <a:p>
          <a:r>
            <a:rPr lang="en-US" b="1" dirty="0">
              <a:solidFill>
                <a:srgbClr val="4A3C31"/>
              </a:solidFill>
              <a:latin typeface="Quicksand" pitchFamily="2" charset="0"/>
            </a:rPr>
            <a:t>Capacity building (Financial mgt)</a:t>
          </a:r>
        </a:p>
      </dgm:t>
    </dgm:pt>
    <dgm:pt modelId="{557D86E1-042A-4395-8904-FE89E9A40C97}" type="parTrans" cxnId="{E180D15A-CF63-44C2-949A-386DE7A6734C}">
      <dgm:prSet/>
      <dgm:spPr/>
      <dgm:t>
        <a:bodyPr/>
        <a:lstStyle/>
        <a:p>
          <a:endParaRPr lang="en-US">
            <a:solidFill>
              <a:srgbClr val="4A3C31"/>
            </a:solidFill>
            <a:latin typeface="Quicksand" pitchFamily="2" charset="0"/>
          </a:endParaRPr>
        </a:p>
      </dgm:t>
    </dgm:pt>
    <dgm:pt modelId="{81B99F95-FCBE-46A8-8E6F-5EE5766E2D39}" type="sibTrans" cxnId="{E180D15A-CF63-44C2-949A-386DE7A6734C}">
      <dgm:prSet/>
      <dgm:spPr/>
      <dgm:t>
        <a:bodyPr/>
        <a:lstStyle/>
        <a:p>
          <a:endParaRPr lang="en-US">
            <a:solidFill>
              <a:srgbClr val="4A3C31"/>
            </a:solidFill>
            <a:latin typeface="Quicksand" pitchFamily="2" charset="0"/>
          </a:endParaRPr>
        </a:p>
      </dgm:t>
    </dgm:pt>
    <dgm:pt modelId="{13A621BC-E3F7-463B-9A88-FABE422BBD76}">
      <dgm:prSet/>
      <dgm:spPr>
        <a:solidFill>
          <a:schemeClr val="accent3">
            <a:lumMod val="60000"/>
            <a:lumOff val="40000"/>
          </a:schemeClr>
        </a:solidFill>
      </dgm:spPr>
      <dgm:t>
        <a:bodyPr/>
        <a:lstStyle/>
        <a:p>
          <a:r>
            <a:rPr lang="en-US" dirty="0">
              <a:solidFill>
                <a:srgbClr val="4A3C31"/>
              </a:solidFill>
              <a:latin typeface="Quicksand" pitchFamily="2" charset="0"/>
            </a:rPr>
            <a:t>Business linkage with WASH suppliers/manufacturers</a:t>
          </a:r>
        </a:p>
      </dgm:t>
    </dgm:pt>
    <dgm:pt modelId="{6DA358C4-C9F9-456B-83F5-40CE1DE3A630}" type="parTrans" cxnId="{5941C158-FA20-445E-8CE7-F39F8C97EBA1}">
      <dgm:prSet/>
      <dgm:spPr/>
      <dgm:t>
        <a:bodyPr/>
        <a:lstStyle/>
        <a:p>
          <a:endParaRPr lang="en-US">
            <a:solidFill>
              <a:srgbClr val="4A3C31"/>
            </a:solidFill>
            <a:latin typeface="Quicksand" pitchFamily="2" charset="0"/>
          </a:endParaRPr>
        </a:p>
      </dgm:t>
    </dgm:pt>
    <dgm:pt modelId="{E1AC56A9-DE57-4137-B84B-A0B7A6F0E744}" type="sibTrans" cxnId="{5941C158-FA20-445E-8CE7-F39F8C97EBA1}">
      <dgm:prSet/>
      <dgm:spPr/>
      <dgm:t>
        <a:bodyPr/>
        <a:lstStyle/>
        <a:p>
          <a:endParaRPr lang="en-US">
            <a:solidFill>
              <a:srgbClr val="4A3C31"/>
            </a:solidFill>
            <a:latin typeface="Quicksand" pitchFamily="2" charset="0"/>
          </a:endParaRPr>
        </a:p>
      </dgm:t>
    </dgm:pt>
    <dgm:pt modelId="{2567A12B-62F4-4286-A3E8-6CE4E52BDFB8}">
      <dgm:prSet/>
      <dgm:spPr>
        <a:solidFill>
          <a:schemeClr val="accent6">
            <a:lumMod val="60000"/>
            <a:lumOff val="40000"/>
          </a:schemeClr>
        </a:solidFill>
      </dgm:spPr>
      <dgm:t>
        <a:bodyPr/>
        <a:lstStyle/>
        <a:p>
          <a:r>
            <a:rPr lang="en-US" b="1" dirty="0">
              <a:solidFill>
                <a:srgbClr val="4A3C31"/>
              </a:solidFill>
              <a:latin typeface="Quicksand" pitchFamily="2" charset="0"/>
            </a:rPr>
            <a:t>DISTRICT</a:t>
          </a:r>
        </a:p>
      </dgm:t>
    </dgm:pt>
    <dgm:pt modelId="{5D60B207-50D3-472A-8C62-3546ADF0F831}" type="sibTrans" cxnId="{8A02F791-E3F5-4862-A3F4-C697DD4F745F}">
      <dgm:prSet/>
      <dgm:spPr/>
      <dgm:t>
        <a:bodyPr/>
        <a:lstStyle/>
        <a:p>
          <a:endParaRPr lang="en-US">
            <a:solidFill>
              <a:srgbClr val="4A3C31"/>
            </a:solidFill>
            <a:latin typeface="Quicksand" pitchFamily="2" charset="0"/>
          </a:endParaRPr>
        </a:p>
      </dgm:t>
    </dgm:pt>
    <dgm:pt modelId="{CB138887-C5DE-47CB-BA3F-EC1B816B9021}" type="parTrans" cxnId="{8A02F791-E3F5-4862-A3F4-C697DD4F745F}">
      <dgm:prSet/>
      <dgm:spPr/>
      <dgm:t>
        <a:bodyPr/>
        <a:lstStyle/>
        <a:p>
          <a:endParaRPr lang="en-US">
            <a:solidFill>
              <a:srgbClr val="4A3C31"/>
            </a:solidFill>
            <a:latin typeface="Quicksand" pitchFamily="2" charset="0"/>
          </a:endParaRPr>
        </a:p>
      </dgm:t>
    </dgm:pt>
    <dgm:pt modelId="{C13E19C8-7E93-4359-9335-2867AB943217}" type="pres">
      <dgm:prSet presAssocID="{D79C600D-2642-4E1E-9A3B-CBB4EAB1CE60}" presName="diagram" presStyleCnt="0">
        <dgm:presLayoutVars>
          <dgm:dir/>
          <dgm:resizeHandles val="exact"/>
        </dgm:presLayoutVars>
      </dgm:prSet>
      <dgm:spPr/>
    </dgm:pt>
    <dgm:pt modelId="{31C8663A-C604-4BDA-BA48-DFAE3DD2CC29}" type="pres">
      <dgm:prSet presAssocID="{2567A12B-62F4-4286-A3E8-6CE4E52BDFB8}" presName="node" presStyleLbl="node1" presStyleIdx="0" presStyleCnt="9" custLinFactNeighborX="-19593" custLinFactNeighborY="6021">
        <dgm:presLayoutVars>
          <dgm:bulletEnabled val="1"/>
        </dgm:presLayoutVars>
      </dgm:prSet>
      <dgm:spPr/>
    </dgm:pt>
    <dgm:pt modelId="{08EE5945-91DD-46F4-8E42-9A498C12ECCF}" type="pres">
      <dgm:prSet presAssocID="{5D60B207-50D3-472A-8C62-3546ADF0F831}" presName="sibTrans" presStyleCnt="0"/>
      <dgm:spPr/>
    </dgm:pt>
    <dgm:pt modelId="{C623B997-F785-41ED-A1CB-A26E69D382BF}" type="pres">
      <dgm:prSet presAssocID="{A845119B-5A65-43EB-96E0-92AEDD26CC4E}" presName="node" presStyleLbl="node1" presStyleIdx="1" presStyleCnt="9" custLinFactNeighborX="35224" custLinFactNeighborY="-6994">
        <dgm:presLayoutVars>
          <dgm:bulletEnabled val="1"/>
        </dgm:presLayoutVars>
      </dgm:prSet>
      <dgm:spPr/>
    </dgm:pt>
    <dgm:pt modelId="{766D01E3-36DA-4E08-88F8-326DA5EE729E}" type="pres">
      <dgm:prSet presAssocID="{27A955BE-2F29-4BEA-951A-7C4383645ACA}" presName="sibTrans" presStyleCnt="0"/>
      <dgm:spPr/>
    </dgm:pt>
    <dgm:pt modelId="{0C5CAF17-BFEA-45EE-A58B-C6D1865B31DD}" type="pres">
      <dgm:prSet presAssocID="{839AFDC6-5DF9-4CEE-8A71-4B37BEEEB9FB}" presName="node" presStyleLbl="node1" presStyleIdx="2" presStyleCnt="9" custLinFactNeighborX="66898" custLinFactNeighborY="-3253">
        <dgm:presLayoutVars>
          <dgm:bulletEnabled val="1"/>
        </dgm:presLayoutVars>
      </dgm:prSet>
      <dgm:spPr/>
    </dgm:pt>
    <dgm:pt modelId="{06D7FA17-9716-40C0-B465-BA9DA0402B84}" type="pres">
      <dgm:prSet presAssocID="{C5819669-D806-40E9-A632-32642D751C74}" presName="sibTrans" presStyleCnt="0"/>
      <dgm:spPr/>
    </dgm:pt>
    <dgm:pt modelId="{69A43A35-1734-4DE4-BE56-C20564846393}" type="pres">
      <dgm:prSet presAssocID="{3BD50D2F-FFCF-4506-96BC-72F07DEAE84E}" presName="node" presStyleLbl="node1" presStyleIdx="3" presStyleCnt="9" custLinFactX="-149593" custLinFactY="18218" custLinFactNeighborX="-200000" custLinFactNeighborY="100000">
        <dgm:presLayoutVars>
          <dgm:bulletEnabled val="1"/>
        </dgm:presLayoutVars>
      </dgm:prSet>
      <dgm:spPr/>
    </dgm:pt>
    <dgm:pt modelId="{D067CB9A-42EB-4F0E-B886-F4D22493398F}" type="pres">
      <dgm:prSet presAssocID="{B78DAAB6-D6B3-427A-8E1D-B67E14649DAA}" presName="sibTrans" presStyleCnt="0"/>
      <dgm:spPr/>
    </dgm:pt>
    <dgm:pt modelId="{A94DB5AB-AFCE-49F7-A3E7-D954359CEEE4}" type="pres">
      <dgm:prSet presAssocID="{9A771088-484D-4020-8DCC-A2782685314E}" presName="node" presStyleLbl="node1" presStyleIdx="4" presStyleCnt="9" custLinFactX="45224" custLinFactNeighborX="100000" custLinFactNeighborY="-3180">
        <dgm:presLayoutVars>
          <dgm:bulletEnabled val="1"/>
        </dgm:presLayoutVars>
      </dgm:prSet>
      <dgm:spPr/>
    </dgm:pt>
    <dgm:pt modelId="{02A9897F-4DCF-49D5-A387-F583E594BFE4}" type="pres">
      <dgm:prSet presAssocID="{FB1CD71D-7369-4CF0-8ECF-4FE893A69E28}" presName="sibTrans" presStyleCnt="0"/>
      <dgm:spPr/>
    </dgm:pt>
    <dgm:pt modelId="{636702A7-8F16-4A00-92C6-319E1C4444B1}" type="pres">
      <dgm:prSet presAssocID="{C8BA0F12-F2BB-421E-8AD2-5E3AAD722FD6}" presName="node" presStyleLbl="node1" presStyleIdx="5" presStyleCnt="9" custLinFactX="76929" custLinFactNeighborX="100000" custLinFactNeighborY="-3913">
        <dgm:presLayoutVars>
          <dgm:bulletEnabled val="1"/>
        </dgm:presLayoutVars>
      </dgm:prSet>
      <dgm:spPr/>
    </dgm:pt>
    <dgm:pt modelId="{216C32D3-686F-49EC-ADAA-3B96ED2987C3}" type="pres">
      <dgm:prSet presAssocID="{975B7F19-3B42-4722-BC48-96F2900BB79E}" presName="sibTrans" presStyleCnt="0"/>
      <dgm:spPr/>
    </dgm:pt>
    <dgm:pt modelId="{C10584AF-250A-4E8A-AFE5-22A353A7B3E9}" type="pres">
      <dgm:prSet presAssocID="{BFF8A8B7-32F4-4355-A505-BF88106FADB2}" presName="node" presStyleLbl="node1" presStyleIdx="6" presStyleCnt="9" custLinFactY="16747" custLinFactNeighborX="-72082" custLinFactNeighborY="100000">
        <dgm:presLayoutVars>
          <dgm:bulletEnabled val="1"/>
        </dgm:presLayoutVars>
      </dgm:prSet>
      <dgm:spPr/>
    </dgm:pt>
    <dgm:pt modelId="{73B32304-5BCB-45DC-9D0E-0EEDE5EEE3F0}" type="pres">
      <dgm:prSet presAssocID="{1280ED90-2727-48F8-824A-469F052E8336}" presName="sibTrans" presStyleCnt="0"/>
      <dgm:spPr/>
    </dgm:pt>
    <dgm:pt modelId="{34098DE3-2FA3-4B73-85B6-8AB76256FAFE}" type="pres">
      <dgm:prSet presAssocID="{6541BAFD-0A1F-4890-82EF-0866771D8C74}" presName="node" presStyleLbl="node1" presStyleIdx="7" presStyleCnt="9" custLinFactX="-149593" custLinFactY="16747" custLinFactNeighborX="-200000" custLinFactNeighborY="100000">
        <dgm:presLayoutVars>
          <dgm:bulletEnabled val="1"/>
        </dgm:presLayoutVars>
      </dgm:prSet>
      <dgm:spPr/>
    </dgm:pt>
    <dgm:pt modelId="{3B48B2AF-F3F9-45AC-BE37-E8187E58D444}" type="pres">
      <dgm:prSet presAssocID="{81B99F95-FCBE-46A8-8E6F-5EE5766E2D39}" presName="sibTrans" presStyleCnt="0"/>
      <dgm:spPr/>
    </dgm:pt>
    <dgm:pt modelId="{24B769F4-FB06-4043-B745-7D710C1F8FB6}" type="pres">
      <dgm:prSet presAssocID="{13A621BC-E3F7-463B-9A88-FABE422BBD76}" presName="node" presStyleLbl="node1" presStyleIdx="8" presStyleCnt="9" custLinFactX="20582" custLinFactNeighborX="100000" custLinFactNeighborY="-3412">
        <dgm:presLayoutVars>
          <dgm:bulletEnabled val="1"/>
        </dgm:presLayoutVars>
      </dgm:prSet>
      <dgm:spPr/>
    </dgm:pt>
  </dgm:ptLst>
  <dgm:cxnLst>
    <dgm:cxn modelId="{32C68D07-7D0B-4C6E-BF90-50780153400F}" type="presOf" srcId="{BFF8A8B7-32F4-4355-A505-BF88106FADB2}" destId="{C10584AF-250A-4E8A-AFE5-22A353A7B3E9}" srcOrd="0" destOrd="0" presId="urn:microsoft.com/office/officeart/2005/8/layout/default"/>
    <dgm:cxn modelId="{01F90422-331B-491F-A33C-B081FD0E30C2}" srcId="{D79C600D-2642-4E1E-9A3B-CBB4EAB1CE60}" destId="{C8BA0F12-F2BB-421E-8AD2-5E3AAD722FD6}" srcOrd="5" destOrd="0" parTransId="{FFBED194-5D9A-425A-8307-F0A879CDE695}" sibTransId="{975B7F19-3B42-4722-BC48-96F2900BB79E}"/>
    <dgm:cxn modelId="{03D4C92C-27C3-416B-B258-8F8DF11736AF}" srcId="{D79C600D-2642-4E1E-9A3B-CBB4EAB1CE60}" destId="{3BD50D2F-FFCF-4506-96BC-72F07DEAE84E}" srcOrd="3" destOrd="0" parTransId="{25E07DAC-F3C8-4FAC-B6E6-DFD69A012A8E}" sibTransId="{B78DAAB6-D6B3-427A-8E1D-B67E14649DAA}"/>
    <dgm:cxn modelId="{5F84B62E-A224-4256-9B54-8F98E8355445}" type="presOf" srcId="{9A771088-484D-4020-8DCC-A2782685314E}" destId="{A94DB5AB-AFCE-49F7-A3E7-D954359CEEE4}" srcOrd="0" destOrd="0" presId="urn:microsoft.com/office/officeart/2005/8/layout/default"/>
    <dgm:cxn modelId="{2EC8325B-A11F-44D2-A5AC-093F0A5EB8A3}" srcId="{D79C600D-2642-4E1E-9A3B-CBB4EAB1CE60}" destId="{839AFDC6-5DF9-4CEE-8A71-4B37BEEEB9FB}" srcOrd="2" destOrd="0" parTransId="{812396A1-F6F5-425C-BE84-EB79E411CCD2}" sibTransId="{C5819669-D806-40E9-A632-32642D751C74}"/>
    <dgm:cxn modelId="{7D11C368-5BBE-4183-BACB-220CDB054F6E}" type="presOf" srcId="{6541BAFD-0A1F-4890-82EF-0866771D8C74}" destId="{34098DE3-2FA3-4B73-85B6-8AB76256FAFE}" srcOrd="0" destOrd="0" presId="urn:microsoft.com/office/officeart/2005/8/layout/default"/>
    <dgm:cxn modelId="{6FDD1D6B-14D9-442B-826F-CD794FFF589D}" type="presOf" srcId="{A845119B-5A65-43EB-96E0-92AEDD26CC4E}" destId="{C623B997-F785-41ED-A1CB-A26E69D382BF}" srcOrd="0" destOrd="0" presId="urn:microsoft.com/office/officeart/2005/8/layout/default"/>
    <dgm:cxn modelId="{F6C06F6E-80C3-4EA2-BC1F-A96D2030CC32}" type="presOf" srcId="{2567A12B-62F4-4286-A3E8-6CE4E52BDFB8}" destId="{31C8663A-C604-4BDA-BA48-DFAE3DD2CC29}" srcOrd="0" destOrd="0" presId="urn:microsoft.com/office/officeart/2005/8/layout/default"/>
    <dgm:cxn modelId="{42CB2E74-21BA-4AA7-8DCB-3E5FDB3E13B1}" type="presOf" srcId="{C8BA0F12-F2BB-421E-8AD2-5E3AAD722FD6}" destId="{636702A7-8F16-4A00-92C6-319E1C4444B1}" srcOrd="0" destOrd="0" presId="urn:microsoft.com/office/officeart/2005/8/layout/default"/>
    <dgm:cxn modelId="{5941C158-FA20-445E-8CE7-F39F8C97EBA1}" srcId="{D79C600D-2642-4E1E-9A3B-CBB4EAB1CE60}" destId="{13A621BC-E3F7-463B-9A88-FABE422BBD76}" srcOrd="8" destOrd="0" parTransId="{6DA358C4-C9F9-456B-83F5-40CE1DE3A630}" sibTransId="{E1AC56A9-DE57-4137-B84B-A0B7A6F0E744}"/>
    <dgm:cxn modelId="{E180D15A-CF63-44C2-949A-386DE7A6734C}" srcId="{D79C600D-2642-4E1E-9A3B-CBB4EAB1CE60}" destId="{6541BAFD-0A1F-4890-82EF-0866771D8C74}" srcOrd="7" destOrd="0" parTransId="{557D86E1-042A-4395-8904-FE89E9A40C97}" sibTransId="{81B99F95-FCBE-46A8-8E6F-5EE5766E2D39}"/>
    <dgm:cxn modelId="{80DC0E80-A8BD-48AD-9E8B-64FF536AE7A4}" srcId="{D79C600D-2642-4E1E-9A3B-CBB4EAB1CE60}" destId="{BFF8A8B7-32F4-4355-A505-BF88106FADB2}" srcOrd="6" destOrd="0" parTransId="{3950B012-2BF3-4588-9A9F-13344D61D9F8}" sibTransId="{1280ED90-2727-48F8-824A-469F052E8336}"/>
    <dgm:cxn modelId="{8A02F791-E3F5-4862-A3F4-C697DD4F745F}" srcId="{D79C600D-2642-4E1E-9A3B-CBB4EAB1CE60}" destId="{2567A12B-62F4-4286-A3E8-6CE4E52BDFB8}" srcOrd="0" destOrd="0" parTransId="{CB138887-C5DE-47CB-BA3F-EC1B816B9021}" sibTransId="{5D60B207-50D3-472A-8C62-3546ADF0F831}"/>
    <dgm:cxn modelId="{9F9C7FCC-1649-47D9-94E0-DB18D09DED9D}" type="presOf" srcId="{839AFDC6-5DF9-4CEE-8A71-4B37BEEEB9FB}" destId="{0C5CAF17-BFEA-45EE-A58B-C6D1865B31DD}" srcOrd="0" destOrd="0" presId="urn:microsoft.com/office/officeart/2005/8/layout/default"/>
    <dgm:cxn modelId="{A53B53E3-1161-40A9-B43A-87BD9B1B9296}" srcId="{D79C600D-2642-4E1E-9A3B-CBB4EAB1CE60}" destId="{9A771088-484D-4020-8DCC-A2782685314E}" srcOrd="4" destOrd="0" parTransId="{A5153351-C640-41E3-92E6-1A6951E62825}" sibTransId="{FB1CD71D-7369-4CF0-8ECF-4FE893A69E28}"/>
    <dgm:cxn modelId="{9B44EBE7-4C92-4133-8EBD-0E1622B867F9}" type="presOf" srcId="{3BD50D2F-FFCF-4506-96BC-72F07DEAE84E}" destId="{69A43A35-1734-4DE4-BE56-C20564846393}" srcOrd="0" destOrd="0" presId="urn:microsoft.com/office/officeart/2005/8/layout/default"/>
    <dgm:cxn modelId="{A02FFDE7-163C-405F-8C51-6D6A59F4BD0A}" type="presOf" srcId="{D79C600D-2642-4E1E-9A3B-CBB4EAB1CE60}" destId="{C13E19C8-7E93-4359-9335-2867AB943217}" srcOrd="0" destOrd="0" presId="urn:microsoft.com/office/officeart/2005/8/layout/default"/>
    <dgm:cxn modelId="{980B9BE8-2B85-4F25-92AA-52280CC5FCBA}" srcId="{D79C600D-2642-4E1E-9A3B-CBB4EAB1CE60}" destId="{A845119B-5A65-43EB-96E0-92AEDD26CC4E}" srcOrd="1" destOrd="0" parTransId="{B37157DC-7600-40DB-ABFA-622B5DA3D33A}" sibTransId="{27A955BE-2F29-4BEA-951A-7C4383645ACA}"/>
    <dgm:cxn modelId="{B7F577ED-3716-44C9-8624-98CC35D588A1}" type="presOf" srcId="{13A621BC-E3F7-463B-9A88-FABE422BBD76}" destId="{24B769F4-FB06-4043-B745-7D710C1F8FB6}" srcOrd="0" destOrd="0" presId="urn:microsoft.com/office/officeart/2005/8/layout/default"/>
    <dgm:cxn modelId="{8E8883C9-D9CF-4944-8B90-F89B1C257C75}" type="presParOf" srcId="{C13E19C8-7E93-4359-9335-2867AB943217}" destId="{31C8663A-C604-4BDA-BA48-DFAE3DD2CC29}" srcOrd="0" destOrd="0" presId="urn:microsoft.com/office/officeart/2005/8/layout/default"/>
    <dgm:cxn modelId="{305E46B3-D4DD-437E-AA6E-F2D1D036D9BD}" type="presParOf" srcId="{C13E19C8-7E93-4359-9335-2867AB943217}" destId="{08EE5945-91DD-46F4-8E42-9A498C12ECCF}" srcOrd="1" destOrd="0" presId="urn:microsoft.com/office/officeart/2005/8/layout/default"/>
    <dgm:cxn modelId="{35C20DA1-DFC0-4C4E-8B1C-C7ECD7F8EF7B}" type="presParOf" srcId="{C13E19C8-7E93-4359-9335-2867AB943217}" destId="{C623B997-F785-41ED-A1CB-A26E69D382BF}" srcOrd="2" destOrd="0" presId="urn:microsoft.com/office/officeart/2005/8/layout/default"/>
    <dgm:cxn modelId="{6727B709-2B62-4099-83CF-F2077F420298}" type="presParOf" srcId="{C13E19C8-7E93-4359-9335-2867AB943217}" destId="{766D01E3-36DA-4E08-88F8-326DA5EE729E}" srcOrd="3" destOrd="0" presId="urn:microsoft.com/office/officeart/2005/8/layout/default"/>
    <dgm:cxn modelId="{6F569520-3BCE-4700-B28B-9DE1F9D65E29}" type="presParOf" srcId="{C13E19C8-7E93-4359-9335-2867AB943217}" destId="{0C5CAF17-BFEA-45EE-A58B-C6D1865B31DD}" srcOrd="4" destOrd="0" presId="urn:microsoft.com/office/officeart/2005/8/layout/default"/>
    <dgm:cxn modelId="{F1FB276E-BD41-4852-9463-39F23705FC85}" type="presParOf" srcId="{C13E19C8-7E93-4359-9335-2867AB943217}" destId="{06D7FA17-9716-40C0-B465-BA9DA0402B84}" srcOrd="5" destOrd="0" presId="urn:microsoft.com/office/officeart/2005/8/layout/default"/>
    <dgm:cxn modelId="{8B47EF8E-F525-4AE0-AFC7-B483F62B66B7}" type="presParOf" srcId="{C13E19C8-7E93-4359-9335-2867AB943217}" destId="{69A43A35-1734-4DE4-BE56-C20564846393}" srcOrd="6" destOrd="0" presId="urn:microsoft.com/office/officeart/2005/8/layout/default"/>
    <dgm:cxn modelId="{61946FE0-2FA1-4024-833D-DAF9606664C3}" type="presParOf" srcId="{C13E19C8-7E93-4359-9335-2867AB943217}" destId="{D067CB9A-42EB-4F0E-B886-F4D22493398F}" srcOrd="7" destOrd="0" presId="urn:microsoft.com/office/officeart/2005/8/layout/default"/>
    <dgm:cxn modelId="{73B0CBAC-EC0F-4AB5-951C-1E3439ED4607}" type="presParOf" srcId="{C13E19C8-7E93-4359-9335-2867AB943217}" destId="{A94DB5AB-AFCE-49F7-A3E7-D954359CEEE4}" srcOrd="8" destOrd="0" presId="urn:microsoft.com/office/officeart/2005/8/layout/default"/>
    <dgm:cxn modelId="{2DEEC97B-794A-4E83-B8AC-2E81AB2F985C}" type="presParOf" srcId="{C13E19C8-7E93-4359-9335-2867AB943217}" destId="{02A9897F-4DCF-49D5-A387-F583E594BFE4}" srcOrd="9" destOrd="0" presId="urn:microsoft.com/office/officeart/2005/8/layout/default"/>
    <dgm:cxn modelId="{7094EF77-A34E-49F9-A2CF-F9C1E20DB39B}" type="presParOf" srcId="{C13E19C8-7E93-4359-9335-2867AB943217}" destId="{636702A7-8F16-4A00-92C6-319E1C4444B1}" srcOrd="10" destOrd="0" presId="urn:microsoft.com/office/officeart/2005/8/layout/default"/>
    <dgm:cxn modelId="{75ABA164-03D1-4CA4-A2A4-D0901B07EEF4}" type="presParOf" srcId="{C13E19C8-7E93-4359-9335-2867AB943217}" destId="{216C32D3-686F-49EC-ADAA-3B96ED2987C3}" srcOrd="11" destOrd="0" presId="urn:microsoft.com/office/officeart/2005/8/layout/default"/>
    <dgm:cxn modelId="{E61353CD-3411-46EC-A640-8F50F5967103}" type="presParOf" srcId="{C13E19C8-7E93-4359-9335-2867AB943217}" destId="{C10584AF-250A-4E8A-AFE5-22A353A7B3E9}" srcOrd="12" destOrd="0" presId="urn:microsoft.com/office/officeart/2005/8/layout/default"/>
    <dgm:cxn modelId="{BD4F5F9F-5D24-40E0-B70C-FA737D05C1E5}" type="presParOf" srcId="{C13E19C8-7E93-4359-9335-2867AB943217}" destId="{73B32304-5BCB-45DC-9D0E-0EEDE5EEE3F0}" srcOrd="13" destOrd="0" presId="urn:microsoft.com/office/officeart/2005/8/layout/default"/>
    <dgm:cxn modelId="{AAFB2EC9-E30F-4DF8-9490-17E2907FB761}" type="presParOf" srcId="{C13E19C8-7E93-4359-9335-2867AB943217}" destId="{34098DE3-2FA3-4B73-85B6-8AB76256FAFE}" srcOrd="14" destOrd="0" presId="urn:microsoft.com/office/officeart/2005/8/layout/default"/>
    <dgm:cxn modelId="{115DC5EE-F031-4FB3-98C2-F29AF2062F83}" type="presParOf" srcId="{C13E19C8-7E93-4359-9335-2867AB943217}" destId="{3B48B2AF-F3F9-45AC-BE37-E8187E58D444}" srcOrd="15" destOrd="0" presId="urn:microsoft.com/office/officeart/2005/8/layout/default"/>
    <dgm:cxn modelId="{CD5A95B2-5C36-4584-84C8-29C14FC53D2E}" type="presParOf" srcId="{C13E19C8-7E93-4359-9335-2867AB943217}" destId="{24B769F4-FB06-4043-B745-7D710C1F8FB6}" srcOrd="1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AA52EB1-3197-4218-BC0E-5AFA9CCD9C1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E48B0C0F-92F7-4D4C-9EEF-1EFCA0B556F0}">
      <dgm:prSet custT="1"/>
      <dgm:spPr/>
      <dgm:t>
        <a:bodyPr/>
        <a:lstStyle/>
        <a:p>
          <a:r>
            <a:rPr lang="en-US" sz="2400" b="0" dirty="0">
              <a:latin typeface="Quicksand"/>
            </a:rPr>
            <a:t>DSCs contribute to sanitation policy</a:t>
          </a:r>
          <a:endParaRPr lang="en-US" sz="2400" dirty="0">
            <a:latin typeface="Quicksand"/>
          </a:endParaRPr>
        </a:p>
      </dgm:t>
    </dgm:pt>
    <dgm:pt modelId="{7E1805F9-AB57-4D8B-B9F4-76A27125C97C}" type="parTrans" cxnId="{08A24807-D3A4-44FD-A83B-5F78F0A40FC7}">
      <dgm:prSet/>
      <dgm:spPr/>
      <dgm:t>
        <a:bodyPr/>
        <a:lstStyle/>
        <a:p>
          <a:endParaRPr lang="en-US">
            <a:latin typeface="Quicksand"/>
          </a:endParaRPr>
        </a:p>
      </dgm:t>
    </dgm:pt>
    <dgm:pt modelId="{BCAAC681-9B60-438E-9E10-385B20D0FA15}" type="sibTrans" cxnId="{08A24807-D3A4-44FD-A83B-5F78F0A40FC7}">
      <dgm:prSet/>
      <dgm:spPr/>
      <dgm:t>
        <a:bodyPr/>
        <a:lstStyle/>
        <a:p>
          <a:endParaRPr lang="en-US">
            <a:latin typeface="Quicksand"/>
          </a:endParaRPr>
        </a:p>
      </dgm:t>
    </dgm:pt>
    <dgm:pt modelId="{3642F1DE-C6C9-4ABF-91E2-1CCA40983082}">
      <dgm:prSet custT="1"/>
      <dgm:spPr/>
      <dgm:t>
        <a:bodyPr/>
        <a:lstStyle/>
        <a:p>
          <a:pPr>
            <a:buFontTx/>
            <a:buNone/>
          </a:pPr>
          <a:r>
            <a:rPr lang="en-US" sz="2400" dirty="0">
              <a:latin typeface="Quicksand" pitchFamily="2" charset="0"/>
            </a:rPr>
            <a:t>District Sanitation Centers/showrooms are</a:t>
          </a:r>
        </a:p>
      </dgm:t>
    </dgm:pt>
    <dgm:pt modelId="{F2A5468C-625A-4E1D-9EA7-6C83FB724C34}" type="parTrans" cxnId="{0F753536-AEE5-48B2-9A8F-929C60C9E17E}">
      <dgm:prSet/>
      <dgm:spPr/>
      <dgm:t>
        <a:bodyPr/>
        <a:lstStyle/>
        <a:p>
          <a:endParaRPr lang="en-US">
            <a:latin typeface="Quicksand"/>
          </a:endParaRPr>
        </a:p>
      </dgm:t>
    </dgm:pt>
    <dgm:pt modelId="{B29C275C-87C5-4D30-9D75-204D8FDAC0AF}" type="sibTrans" cxnId="{0F753536-AEE5-48B2-9A8F-929C60C9E17E}">
      <dgm:prSet/>
      <dgm:spPr/>
      <dgm:t>
        <a:bodyPr/>
        <a:lstStyle/>
        <a:p>
          <a:endParaRPr lang="en-US">
            <a:latin typeface="Quicksand"/>
          </a:endParaRPr>
        </a:p>
      </dgm:t>
    </dgm:pt>
    <dgm:pt modelId="{273D33AB-42A5-4546-B15A-E400FAA5660B}">
      <dgm:prSet custT="1"/>
      <dgm:spPr/>
      <dgm:t>
        <a:bodyPr/>
        <a:lstStyle/>
        <a:p>
          <a:r>
            <a:rPr lang="en-US" sz="2400" dirty="0">
              <a:latin typeface="Quicksand"/>
            </a:rPr>
            <a:t>DSCs can strengthen the Sanitation Supply Chain</a:t>
          </a:r>
        </a:p>
      </dgm:t>
    </dgm:pt>
    <dgm:pt modelId="{32A18F16-6FD2-4A33-89BB-DA84A66C4A13}" type="parTrans" cxnId="{2AEA42F8-E8F9-445E-AFDE-DB405D11DF00}">
      <dgm:prSet/>
      <dgm:spPr/>
      <dgm:t>
        <a:bodyPr/>
        <a:lstStyle/>
        <a:p>
          <a:endParaRPr lang="en-US">
            <a:latin typeface="Quicksand"/>
          </a:endParaRPr>
        </a:p>
      </dgm:t>
    </dgm:pt>
    <dgm:pt modelId="{F9ACB19F-A47B-400C-ABA2-DF3F669D44F7}" type="sibTrans" cxnId="{2AEA42F8-E8F9-445E-AFDE-DB405D11DF00}">
      <dgm:prSet/>
      <dgm:spPr/>
      <dgm:t>
        <a:bodyPr/>
        <a:lstStyle/>
        <a:p>
          <a:endParaRPr lang="en-US">
            <a:latin typeface="Quicksand"/>
          </a:endParaRPr>
        </a:p>
      </dgm:t>
    </dgm:pt>
    <dgm:pt modelId="{8DDAC218-6760-4B6B-BF57-9A8780107DF6}">
      <dgm:prSet custT="1"/>
      <dgm:spPr/>
      <dgm:t>
        <a:bodyPr/>
        <a:lstStyle/>
        <a:p>
          <a:pPr>
            <a:buFontTx/>
            <a:buNone/>
          </a:pPr>
          <a:r>
            <a:rPr lang="en-US" sz="2400" dirty="0">
              <a:latin typeface="Quicksand" pitchFamily="2" charset="0"/>
            </a:rPr>
            <a:t>Positive impacts to achieve the Sanitation</a:t>
          </a:r>
        </a:p>
      </dgm:t>
    </dgm:pt>
    <dgm:pt modelId="{65475781-B4B2-42C1-B9A0-3ED2D798E3C3}" type="parTrans" cxnId="{1B8776C7-1FD9-46EB-8739-3A9EE0493FA7}">
      <dgm:prSet/>
      <dgm:spPr/>
      <dgm:t>
        <a:bodyPr/>
        <a:lstStyle/>
        <a:p>
          <a:endParaRPr lang="en-US">
            <a:latin typeface="Quicksand"/>
          </a:endParaRPr>
        </a:p>
      </dgm:t>
    </dgm:pt>
    <dgm:pt modelId="{F7BDA7C7-CA01-4885-86D7-7BFDC81A7B88}" type="sibTrans" cxnId="{1B8776C7-1FD9-46EB-8739-3A9EE0493FA7}">
      <dgm:prSet/>
      <dgm:spPr/>
      <dgm:t>
        <a:bodyPr/>
        <a:lstStyle/>
        <a:p>
          <a:endParaRPr lang="en-US">
            <a:latin typeface="Quicksand"/>
          </a:endParaRPr>
        </a:p>
      </dgm:t>
    </dgm:pt>
    <dgm:pt modelId="{8C323E30-C151-4D21-8843-63402E3BF84D}">
      <dgm:prSet custT="1"/>
      <dgm:spPr/>
      <dgm:t>
        <a:bodyPr/>
        <a:lstStyle/>
        <a:p>
          <a:r>
            <a:rPr lang="en-GB" sz="2400" b="0" dirty="0">
              <a:latin typeface="Quicksand"/>
            </a:rPr>
            <a:t>There are partnerships to scale up</a:t>
          </a:r>
          <a:endParaRPr lang="en-US" sz="2400" dirty="0">
            <a:latin typeface="Quicksand"/>
          </a:endParaRPr>
        </a:p>
      </dgm:t>
    </dgm:pt>
    <dgm:pt modelId="{06E40BA1-E89E-4524-96EA-7561B4EA65D1}" type="parTrans" cxnId="{313E53E0-4209-4D53-8327-54355BEE8BB4}">
      <dgm:prSet/>
      <dgm:spPr/>
      <dgm:t>
        <a:bodyPr/>
        <a:lstStyle/>
        <a:p>
          <a:endParaRPr lang="en-US">
            <a:latin typeface="Quicksand"/>
          </a:endParaRPr>
        </a:p>
      </dgm:t>
    </dgm:pt>
    <dgm:pt modelId="{43862C97-636A-4EB9-8FDC-152AF190E701}" type="sibTrans" cxnId="{313E53E0-4209-4D53-8327-54355BEE8BB4}">
      <dgm:prSet/>
      <dgm:spPr/>
      <dgm:t>
        <a:bodyPr/>
        <a:lstStyle/>
        <a:p>
          <a:endParaRPr lang="en-US">
            <a:latin typeface="Quicksand"/>
          </a:endParaRPr>
        </a:p>
      </dgm:t>
    </dgm:pt>
    <dgm:pt modelId="{B9B0D5DF-FD12-4DF0-AF0C-72CC0E130643}">
      <dgm:prSet custT="1"/>
      <dgm:spPr/>
      <dgm:t>
        <a:bodyPr/>
        <a:lstStyle/>
        <a:p>
          <a:pPr>
            <a:buFontTx/>
            <a:buNone/>
          </a:pPr>
          <a:r>
            <a:rPr lang="en-US" sz="1600" dirty="0">
              <a:latin typeface="Quicksand" pitchFamily="2" charset="0"/>
            </a:rPr>
            <a:t>	WFP in collaboration with other actors committed to support the scale up of District Sanitation Centers and Sanitation Showrooms to become a clear supply chain for WASH from the manufacturers/suppliers to the community </a:t>
          </a:r>
        </a:p>
      </dgm:t>
    </dgm:pt>
    <dgm:pt modelId="{BB8CA975-74B8-4788-96B2-6329EFA2FE8A}" type="parTrans" cxnId="{C0C979A6-9D8C-4ED6-836A-67E2528D1174}">
      <dgm:prSet/>
      <dgm:spPr/>
      <dgm:t>
        <a:bodyPr/>
        <a:lstStyle/>
        <a:p>
          <a:endParaRPr lang="en-US">
            <a:latin typeface="Quicksand"/>
          </a:endParaRPr>
        </a:p>
      </dgm:t>
    </dgm:pt>
    <dgm:pt modelId="{AD622111-CB8E-4326-A964-8712A8B9BE71}" type="sibTrans" cxnId="{C0C979A6-9D8C-4ED6-836A-67E2528D1174}">
      <dgm:prSet/>
      <dgm:spPr/>
      <dgm:t>
        <a:bodyPr/>
        <a:lstStyle/>
        <a:p>
          <a:endParaRPr lang="en-US">
            <a:latin typeface="Quicksand"/>
          </a:endParaRPr>
        </a:p>
      </dgm:t>
    </dgm:pt>
    <dgm:pt modelId="{0821C924-68FA-4528-9FBF-FF2B74DDA6A3}">
      <dgm:prSet custT="1"/>
      <dgm:spPr/>
      <dgm:t>
        <a:bodyPr/>
        <a:lstStyle/>
        <a:p>
          <a:pPr>
            <a:buFontTx/>
            <a:buNone/>
          </a:pPr>
          <a:r>
            <a:rPr lang="en-US" sz="2400" dirty="0">
              <a:latin typeface="Quicksand" pitchFamily="2" charset="0"/>
            </a:rPr>
            <a:t>policy objectives</a:t>
          </a:r>
        </a:p>
      </dgm:t>
    </dgm:pt>
    <dgm:pt modelId="{80A8C6A5-90FE-4B03-9E7F-2F566A274C0C}" type="parTrans" cxnId="{8021232F-3E21-4FBB-8E04-F1734DEBC09D}">
      <dgm:prSet/>
      <dgm:spPr/>
    </dgm:pt>
    <dgm:pt modelId="{EA70AF87-5004-494D-86D8-9638B57AE735}" type="sibTrans" cxnId="{8021232F-3E21-4FBB-8E04-F1734DEBC09D}">
      <dgm:prSet/>
      <dgm:spPr/>
    </dgm:pt>
    <dgm:pt modelId="{042B66C2-6F33-441D-8C63-CC9575F5B469}">
      <dgm:prSet custT="1"/>
      <dgm:spPr/>
      <dgm:t>
        <a:bodyPr/>
        <a:lstStyle/>
        <a:p>
          <a:pPr>
            <a:buFontTx/>
            <a:buNone/>
          </a:pPr>
          <a:r>
            <a:rPr lang="en-US" sz="2400" dirty="0">
              <a:latin typeface="Quicksand" pitchFamily="2" charset="0"/>
            </a:rPr>
            <a:t>playing a clear role in the Sanitation</a:t>
          </a:r>
        </a:p>
      </dgm:t>
    </dgm:pt>
    <dgm:pt modelId="{0CE4E321-98BF-4230-9341-FD1345011A43}" type="parTrans" cxnId="{92D66903-E2D2-4749-8E61-D44A9EDD9B4D}">
      <dgm:prSet/>
      <dgm:spPr/>
    </dgm:pt>
    <dgm:pt modelId="{39B60A2E-D115-4F87-B328-CA1E3401F85C}" type="sibTrans" cxnId="{92D66903-E2D2-4749-8E61-D44A9EDD9B4D}">
      <dgm:prSet/>
      <dgm:spPr/>
    </dgm:pt>
    <dgm:pt modelId="{361102E9-77A7-4D9C-913A-57EBE986A326}">
      <dgm:prSet custT="1"/>
      <dgm:spPr/>
      <dgm:t>
        <a:bodyPr/>
        <a:lstStyle/>
        <a:p>
          <a:pPr>
            <a:buFontTx/>
            <a:buNone/>
          </a:pPr>
          <a:r>
            <a:rPr lang="en-US" sz="2400" dirty="0">
              <a:latin typeface="Quicksand" pitchFamily="2" charset="0"/>
            </a:rPr>
            <a:t>Supply Chain</a:t>
          </a:r>
        </a:p>
      </dgm:t>
    </dgm:pt>
    <dgm:pt modelId="{DD2DC204-1FDA-4F2B-917A-7B6B07300E3F}" type="parTrans" cxnId="{8648B8F7-7835-4D7A-A20E-42193F4070E1}">
      <dgm:prSet/>
      <dgm:spPr/>
    </dgm:pt>
    <dgm:pt modelId="{C71CC2FB-515B-479B-BF95-89457C3156BC}" type="sibTrans" cxnId="{8648B8F7-7835-4D7A-A20E-42193F4070E1}">
      <dgm:prSet/>
      <dgm:spPr/>
    </dgm:pt>
    <dgm:pt modelId="{8CE95898-9151-4696-8D32-F0646135CE4F}" type="pres">
      <dgm:prSet presAssocID="{CAA52EB1-3197-4218-BC0E-5AFA9CCD9C14}" presName="Name0" presStyleCnt="0">
        <dgm:presLayoutVars>
          <dgm:dir/>
          <dgm:animLvl val="lvl"/>
          <dgm:resizeHandles val="exact"/>
        </dgm:presLayoutVars>
      </dgm:prSet>
      <dgm:spPr/>
    </dgm:pt>
    <dgm:pt modelId="{78EF9798-5246-4F59-8CD5-1D80E5A1B88E}" type="pres">
      <dgm:prSet presAssocID="{E48B0C0F-92F7-4D4C-9EEF-1EFCA0B556F0}" presName="linNode" presStyleCnt="0"/>
      <dgm:spPr/>
    </dgm:pt>
    <dgm:pt modelId="{34B44B0E-7F87-48CD-8634-72492E2ADD63}" type="pres">
      <dgm:prSet presAssocID="{E48B0C0F-92F7-4D4C-9EEF-1EFCA0B556F0}" presName="parentText" presStyleLbl="node1" presStyleIdx="0" presStyleCnt="3" custLinFactNeighborX="-1259" custLinFactNeighborY="-1516">
        <dgm:presLayoutVars>
          <dgm:chMax val="1"/>
          <dgm:bulletEnabled val="1"/>
        </dgm:presLayoutVars>
      </dgm:prSet>
      <dgm:spPr/>
    </dgm:pt>
    <dgm:pt modelId="{9A4A4FD9-5F7B-4F8D-B219-556B247677A2}" type="pres">
      <dgm:prSet presAssocID="{E48B0C0F-92F7-4D4C-9EEF-1EFCA0B556F0}" presName="descendantText" presStyleLbl="alignAccFollowNode1" presStyleIdx="0" presStyleCnt="3" custLinFactY="31250" custLinFactNeighborY="100000">
        <dgm:presLayoutVars>
          <dgm:bulletEnabled val="1"/>
        </dgm:presLayoutVars>
      </dgm:prSet>
      <dgm:spPr/>
    </dgm:pt>
    <dgm:pt modelId="{80748DF6-7729-4E2C-A56E-F945230C6989}" type="pres">
      <dgm:prSet presAssocID="{BCAAC681-9B60-438E-9E10-385B20D0FA15}" presName="sp" presStyleCnt="0"/>
      <dgm:spPr/>
    </dgm:pt>
    <dgm:pt modelId="{A996553B-A02D-4415-B6FD-0492B64BA740}" type="pres">
      <dgm:prSet presAssocID="{273D33AB-42A5-4546-B15A-E400FAA5660B}" presName="linNode" presStyleCnt="0"/>
      <dgm:spPr/>
    </dgm:pt>
    <dgm:pt modelId="{770D3BB4-ADE5-49E4-98A1-8E9DD62D7ABE}" type="pres">
      <dgm:prSet presAssocID="{273D33AB-42A5-4546-B15A-E400FAA5660B}" presName="parentText" presStyleLbl="node1" presStyleIdx="1" presStyleCnt="3">
        <dgm:presLayoutVars>
          <dgm:chMax val="1"/>
          <dgm:bulletEnabled val="1"/>
        </dgm:presLayoutVars>
      </dgm:prSet>
      <dgm:spPr/>
    </dgm:pt>
    <dgm:pt modelId="{1555B2D0-CA6B-4735-8F29-5EBF74714ED8}" type="pres">
      <dgm:prSet presAssocID="{273D33AB-42A5-4546-B15A-E400FAA5660B}" presName="descendantText" presStyleLbl="alignAccFollowNode1" presStyleIdx="1" presStyleCnt="3" custLinFactY="-27094" custLinFactNeighborX="4014" custLinFactNeighborY="-100000">
        <dgm:presLayoutVars>
          <dgm:bulletEnabled val="1"/>
        </dgm:presLayoutVars>
      </dgm:prSet>
      <dgm:spPr/>
    </dgm:pt>
    <dgm:pt modelId="{D128589B-D0F9-4B2D-833E-0E28673F2736}" type="pres">
      <dgm:prSet presAssocID="{F9ACB19F-A47B-400C-ABA2-DF3F669D44F7}" presName="sp" presStyleCnt="0"/>
      <dgm:spPr/>
    </dgm:pt>
    <dgm:pt modelId="{A6BB4591-2ADB-4FBE-B820-EBED68A45D69}" type="pres">
      <dgm:prSet presAssocID="{8C323E30-C151-4D21-8843-63402E3BF84D}" presName="linNode" presStyleCnt="0"/>
      <dgm:spPr/>
    </dgm:pt>
    <dgm:pt modelId="{BB9DD9F6-3905-4B7B-9887-91CC9CFF6DC1}" type="pres">
      <dgm:prSet presAssocID="{8C323E30-C151-4D21-8843-63402E3BF84D}" presName="parentText" presStyleLbl="node1" presStyleIdx="2" presStyleCnt="3" custLinFactNeighborY="152">
        <dgm:presLayoutVars>
          <dgm:chMax val="1"/>
          <dgm:bulletEnabled val="1"/>
        </dgm:presLayoutVars>
      </dgm:prSet>
      <dgm:spPr/>
    </dgm:pt>
    <dgm:pt modelId="{89415A15-6A9E-4F36-B6A2-01A4A034B337}" type="pres">
      <dgm:prSet presAssocID="{8C323E30-C151-4D21-8843-63402E3BF84D}" presName="descendantText" presStyleLbl="alignAccFollowNode1" presStyleIdx="2" presStyleCnt="3">
        <dgm:presLayoutVars>
          <dgm:bulletEnabled val="1"/>
        </dgm:presLayoutVars>
      </dgm:prSet>
      <dgm:spPr/>
    </dgm:pt>
  </dgm:ptLst>
  <dgm:cxnLst>
    <dgm:cxn modelId="{92D66903-E2D2-4749-8E61-D44A9EDD9B4D}" srcId="{E48B0C0F-92F7-4D4C-9EEF-1EFCA0B556F0}" destId="{042B66C2-6F33-441D-8C63-CC9575F5B469}" srcOrd="1" destOrd="0" parTransId="{0CE4E321-98BF-4230-9341-FD1345011A43}" sibTransId="{39B60A2E-D115-4F87-B328-CA1E3401F85C}"/>
    <dgm:cxn modelId="{08A24807-D3A4-44FD-A83B-5F78F0A40FC7}" srcId="{CAA52EB1-3197-4218-BC0E-5AFA9CCD9C14}" destId="{E48B0C0F-92F7-4D4C-9EEF-1EFCA0B556F0}" srcOrd="0" destOrd="0" parTransId="{7E1805F9-AB57-4D8B-B9F4-76A27125C97C}" sibTransId="{BCAAC681-9B60-438E-9E10-385B20D0FA15}"/>
    <dgm:cxn modelId="{C82D5E26-8719-4C76-BC41-3B59C94379FD}" type="presOf" srcId="{361102E9-77A7-4D9C-913A-57EBE986A326}" destId="{9A4A4FD9-5F7B-4F8D-B219-556B247677A2}" srcOrd="0" destOrd="2" presId="urn:microsoft.com/office/officeart/2005/8/layout/vList5"/>
    <dgm:cxn modelId="{8021232F-3E21-4FBB-8E04-F1734DEBC09D}" srcId="{273D33AB-42A5-4546-B15A-E400FAA5660B}" destId="{0821C924-68FA-4528-9FBF-FF2B74DDA6A3}" srcOrd="1" destOrd="0" parTransId="{80A8C6A5-90FE-4B03-9E7F-2F566A274C0C}" sibTransId="{EA70AF87-5004-494D-86D8-9638B57AE735}"/>
    <dgm:cxn modelId="{FC073C30-60AC-4FCE-B525-CA1CCA4E3401}" type="presOf" srcId="{273D33AB-42A5-4546-B15A-E400FAA5660B}" destId="{770D3BB4-ADE5-49E4-98A1-8E9DD62D7ABE}" srcOrd="0" destOrd="0" presId="urn:microsoft.com/office/officeart/2005/8/layout/vList5"/>
    <dgm:cxn modelId="{44E3C633-B0A4-4582-9CDA-3DF08029D2F0}" type="presOf" srcId="{0821C924-68FA-4528-9FBF-FF2B74DDA6A3}" destId="{1555B2D0-CA6B-4735-8F29-5EBF74714ED8}" srcOrd="0" destOrd="1" presId="urn:microsoft.com/office/officeart/2005/8/layout/vList5"/>
    <dgm:cxn modelId="{0F753536-AEE5-48B2-9A8F-929C60C9E17E}" srcId="{E48B0C0F-92F7-4D4C-9EEF-1EFCA0B556F0}" destId="{3642F1DE-C6C9-4ABF-91E2-1CCA40983082}" srcOrd="0" destOrd="0" parTransId="{F2A5468C-625A-4E1D-9EA7-6C83FB724C34}" sibTransId="{B29C275C-87C5-4D30-9D75-204D8FDAC0AF}"/>
    <dgm:cxn modelId="{F49D0474-83B4-4928-BDF4-FFAD3B61194A}" type="presOf" srcId="{E48B0C0F-92F7-4D4C-9EEF-1EFCA0B556F0}" destId="{34B44B0E-7F87-48CD-8634-72492E2ADD63}" srcOrd="0" destOrd="0" presId="urn:microsoft.com/office/officeart/2005/8/layout/vList5"/>
    <dgm:cxn modelId="{AE87187A-7394-4EAD-88E2-C6150FB3A44B}" type="presOf" srcId="{042B66C2-6F33-441D-8C63-CC9575F5B469}" destId="{9A4A4FD9-5F7B-4F8D-B219-556B247677A2}" srcOrd="0" destOrd="1" presId="urn:microsoft.com/office/officeart/2005/8/layout/vList5"/>
    <dgm:cxn modelId="{97C3FCA0-37A8-4C1E-81DB-B0C44444B47E}" type="presOf" srcId="{8DDAC218-6760-4B6B-BF57-9A8780107DF6}" destId="{1555B2D0-CA6B-4735-8F29-5EBF74714ED8}" srcOrd="0" destOrd="0" presId="urn:microsoft.com/office/officeart/2005/8/layout/vList5"/>
    <dgm:cxn modelId="{C0C979A6-9D8C-4ED6-836A-67E2528D1174}" srcId="{8C323E30-C151-4D21-8843-63402E3BF84D}" destId="{B9B0D5DF-FD12-4DF0-AF0C-72CC0E130643}" srcOrd="0" destOrd="0" parTransId="{BB8CA975-74B8-4788-96B2-6329EFA2FE8A}" sibTransId="{AD622111-CB8E-4326-A964-8712A8B9BE71}"/>
    <dgm:cxn modelId="{2BD764C1-F13A-4200-B3E0-F2D7A0605237}" type="presOf" srcId="{CAA52EB1-3197-4218-BC0E-5AFA9CCD9C14}" destId="{8CE95898-9151-4696-8D32-F0646135CE4F}" srcOrd="0" destOrd="0" presId="urn:microsoft.com/office/officeart/2005/8/layout/vList5"/>
    <dgm:cxn modelId="{4DFF72C2-49B5-4DCF-843E-098E4FF592DC}" type="presOf" srcId="{3642F1DE-C6C9-4ABF-91E2-1CCA40983082}" destId="{9A4A4FD9-5F7B-4F8D-B219-556B247677A2}" srcOrd="0" destOrd="0" presId="urn:microsoft.com/office/officeart/2005/8/layout/vList5"/>
    <dgm:cxn modelId="{1B8776C7-1FD9-46EB-8739-3A9EE0493FA7}" srcId="{273D33AB-42A5-4546-B15A-E400FAA5660B}" destId="{8DDAC218-6760-4B6B-BF57-9A8780107DF6}" srcOrd="0" destOrd="0" parTransId="{65475781-B4B2-42C1-B9A0-3ED2D798E3C3}" sibTransId="{F7BDA7C7-CA01-4885-86D7-7BFDC81A7B88}"/>
    <dgm:cxn modelId="{6E34A4CA-B12D-4F9E-AA3D-99F07A67DF31}" type="presOf" srcId="{B9B0D5DF-FD12-4DF0-AF0C-72CC0E130643}" destId="{89415A15-6A9E-4F36-B6A2-01A4A034B337}" srcOrd="0" destOrd="0" presId="urn:microsoft.com/office/officeart/2005/8/layout/vList5"/>
    <dgm:cxn modelId="{7E4B05CB-6269-4D1B-9F00-2866D0927866}" type="presOf" srcId="{8C323E30-C151-4D21-8843-63402E3BF84D}" destId="{BB9DD9F6-3905-4B7B-9887-91CC9CFF6DC1}" srcOrd="0" destOrd="0" presId="urn:microsoft.com/office/officeart/2005/8/layout/vList5"/>
    <dgm:cxn modelId="{313E53E0-4209-4D53-8327-54355BEE8BB4}" srcId="{CAA52EB1-3197-4218-BC0E-5AFA9CCD9C14}" destId="{8C323E30-C151-4D21-8843-63402E3BF84D}" srcOrd="2" destOrd="0" parTransId="{06E40BA1-E89E-4524-96EA-7561B4EA65D1}" sibTransId="{43862C97-636A-4EB9-8FDC-152AF190E701}"/>
    <dgm:cxn modelId="{8648B8F7-7835-4D7A-A20E-42193F4070E1}" srcId="{E48B0C0F-92F7-4D4C-9EEF-1EFCA0B556F0}" destId="{361102E9-77A7-4D9C-913A-57EBE986A326}" srcOrd="2" destOrd="0" parTransId="{DD2DC204-1FDA-4F2B-917A-7B6B07300E3F}" sibTransId="{C71CC2FB-515B-479B-BF95-89457C3156BC}"/>
    <dgm:cxn modelId="{2AEA42F8-E8F9-445E-AFDE-DB405D11DF00}" srcId="{CAA52EB1-3197-4218-BC0E-5AFA9CCD9C14}" destId="{273D33AB-42A5-4546-B15A-E400FAA5660B}" srcOrd="1" destOrd="0" parTransId="{32A18F16-6FD2-4A33-89BB-DA84A66C4A13}" sibTransId="{F9ACB19F-A47B-400C-ABA2-DF3F669D44F7}"/>
    <dgm:cxn modelId="{B0E76AD4-06F3-4F0D-9C28-2F860A1D9F8F}" type="presParOf" srcId="{8CE95898-9151-4696-8D32-F0646135CE4F}" destId="{78EF9798-5246-4F59-8CD5-1D80E5A1B88E}" srcOrd="0" destOrd="0" presId="urn:microsoft.com/office/officeart/2005/8/layout/vList5"/>
    <dgm:cxn modelId="{599EBE9C-0CE1-433D-A118-AA5B6135B99D}" type="presParOf" srcId="{78EF9798-5246-4F59-8CD5-1D80E5A1B88E}" destId="{34B44B0E-7F87-48CD-8634-72492E2ADD63}" srcOrd="0" destOrd="0" presId="urn:microsoft.com/office/officeart/2005/8/layout/vList5"/>
    <dgm:cxn modelId="{BC9959AD-C73F-4F9C-A378-30F31C25BB30}" type="presParOf" srcId="{78EF9798-5246-4F59-8CD5-1D80E5A1B88E}" destId="{9A4A4FD9-5F7B-4F8D-B219-556B247677A2}" srcOrd="1" destOrd="0" presId="urn:microsoft.com/office/officeart/2005/8/layout/vList5"/>
    <dgm:cxn modelId="{2F286F39-8C28-4AAB-951B-B8ABE15ADFBA}" type="presParOf" srcId="{8CE95898-9151-4696-8D32-F0646135CE4F}" destId="{80748DF6-7729-4E2C-A56E-F945230C6989}" srcOrd="1" destOrd="0" presId="urn:microsoft.com/office/officeart/2005/8/layout/vList5"/>
    <dgm:cxn modelId="{2FE614E0-8B95-4AD4-8BC5-0130F13253C0}" type="presParOf" srcId="{8CE95898-9151-4696-8D32-F0646135CE4F}" destId="{A996553B-A02D-4415-B6FD-0492B64BA740}" srcOrd="2" destOrd="0" presId="urn:microsoft.com/office/officeart/2005/8/layout/vList5"/>
    <dgm:cxn modelId="{429C275A-7700-4A4D-9B7D-218550FA2B21}" type="presParOf" srcId="{A996553B-A02D-4415-B6FD-0492B64BA740}" destId="{770D3BB4-ADE5-49E4-98A1-8E9DD62D7ABE}" srcOrd="0" destOrd="0" presId="urn:microsoft.com/office/officeart/2005/8/layout/vList5"/>
    <dgm:cxn modelId="{72D194E4-C2AF-4007-B74E-4EAE60E20FD4}" type="presParOf" srcId="{A996553B-A02D-4415-B6FD-0492B64BA740}" destId="{1555B2D0-CA6B-4735-8F29-5EBF74714ED8}" srcOrd="1" destOrd="0" presId="urn:microsoft.com/office/officeart/2005/8/layout/vList5"/>
    <dgm:cxn modelId="{B7ECCF8E-A3FE-4654-9A0D-B0C9765F959A}" type="presParOf" srcId="{8CE95898-9151-4696-8D32-F0646135CE4F}" destId="{D128589B-D0F9-4B2D-833E-0E28673F2736}" srcOrd="3" destOrd="0" presId="urn:microsoft.com/office/officeart/2005/8/layout/vList5"/>
    <dgm:cxn modelId="{3E4E46B6-0404-4EA2-9BD5-3221B4514020}" type="presParOf" srcId="{8CE95898-9151-4696-8D32-F0646135CE4F}" destId="{A6BB4591-2ADB-4FBE-B820-EBED68A45D69}" srcOrd="4" destOrd="0" presId="urn:microsoft.com/office/officeart/2005/8/layout/vList5"/>
    <dgm:cxn modelId="{D984CAE9-4190-4E14-B7D3-390AB8B6D8AC}" type="presParOf" srcId="{A6BB4591-2ADB-4FBE-B820-EBED68A45D69}" destId="{BB9DD9F6-3905-4B7B-9887-91CC9CFF6DC1}" srcOrd="0" destOrd="0" presId="urn:microsoft.com/office/officeart/2005/8/layout/vList5"/>
    <dgm:cxn modelId="{6FC1DD1E-4844-44D6-ABC7-604523FC7A7F}" type="presParOf" srcId="{A6BB4591-2ADB-4FBE-B820-EBED68A45D69}" destId="{89415A15-6A9E-4F36-B6A2-01A4A034B337}"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DB7F122-3C13-4EA8-9EA0-85F4A40CBE42}" type="doc">
      <dgm:prSet loTypeId="urn:microsoft.com/office/officeart/2005/8/layout/pList1" loCatId="list" qsTypeId="urn:microsoft.com/office/officeart/2005/8/quickstyle/simple1" qsCatId="simple" csTypeId="urn:microsoft.com/office/officeart/2005/8/colors/colorful1" csCatId="colorful" phldr="1"/>
      <dgm:spPr/>
      <dgm:t>
        <a:bodyPr/>
        <a:lstStyle/>
        <a:p>
          <a:endParaRPr lang="en-IN"/>
        </a:p>
      </dgm:t>
    </dgm:pt>
    <dgm:pt modelId="{647CDCB1-CD7D-4487-9016-9306B33B0F61}">
      <dgm:prSet phldrT="[Text]" custT="1"/>
      <dgm:spPr/>
      <dgm:t>
        <a:bodyPr/>
        <a:lstStyle/>
        <a:p>
          <a:r>
            <a:rPr lang="en-IN" sz="1600" b="1" dirty="0">
              <a:solidFill>
                <a:schemeClr val="accent1">
                  <a:lumMod val="75000"/>
                </a:schemeClr>
              </a:solidFill>
              <a:latin typeface="Quicksand"/>
              <a:hlinkClick xmlns:r="http://schemas.openxmlformats.org/officeDocument/2006/relationships" r:id="rId1">
                <a:extLst>
                  <a:ext uri="{A12FA001-AC4F-418D-AE19-62706E023703}">
                    <ahyp:hlinkClr xmlns:ahyp="http://schemas.microsoft.com/office/drawing/2018/hyperlinkcolor" val="tx"/>
                  </a:ext>
                </a:extLst>
              </a:hlinkClick>
            </a:rPr>
            <a:t>Financing sanitation paper series</a:t>
          </a:r>
          <a:endParaRPr lang="en-IN" sz="1600" b="1" dirty="0">
            <a:solidFill>
              <a:schemeClr val="accent1">
                <a:lumMod val="75000"/>
              </a:schemeClr>
            </a:solidFill>
            <a:latin typeface="Quicksand"/>
          </a:endParaRPr>
        </a:p>
      </dgm:t>
    </dgm:pt>
    <dgm:pt modelId="{9C2A59BC-FCFA-4E48-B736-CF8B28CB1C51}" type="parTrans" cxnId="{9B87C0F1-8B69-46BE-AB65-BD90ECA89315}">
      <dgm:prSet/>
      <dgm:spPr/>
      <dgm:t>
        <a:bodyPr/>
        <a:lstStyle/>
        <a:p>
          <a:endParaRPr lang="en-IN" sz="1600" b="1">
            <a:solidFill>
              <a:schemeClr val="accent1">
                <a:lumMod val="75000"/>
              </a:schemeClr>
            </a:solidFill>
            <a:latin typeface="Quicksand"/>
          </a:endParaRPr>
        </a:p>
      </dgm:t>
    </dgm:pt>
    <dgm:pt modelId="{E84BD899-4A59-4471-88D6-AD9B82A4858E}" type="sibTrans" cxnId="{9B87C0F1-8B69-46BE-AB65-BD90ECA89315}">
      <dgm:prSet/>
      <dgm:spPr/>
      <dgm:t>
        <a:bodyPr/>
        <a:lstStyle/>
        <a:p>
          <a:endParaRPr lang="en-IN" sz="1600" b="1">
            <a:solidFill>
              <a:schemeClr val="accent1">
                <a:lumMod val="75000"/>
              </a:schemeClr>
            </a:solidFill>
            <a:latin typeface="Quicksand"/>
          </a:endParaRPr>
        </a:p>
      </dgm:t>
    </dgm:pt>
    <dgm:pt modelId="{3F19BFB1-E9EA-4586-8DAE-30C3FFB1AB97}">
      <dgm:prSet phldrT="[Text]" custT="1"/>
      <dgm:spPr/>
      <dgm:t>
        <a:bodyPr/>
        <a:lstStyle/>
        <a:p>
          <a:r>
            <a:rPr lang="en-IN" sz="1600" b="1" dirty="0">
              <a:solidFill>
                <a:schemeClr val="accent1">
                  <a:lumMod val="75000"/>
                </a:schemeClr>
              </a:solidFill>
              <a:latin typeface="Quicksand"/>
            </a:rPr>
            <a:t>Immersion research on challenges with access to safely managed WASH in India</a:t>
          </a:r>
        </a:p>
      </dgm:t>
    </dgm:pt>
    <dgm:pt modelId="{4B4A39A1-01CF-4C85-8CA0-9BE6F120A25D}" type="parTrans" cxnId="{075370D2-8834-4FF1-A120-BC5DB4082891}">
      <dgm:prSet/>
      <dgm:spPr/>
      <dgm:t>
        <a:bodyPr/>
        <a:lstStyle/>
        <a:p>
          <a:endParaRPr lang="en-IN" sz="1600" b="1">
            <a:solidFill>
              <a:schemeClr val="accent1">
                <a:lumMod val="75000"/>
              </a:schemeClr>
            </a:solidFill>
            <a:latin typeface="Quicksand"/>
          </a:endParaRPr>
        </a:p>
      </dgm:t>
    </dgm:pt>
    <dgm:pt modelId="{E496642D-0A6B-4CAE-806A-E543366ADC92}" type="sibTrans" cxnId="{075370D2-8834-4FF1-A120-BC5DB4082891}">
      <dgm:prSet/>
      <dgm:spPr/>
      <dgm:t>
        <a:bodyPr/>
        <a:lstStyle/>
        <a:p>
          <a:endParaRPr lang="en-IN" sz="1600" b="1">
            <a:solidFill>
              <a:schemeClr val="accent1">
                <a:lumMod val="75000"/>
              </a:schemeClr>
            </a:solidFill>
            <a:latin typeface="Quicksand"/>
          </a:endParaRPr>
        </a:p>
      </dgm:t>
    </dgm:pt>
    <dgm:pt modelId="{D6B76CB2-D463-4E0C-BE44-5233C59F9D73}">
      <dgm:prSet phldrT="[Text]" custT="1"/>
      <dgm:spPr/>
      <dgm:t>
        <a:bodyPr/>
        <a:lstStyle/>
        <a:p>
          <a:r>
            <a:rPr lang="en-IN" sz="1600" b="1" dirty="0">
              <a:solidFill>
                <a:schemeClr val="accent1">
                  <a:lumMod val="75000"/>
                </a:schemeClr>
              </a:solidFill>
              <a:latin typeface="Quicksand"/>
              <a:hlinkClick xmlns:r="http://schemas.openxmlformats.org/officeDocument/2006/relationships" r:id="rId2">
                <a:extLst>
                  <a:ext uri="{A12FA001-AC4F-418D-AE19-62706E023703}">
                    <ahyp:hlinkClr xmlns:ahyp="http://schemas.microsoft.com/office/drawing/2018/hyperlinkcolor" val="tx"/>
                  </a:ext>
                </a:extLst>
              </a:hlinkClick>
            </a:rPr>
            <a:t>Solid and Plastic Waste Assessment in Udaipur India</a:t>
          </a:r>
          <a:endParaRPr lang="en-IN" sz="1600" b="1" dirty="0">
            <a:solidFill>
              <a:schemeClr val="accent1">
                <a:lumMod val="75000"/>
              </a:schemeClr>
            </a:solidFill>
            <a:latin typeface="Quicksand"/>
          </a:endParaRPr>
        </a:p>
      </dgm:t>
    </dgm:pt>
    <dgm:pt modelId="{EA0A1C3C-F2DF-403E-A686-B108989BD863}" type="parTrans" cxnId="{63C78333-DD6E-4CCF-87D6-ABDFD0A5669E}">
      <dgm:prSet/>
      <dgm:spPr/>
      <dgm:t>
        <a:bodyPr/>
        <a:lstStyle/>
        <a:p>
          <a:endParaRPr lang="en-IN" sz="1600" b="1">
            <a:solidFill>
              <a:schemeClr val="accent1">
                <a:lumMod val="75000"/>
              </a:schemeClr>
            </a:solidFill>
            <a:latin typeface="Quicksand"/>
          </a:endParaRPr>
        </a:p>
      </dgm:t>
    </dgm:pt>
    <dgm:pt modelId="{49E41911-9ACF-4459-8463-B8ABE990F700}" type="sibTrans" cxnId="{63C78333-DD6E-4CCF-87D6-ABDFD0A5669E}">
      <dgm:prSet/>
      <dgm:spPr/>
      <dgm:t>
        <a:bodyPr/>
        <a:lstStyle/>
        <a:p>
          <a:endParaRPr lang="en-IN" sz="1600" b="1">
            <a:solidFill>
              <a:schemeClr val="accent1">
                <a:lumMod val="75000"/>
              </a:schemeClr>
            </a:solidFill>
            <a:latin typeface="Quicksand"/>
          </a:endParaRPr>
        </a:p>
      </dgm:t>
    </dgm:pt>
    <dgm:pt modelId="{EDC7753B-1D3D-4807-8B6C-AEFE9D601314}">
      <dgm:prSet phldrT="[Text]" custT="1"/>
      <dgm:spPr/>
      <dgm:t>
        <a:bodyPr/>
        <a:lstStyle/>
        <a:p>
          <a:r>
            <a:rPr lang="en-IN" sz="1600" b="1" dirty="0">
              <a:solidFill>
                <a:schemeClr val="accent1">
                  <a:lumMod val="75000"/>
                </a:schemeClr>
              </a:solidFill>
              <a:latin typeface="Quicksand"/>
              <a:hlinkClick xmlns:r="http://schemas.openxmlformats.org/officeDocument/2006/relationships" r:id="rId3">
                <a:extLst>
                  <a:ext uri="{A12FA001-AC4F-418D-AE19-62706E023703}">
                    <ahyp:hlinkClr xmlns:ahyp="http://schemas.microsoft.com/office/drawing/2018/hyperlinkcolor" val="tx"/>
                  </a:ext>
                </a:extLst>
              </a:hlinkClick>
            </a:rPr>
            <a:t>Blogs and articles on FINISH Mondial</a:t>
          </a:r>
          <a:endParaRPr lang="en-IN" sz="1600" b="1" dirty="0">
            <a:solidFill>
              <a:schemeClr val="accent1">
                <a:lumMod val="75000"/>
              </a:schemeClr>
            </a:solidFill>
            <a:latin typeface="Quicksand"/>
          </a:endParaRPr>
        </a:p>
      </dgm:t>
    </dgm:pt>
    <dgm:pt modelId="{F2826747-04C1-456F-904A-2809FE7A4954}" type="parTrans" cxnId="{8CA83CDC-4C50-42B8-B6F0-83A93E6E3921}">
      <dgm:prSet/>
      <dgm:spPr/>
      <dgm:t>
        <a:bodyPr/>
        <a:lstStyle/>
        <a:p>
          <a:endParaRPr lang="en-IN" sz="1600" b="1">
            <a:solidFill>
              <a:schemeClr val="accent1">
                <a:lumMod val="75000"/>
              </a:schemeClr>
            </a:solidFill>
            <a:latin typeface="Quicksand"/>
          </a:endParaRPr>
        </a:p>
      </dgm:t>
    </dgm:pt>
    <dgm:pt modelId="{12F08A1F-F29B-4C52-9C3E-01BC12E9FE6F}" type="sibTrans" cxnId="{8CA83CDC-4C50-42B8-B6F0-83A93E6E3921}">
      <dgm:prSet/>
      <dgm:spPr/>
      <dgm:t>
        <a:bodyPr/>
        <a:lstStyle/>
        <a:p>
          <a:endParaRPr lang="en-IN" sz="1600" b="1">
            <a:solidFill>
              <a:schemeClr val="accent1">
                <a:lumMod val="75000"/>
              </a:schemeClr>
            </a:solidFill>
            <a:latin typeface="Quicksand"/>
          </a:endParaRPr>
        </a:p>
      </dgm:t>
    </dgm:pt>
    <dgm:pt modelId="{89F14A09-2AC8-49EE-8B25-3F222DDCEA18}" type="pres">
      <dgm:prSet presAssocID="{BDB7F122-3C13-4EA8-9EA0-85F4A40CBE42}" presName="Name0" presStyleCnt="0">
        <dgm:presLayoutVars>
          <dgm:dir/>
          <dgm:resizeHandles val="exact"/>
        </dgm:presLayoutVars>
      </dgm:prSet>
      <dgm:spPr/>
    </dgm:pt>
    <dgm:pt modelId="{E1A541F3-58DF-49CA-8D31-2CB7C7C14C81}" type="pres">
      <dgm:prSet presAssocID="{647CDCB1-CD7D-4487-9016-9306B33B0F61}" presName="compNode" presStyleCnt="0"/>
      <dgm:spPr/>
    </dgm:pt>
    <dgm:pt modelId="{73D023F7-A150-40D4-81B7-9EAE227B7383}" type="pres">
      <dgm:prSet presAssocID="{647CDCB1-CD7D-4487-9016-9306B33B0F61}" presName="pictRect" presStyleLbl="node1" presStyleIdx="0"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t="-39000" b="-39000"/>
          </a:stretch>
        </a:blipFill>
      </dgm:spPr>
    </dgm:pt>
    <dgm:pt modelId="{CC08791E-8721-462E-AF36-BE91C5BE3C77}" type="pres">
      <dgm:prSet presAssocID="{647CDCB1-CD7D-4487-9016-9306B33B0F61}" presName="textRect" presStyleLbl="revTx" presStyleIdx="0" presStyleCnt="4">
        <dgm:presLayoutVars>
          <dgm:bulletEnabled val="1"/>
        </dgm:presLayoutVars>
      </dgm:prSet>
      <dgm:spPr/>
    </dgm:pt>
    <dgm:pt modelId="{ADBBE3C5-1F7E-40E7-B662-229255A7EE82}" type="pres">
      <dgm:prSet presAssocID="{E84BD899-4A59-4471-88D6-AD9B82A4858E}" presName="sibTrans" presStyleLbl="sibTrans2D1" presStyleIdx="0" presStyleCnt="0"/>
      <dgm:spPr/>
    </dgm:pt>
    <dgm:pt modelId="{F30D774A-2C4F-4E73-BC0A-7178CC0A3333}" type="pres">
      <dgm:prSet presAssocID="{3F19BFB1-E9EA-4586-8DAE-30C3FFB1AB97}" presName="compNode" presStyleCnt="0"/>
      <dgm:spPr/>
    </dgm:pt>
    <dgm:pt modelId="{D70EAE36-4FD9-4737-AC77-AADF3B9AD09C}" type="pres">
      <dgm:prSet presAssocID="{3F19BFB1-E9EA-4586-8DAE-30C3FFB1AB97}" presName="pictRect" presStyleLbl="node1" presStyleIdx="1" presStyleCnt="4"/>
      <dgm:spPr>
        <a:blipFill>
          <a:blip xmlns:r="http://schemas.openxmlformats.org/officeDocument/2006/relationships" r:embed="rId5">
            <a:extLst>
              <a:ext uri="{28A0092B-C50C-407E-A947-70E740481C1C}">
                <a14:useLocalDpi xmlns:a14="http://schemas.microsoft.com/office/drawing/2010/main" val="0"/>
              </a:ext>
            </a:extLst>
          </a:blip>
          <a:srcRect/>
          <a:stretch>
            <a:fillRect t="-4000" b="-4000"/>
          </a:stretch>
        </a:blipFill>
      </dgm:spPr>
    </dgm:pt>
    <dgm:pt modelId="{1AFBE1DE-50AB-4C15-A001-18BE1CA66FD9}" type="pres">
      <dgm:prSet presAssocID="{3F19BFB1-E9EA-4586-8DAE-30C3FFB1AB97}" presName="textRect" presStyleLbl="revTx" presStyleIdx="1" presStyleCnt="4">
        <dgm:presLayoutVars>
          <dgm:bulletEnabled val="1"/>
        </dgm:presLayoutVars>
      </dgm:prSet>
      <dgm:spPr/>
    </dgm:pt>
    <dgm:pt modelId="{3C77E043-DCEC-49D6-A41C-E8D61E45962F}" type="pres">
      <dgm:prSet presAssocID="{E496642D-0A6B-4CAE-806A-E543366ADC92}" presName="sibTrans" presStyleLbl="sibTrans2D1" presStyleIdx="0" presStyleCnt="0"/>
      <dgm:spPr/>
    </dgm:pt>
    <dgm:pt modelId="{FCFB7702-2F16-4F98-ACDB-73BDD16F76CE}" type="pres">
      <dgm:prSet presAssocID="{D6B76CB2-D463-4E0C-BE44-5233C59F9D73}" presName="compNode" presStyleCnt="0"/>
      <dgm:spPr/>
    </dgm:pt>
    <dgm:pt modelId="{88BDCD60-6DBA-41AB-BD47-C71285CDE89F}" type="pres">
      <dgm:prSet presAssocID="{D6B76CB2-D463-4E0C-BE44-5233C59F9D73}" presName="pictRect" presStyleLbl="node1" presStyleIdx="2" presStyleCnt="4"/>
      <dgm:spPr>
        <a:blipFill>
          <a:blip xmlns:r="http://schemas.openxmlformats.org/officeDocument/2006/relationships" r:embed="rId6">
            <a:extLst>
              <a:ext uri="{28A0092B-C50C-407E-A947-70E740481C1C}">
                <a14:useLocalDpi xmlns:a14="http://schemas.microsoft.com/office/drawing/2010/main" val="0"/>
              </a:ext>
            </a:extLst>
          </a:blip>
          <a:srcRect/>
          <a:stretch>
            <a:fillRect l="-2000" r="-2000"/>
          </a:stretch>
        </a:blipFill>
      </dgm:spPr>
    </dgm:pt>
    <dgm:pt modelId="{78F18670-6476-449C-B341-C9205DE64DB1}" type="pres">
      <dgm:prSet presAssocID="{D6B76CB2-D463-4E0C-BE44-5233C59F9D73}" presName="textRect" presStyleLbl="revTx" presStyleIdx="2" presStyleCnt="4">
        <dgm:presLayoutVars>
          <dgm:bulletEnabled val="1"/>
        </dgm:presLayoutVars>
      </dgm:prSet>
      <dgm:spPr/>
    </dgm:pt>
    <dgm:pt modelId="{05C7FECB-0760-4A30-A82F-32C15270A275}" type="pres">
      <dgm:prSet presAssocID="{49E41911-9ACF-4459-8463-B8ABE990F700}" presName="sibTrans" presStyleLbl="sibTrans2D1" presStyleIdx="0" presStyleCnt="0"/>
      <dgm:spPr/>
    </dgm:pt>
    <dgm:pt modelId="{0A420EC0-09C5-4A8F-99D9-7225FBA28CA0}" type="pres">
      <dgm:prSet presAssocID="{EDC7753B-1D3D-4807-8B6C-AEFE9D601314}" presName="compNode" presStyleCnt="0"/>
      <dgm:spPr/>
    </dgm:pt>
    <dgm:pt modelId="{52DF3087-AA54-4BCD-8227-AD77BBD35109}" type="pres">
      <dgm:prSet presAssocID="{EDC7753B-1D3D-4807-8B6C-AEFE9D601314}" presName="pict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Lst>
          </a:blip>
          <a:srcRect/>
          <a:stretch>
            <a:fillRect l="-11000" r="-11000"/>
          </a:stretch>
        </a:blipFill>
      </dgm:spPr>
    </dgm:pt>
    <dgm:pt modelId="{59FBF7F8-587F-4353-9BCB-BE70441B30FE}" type="pres">
      <dgm:prSet presAssocID="{EDC7753B-1D3D-4807-8B6C-AEFE9D601314}" presName="textRect" presStyleLbl="revTx" presStyleIdx="3" presStyleCnt="4">
        <dgm:presLayoutVars>
          <dgm:bulletEnabled val="1"/>
        </dgm:presLayoutVars>
      </dgm:prSet>
      <dgm:spPr/>
    </dgm:pt>
  </dgm:ptLst>
  <dgm:cxnLst>
    <dgm:cxn modelId="{0CE4490C-12DD-4B63-BFD4-4D7834ADBE52}" type="presOf" srcId="{EDC7753B-1D3D-4807-8B6C-AEFE9D601314}" destId="{59FBF7F8-587F-4353-9BCB-BE70441B30FE}" srcOrd="0" destOrd="0" presId="urn:microsoft.com/office/officeart/2005/8/layout/pList1"/>
    <dgm:cxn modelId="{63C78333-DD6E-4CCF-87D6-ABDFD0A5669E}" srcId="{BDB7F122-3C13-4EA8-9EA0-85F4A40CBE42}" destId="{D6B76CB2-D463-4E0C-BE44-5233C59F9D73}" srcOrd="2" destOrd="0" parTransId="{EA0A1C3C-F2DF-403E-A686-B108989BD863}" sibTransId="{49E41911-9ACF-4459-8463-B8ABE990F700}"/>
    <dgm:cxn modelId="{4F24C263-4E09-4065-A8CC-52BE031CE047}" type="presOf" srcId="{E496642D-0A6B-4CAE-806A-E543366ADC92}" destId="{3C77E043-DCEC-49D6-A41C-E8D61E45962F}" srcOrd="0" destOrd="0" presId="urn:microsoft.com/office/officeart/2005/8/layout/pList1"/>
    <dgm:cxn modelId="{AF490369-3591-4308-AA08-E2445F0E6935}" type="presOf" srcId="{647CDCB1-CD7D-4487-9016-9306B33B0F61}" destId="{CC08791E-8721-462E-AF36-BE91C5BE3C77}" srcOrd="0" destOrd="0" presId="urn:microsoft.com/office/officeart/2005/8/layout/pList1"/>
    <dgm:cxn modelId="{F63A9349-A060-4605-8EEA-80B1981A708B}" type="presOf" srcId="{D6B76CB2-D463-4E0C-BE44-5233C59F9D73}" destId="{78F18670-6476-449C-B341-C9205DE64DB1}" srcOrd="0" destOrd="0" presId="urn:microsoft.com/office/officeart/2005/8/layout/pList1"/>
    <dgm:cxn modelId="{C357C789-DFD9-4CA5-BFF6-D0B873D63E5C}" type="presOf" srcId="{3F19BFB1-E9EA-4586-8DAE-30C3FFB1AB97}" destId="{1AFBE1DE-50AB-4C15-A001-18BE1CA66FD9}" srcOrd="0" destOrd="0" presId="urn:microsoft.com/office/officeart/2005/8/layout/pList1"/>
    <dgm:cxn modelId="{2EAB7BB7-3F26-495D-A376-2A640B625C33}" type="presOf" srcId="{BDB7F122-3C13-4EA8-9EA0-85F4A40CBE42}" destId="{89F14A09-2AC8-49EE-8B25-3F222DDCEA18}" srcOrd="0" destOrd="0" presId="urn:microsoft.com/office/officeart/2005/8/layout/pList1"/>
    <dgm:cxn modelId="{CCF79BC8-F23D-4018-ACCF-5AAB57DCB756}" type="presOf" srcId="{E84BD899-4A59-4471-88D6-AD9B82A4858E}" destId="{ADBBE3C5-1F7E-40E7-B662-229255A7EE82}" srcOrd="0" destOrd="0" presId="urn:microsoft.com/office/officeart/2005/8/layout/pList1"/>
    <dgm:cxn modelId="{075370D2-8834-4FF1-A120-BC5DB4082891}" srcId="{BDB7F122-3C13-4EA8-9EA0-85F4A40CBE42}" destId="{3F19BFB1-E9EA-4586-8DAE-30C3FFB1AB97}" srcOrd="1" destOrd="0" parTransId="{4B4A39A1-01CF-4C85-8CA0-9BE6F120A25D}" sibTransId="{E496642D-0A6B-4CAE-806A-E543366ADC92}"/>
    <dgm:cxn modelId="{6ED21BD9-5343-4DA5-AE88-CC6950125A3C}" type="presOf" srcId="{49E41911-9ACF-4459-8463-B8ABE990F700}" destId="{05C7FECB-0760-4A30-A82F-32C15270A275}" srcOrd="0" destOrd="0" presId="urn:microsoft.com/office/officeart/2005/8/layout/pList1"/>
    <dgm:cxn modelId="{8CA83CDC-4C50-42B8-B6F0-83A93E6E3921}" srcId="{BDB7F122-3C13-4EA8-9EA0-85F4A40CBE42}" destId="{EDC7753B-1D3D-4807-8B6C-AEFE9D601314}" srcOrd="3" destOrd="0" parTransId="{F2826747-04C1-456F-904A-2809FE7A4954}" sibTransId="{12F08A1F-F29B-4C52-9C3E-01BC12E9FE6F}"/>
    <dgm:cxn modelId="{9B87C0F1-8B69-46BE-AB65-BD90ECA89315}" srcId="{BDB7F122-3C13-4EA8-9EA0-85F4A40CBE42}" destId="{647CDCB1-CD7D-4487-9016-9306B33B0F61}" srcOrd="0" destOrd="0" parTransId="{9C2A59BC-FCFA-4E48-B736-CF8B28CB1C51}" sibTransId="{E84BD899-4A59-4471-88D6-AD9B82A4858E}"/>
    <dgm:cxn modelId="{689B9D2B-B1B0-495D-9F48-E73D2C57DF28}" type="presParOf" srcId="{89F14A09-2AC8-49EE-8B25-3F222DDCEA18}" destId="{E1A541F3-58DF-49CA-8D31-2CB7C7C14C81}" srcOrd="0" destOrd="0" presId="urn:microsoft.com/office/officeart/2005/8/layout/pList1"/>
    <dgm:cxn modelId="{D7E804B2-503C-4248-BF21-23492776EC71}" type="presParOf" srcId="{E1A541F3-58DF-49CA-8D31-2CB7C7C14C81}" destId="{73D023F7-A150-40D4-81B7-9EAE227B7383}" srcOrd="0" destOrd="0" presId="urn:microsoft.com/office/officeart/2005/8/layout/pList1"/>
    <dgm:cxn modelId="{1F602A42-1DA6-4FB6-AF80-29EE27227316}" type="presParOf" srcId="{E1A541F3-58DF-49CA-8D31-2CB7C7C14C81}" destId="{CC08791E-8721-462E-AF36-BE91C5BE3C77}" srcOrd="1" destOrd="0" presId="urn:microsoft.com/office/officeart/2005/8/layout/pList1"/>
    <dgm:cxn modelId="{FF0E5B01-C957-4822-A73D-289F1BF231DE}" type="presParOf" srcId="{89F14A09-2AC8-49EE-8B25-3F222DDCEA18}" destId="{ADBBE3C5-1F7E-40E7-B662-229255A7EE82}" srcOrd="1" destOrd="0" presId="urn:microsoft.com/office/officeart/2005/8/layout/pList1"/>
    <dgm:cxn modelId="{FCDC4CFB-BBF4-4C24-AAF7-3FDA22ED40C6}" type="presParOf" srcId="{89F14A09-2AC8-49EE-8B25-3F222DDCEA18}" destId="{F30D774A-2C4F-4E73-BC0A-7178CC0A3333}" srcOrd="2" destOrd="0" presId="urn:microsoft.com/office/officeart/2005/8/layout/pList1"/>
    <dgm:cxn modelId="{0ABD5E0E-E0D4-46DE-9F01-D23BE488DF3F}" type="presParOf" srcId="{F30D774A-2C4F-4E73-BC0A-7178CC0A3333}" destId="{D70EAE36-4FD9-4737-AC77-AADF3B9AD09C}" srcOrd="0" destOrd="0" presId="urn:microsoft.com/office/officeart/2005/8/layout/pList1"/>
    <dgm:cxn modelId="{8C191F58-8A9A-4B80-A6CE-7116159393D3}" type="presParOf" srcId="{F30D774A-2C4F-4E73-BC0A-7178CC0A3333}" destId="{1AFBE1DE-50AB-4C15-A001-18BE1CA66FD9}" srcOrd="1" destOrd="0" presId="urn:microsoft.com/office/officeart/2005/8/layout/pList1"/>
    <dgm:cxn modelId="{BE6C0E00-536A-49C1-9F40-4135BD317357}" type="presParOf" srcId="{89F14A09-2AC8-49EE-8B25-3F222DDCEA18}" destId="{3C77E043-DCEC-49D6-A41C-E8D61E45962F}" srcOrd="3" destOrd="0" presId="urn:microsoft.com/office/officeart/2005/8/layout/pList1"/>
    <dgm:cxn modelId="{554008AD-0929-4EC6-99AD-E0FF7DD954D2}" type="presParOf" srcId="{89F14A09-2AC8-49EE-8B25-3F222DDCEA18}" destId="{FCFB7702-2F16-4F98-ACDB-73BDD16F76CE}" srcOrd="4" destOrd="0" presId="urn:microsoft.com/office/officeart/2005/8/layout/pList1"/>
    <dgm:cxn modelId="{5D4D229D-6C1D-472B-B564-F14611C2AA34}" type="presParOf" srcId="{FCFB7702-2F16-4F98-ACDB-73BDD16F76CE}" destId="{88BDCD60-6DBA-41AB-BD47-C71285CDE89F}" srcOrd="0" destOrd="0" presId="urn:microsoft.com/office/officeart/2005/8/layout/pList1"/>
    <dgm:cxn modelId="{5C448B44-F4E0-435F-B782-CB6A9090DBCF}" type="presParOf" srcId="{FCFB7702-2F16-4F98-ACDB-73BDD16F76CE}" destId="{78F18670-6476-449C-B341-C9205DE64DB1}" srcOrd="1" destOrd="0" presId="urn:microsoft.com/office/officeart/2005/8/layout/pList1"/>
    <dgm:cxn modelId="{3EE3774D-7CCF-49C0-9CF6-0FF959A33F61}" type="presParOf" srcId="{89F14A09-2AC8-49EE-8B25-3F222DDCEA18}" destId="{05C7FECB-0760-4A30-A82F-32C15270A275}" srcOrd="5" destOrd="0" presId="urn:microsoft.com/office/officeart/2005/8/layout/pList1"/>
    <dgm:cxn modelId="{313F3924-E503-4D69-A368-680FEECB8B4C}" type="presParOf" srcId="{89F14A09-2AC8-49EE-8B25-3F222DDCEA18}" destId="{0A420EC0-09C5-4A8F-99D9-7225FBA28CA0}" srcOrd="6" destOrd="0" presId="urn:microsoft.com/office/officeart/2005/8/layout/pList1"/>
    <dgm:cxn modelId="{2502222F-0872-403D-A4A4-26B63119FFD6}" type="presParOf" srcId="{0A420EC0-09C5-4A8F-99D9-7225FBA28CA0}" destId="{52DF3087-AA54-4BCD-8227-AD77BBD35109}" srcOrd="0" destOrd="0" presId="urn:microsoft.com/office/officeart/2005/8/layout/pList1"/>
    <dgm:cxn modelId="{43D600E5-61C9-4AE2-B941-DA7E7E7493E3}" type="presParOf" srcId="{0A420EC0-09C5-4A8F-99D9-7225FBA28CA0}" destId="{59FBF7F8-587F-4353-9BCB-BE70441B30FE}" srcOrd="1" destOrd="0" presId="urn:microsoft.com/office/officeart/2005/8/layout/p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9C5B7EB-29B7-4ED1-9707-EEEC6CD28CF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IN"/>
        </a:p>
      </dgm:t>
    </dgm:pt>
    <dgm:pt modelId="{707CBAA4-C84A-4F32-9243-F9A1A0526615}">
      <dgm:prSet phldrT="[Text]" custT="1"/>
      <dgm:spPr/>
      <dgm:t>
        <a:bodyPr/>
        <a:lstStyle/>
        <a:p>
          <a:r>
            <a:rPr lang="en-IN" sz="1400" b="0" i="0" dirty="0">
              <a:latin typeface="Quicksand"/>
            </a:rPr>
            <a:t>Orientation on improved FSSM solutions</a:t>
          </a:r>
          <a:endParaRPr lang="en-IN" sz="1400" dirty="0">
            <a:latin typeface="Quicksand"/>
          </a:endParaRPr>
        </a:p>
      </dgm:t>
    </dgm:pt>
    <dgm:pt modelId="{9A295692-3400-46AA-AFFE-414FAE8C43BD}" type="parTrans" cxnId="{F9536DF5-BA9E-4B69-B861-2CC50B35E0B0}">
      <dgm:prSet/>
      <dgm:spPr/>
      <dgm:t>
        <a:bodyPr/>
        <a:lstStyle/>
        <a:p>
          <a:endParaRPr lang="en-IN" sz="1400">
            <a:latin typeface="Quicksand"/>
          </a:endParaRPr>
        </a:p>
      </dgm:t>
    </dgm:pt>
    <dgm:pt modelId="{7B13FF5E-119F-4ADD-96C6-16A670D9A5E6}" type="sibTrans" cxnId="{F9536DF5-BA9E-4B69-B861-2CC50B35E0B0}">
      <dgm:prSet/>
      <dgm:spPr/>
      <dgm:t>
        <a:bodyPr/>
        <a:lstStyle/>
        <a:p>
          <a:endParaRPr lang="en-IN" sz="1400">
            <a:latin typeface="Quicksand"/>
          </a:endParaRPr>
        </a:p>
      </dgm:t>
    </dgm:pt>
    <dgm:pt modelId="{DFD5DD59-92A8-4136-B855-4E56DFEEED63}">
      <dgm:prSet phldrT="[Text]" custT="1"/>
      <dgm:spPr/>
      <dgm:t>
        <a:bodyPr/>
        <a:lstStyle/>
        <a:p>
          <a:r>
            <a:rPr lang="en-IN" sz="1400" dirty="0">
              <a:latin typeface="Quicksand"/>
            </a:rPr>
            <a:t>Co-composting process flow document</a:t>
          </a:r>
        </a:p>
      </dgm:t>
    </dgm:pt>
    <dgm:pt modelId="{F1C97351-4E5A-47D5-A27C-73BECC95C689}" type="parTrans" cxnId="{8577DDAE-C42D-4393-8E6D-3916421DA869}">
      <dgm:prSet/>
      <dgm:spPr/>
      <dgm:t>
        <a:bodyPr/>
        <a:lstStyle/>
        <a:p>
          <a:endParaRPr lang="en-IN" sz="1400">
            <a:latin typeface="Quicksand"/>
          </a:endParaRPr>
        </a:p>
      </dgm:t>
    </dgm:pt>
    <dgm:pt modelId="{9E315417-C5CB-4362-A7B3-B5DD7C1D15E8}" type="sibTrans" cxnId="{8577DDAE-C42D-4393-8E6D-3916421DA869}">
      <dgm:prSet/>
      <dgm:spPr/>
      <dgm:t>
        <a:bodyPr/>
        <a:lstStyle/>
        <a:p>
          <a:endParaRPr lang="en-IN" sz="1400">
            <a:latin typeface="Quicksand"/>
          </a:endParaRPr>
        </a:p>
      </dgm:t>
    </dgm:pt>
    <dgm:pt modelId="{D4582D41-5BC0-45A0-B81C-3FD88B7159C6}">
      <dgm:prSet phldrT="[Text]" custT="1"/>
      <dgm:spPr/>
      <dgm:t>
        <a:bodyPr/>
        <a:lstStyle/>
        <a:p>
          <a:r>
            <a:rPr lang="en-IN" sz="1400" b="0" i="0" dirty="0">
              <a:latin typeface="Quicksand"/>
            </a:rPr>
            <a:t>Technical manual on climate and terrain appropriate sanitation technologies and retrofitting options</a:t>
          </a:r>
          <a:endParaRPr lang="en-IN" sz="1400" dirty="0">
            <a:latin typeface="Quicksand"/>
          </a:endParaRPr>
        </a:p>
      </dgm:t>
    </dgm:pt>
    <dgm:pt modelId="{55FE0C5A-C78E-4D91-AC7D-116F413F7CCD}" type="parTrans" cxnId="{753AFCB0-A22C-4062-8F5D-1D1DB1D4480F}">
      <dgm:prSet/>
      <dgm:spPr/>
      <dgm:t>
        <a:bodyPr/>
        <a:lstStyle/>
        <a:p>
          <a:endParaRPr lang="en-IN" sz="1400">
            <a:latin typeface="Quicksand"/>
          </a:endParaRPr>
        </a:p>
      </dgm:t>
    </dgm:pt>
    <dgm:pt modelId="{904F5797-F1A9-4395-ADA8-5D2233F32AF2}" type="sibTrans" cxnId="{753AFCB0-A22C-4062-8F5D-1D1DB1D4480F}">
      <dgm:prSet/>
      <dgm:spPr/>
      <dgm:t>
        <a:bodyPr/>
        <a:lstStyle/>
        <a:p>
          <a:endParaRPr lang="en-IN" sz="1400">
            <a:latin typeface="Quicksand"/>
          </a:endParaRPr>
        </a:p>
      </dgm:t>
    </dgm:pt>
    <dgm:pt modelId="{897834A4-C68D-4F9A-A52D-05B55FB73D33}">
      <dgm:prSet phldrT="[Text]" custT="1"/>
      <dgm:spPr/>
      <dgm:t>
        <a:bodyPr/>
        <a:lstStyle/>
        <a:p>
          <a:r>
            <a:rPr lang="en-US" sz="1400" b="0" i="0" dirty="0">
              <a:latin typeface="Quicksand"/>
            </a:rPr>
            <a:t>Guidelines on O&amp;M for WASH in School facilities</a:t>
          </a:r>
          <a:endParaRPr lang="en-IN" sz="1400" dirty="0">
            <a:latin typeface="Quicksand"/>
          </a:endParaRPr>
        </a:p>
      </dgm:t>
    </dgm:pt>
    <dgm:pt modelId="{464B76E7-028E-4554-8846-81BCF76E9D57}" type="parTrans" cxnId="{84112611-B9D5-4866-8005-3BDF8C4207BF}">
      <dgm:prSet/>
      <dgm:spPr/>
      <dgm:t>
        <a:bodyPr/>
        <a:lstStyle/>
        <a:p>
          <a:endParaRPr lang="en-IN" sz="1400">
            <a:latin typeface="Quicksand"/>
          </a:endParaRPr>
        </a:p>
      </dgm:t>
    </dgm:pt>
    <dgm:pt modelId="{9CFABD4D-8655-43F1-88DE-11F98AF38D2A}" type="sibTrans" cxnId="{84112611-B9D5-4866-8005-3BDF8C4207BF}">
      <dgm:prSet/>
      <dgm:spPr/>
      <dgm:t>
        <a:bodyPr/>
        <a:lstStyle/>
        <a:p>
          <a:endParaRPr lang="en-IN" sz="1400">
            <a:latin typeface="Quicksand"/>
          </a:endParaRPr>
        </a:p>
      </dgm:t>
    </dgm:pt>
    <dgm:pt modelId="{F263D037-EA6D-4247-93F9-7F4DC120141B}">
      <dgm:prSet phldrT="[Text]" custT="1"/>
      <dgm:spPr/>
      <dgm:t>
        <a:bodyPr/>
        <a:lstStyle/>
        <a:p>
          <a:r>
            <a:rPr lang="en-US" sz="1400" b="0" i="0" dirty="0">
              <a:latin typeface="Quicksand"/>
            </a:rPr>
            <a:t>Guidelines for faecal sludge management plan</a:t>
          </a:r>
          <a:endParaRPr lang="en-IN" sz="1400" dirty="0">
            <a:latin typeface="Quicksand"/>
          </a:endParaRPr>
        </a:p>
      </dgm:t>
    </dgm:pt>
    <dgm:pt modelId="{142C0DBD-129A-4F20-90C5-9949AE5A0327}" type="parTrans" cxnId="{970B9B64-F8ED-4E6A-922C-EE4541038938}">
      <dgm:prSet/>
      <dgm:spPr/>
      <dgm:t>
        <a:bodyPr/>
        <a:lstStyle/>
        <a:p>
          <a:endParaRPr lang="en-IN" sz="1400">
            <a:latin typeface="Quicksand"/>
          </a:endParaRPr>
        </a:p>
      </dgm:t>
    </dgm:pt>
    <dgm:pt modelId="{636E2E62-810E-4F5E-9E0C-815D0BDAD0D4}" type="sibTrans" cxnId="{970B9B64-F8ED-4E6A-922C-EE4541038938}">
      <dgm:prSet/>
      <dgm:spPr/>
      <dgm:t>
        <a:bodyPr/>
        <a:lstStyle/>
        <a:p>
          <a:endParaRPr lang="en-IN" sz="1400">
            <a:latin typeface="Quicksand"/>
          </a:endParaRPr>
        </a:p>
      </dgm:t>
    </dgm:pt>
    <dgm:pt modelId="{4FBA02B8-2DEE-4EE2-BB54-DD16D896C783}">
      <dgm:prSet custT="1"/>
      <dgm:spPr/>
      <dgm:t>
        <a:bodyPr/>
        <a:lstStyle/>
        <a:p>
          <a:r>
            <a:rPr lang="en-US" sz="1400" b="0" i="0" dirty="0">
              <a:latin typeface="Quicksand"/>
            </a:rPr>
            <a:t>Technical training &amp; business coaching module on WASH entrepreneur’s capacity building</a:t>
          </a:r>
          <a:endParaRPr lang="en-IN" sz="1400" dirty="0">
            <a:latin typeface="Quicksand"/>
          </a:endParaRPr>
        </a:p>
      </dgm:t>
    </dgm:pt>
    <dgm:pt modelId="{DCC6F543-E243-46F4-8FB5-5533FBEEC2C2}" type="parTrans" cxnId="{10A11E95-FEF3-4B78-A6D9-101BA883F1AD}">
      <dgm:prSet/>
      <dgm:spPr/>
      <dgm:t>
        <a:bodyPr/>
        <a:lstStyle/>
        <a:p>
          <a:endParaRPr lang="en-IN" sz="1400">
            <a:latin typeface="Quicksand"/>
          </a:endParaRPr>
        </a:p>
      </dgm:t>
    </dgm:pt>
    <dgm:pt modelId="{2937FAE3-89A2-4C33-8096-C4C64EFDF5B1}" type="sibTrans" cxnId="{10A11E95-FEF3-4B78-A6D9-101BA883F1AD}">
      <dgm:prSet/>
      <dgm:spPr/>
      <dgm:t>
        <a:bodyPr/>
        <a:lstStyle/>
        <a:p>
          <a:endParaRPr lang="en-IN" sz="1400">
            <a:latin typeface="Quicksand"/>
          </a:endParaRPr>
        </a:p>
      </dgm:t>
    </dgm:pt>
    <dgm:pt modelId="{41DA9A86-5777-4A75-A6F7-9728D11E7DEC}">
      <dgm:prSet custT="1"/>
      <dgm:spPr/>
      <dgm:t>
        <a:bodyPr/>
        <a:lstStyle/>
        <a:p>
          <a:r>
            <a:rPr lang="en-IN" sz="1400" dirty="0">
              <a:latin typeface="Quicksand"/>
            </a:rPr>
            <a:t>WASH value chain analysis in India</a:t>
          </a:r>
        </a:p>
      </dgm:t>
    </dgm:pt>
    <dgm:pt modelId="{0EEAF3BE-3919-4D58-A6B7-0D8C6F68DD3C}" type="parTrans" cxnId="{F789328D-AE0A-4C81-8462-E6692EAE9CD1}">
      <dgm:prSet/>
      <dgm:spPr/>
      <dgm:t>
        <a:bodyPr/>
        <a:lstStyle/>
        <a:p>
          <a:endParaRPr lang="en-IN" sz="1400">
            <a:latin typeface="Quicksand"/>
          </a:endParaRPr>
        </a:p>
      </dgm:t>
    </dgm:pt>
    <dgm:pt modelId="{E5AEF0A4-2A5D-456A-B937-DB67AC84E040}" type="sibTrans" cxnId="{F789328D-AE0A-4C81-8462-E6692EAE9CD1}">
      <dgm:prSet/>
      <dgm:spPr/>
      <dgm:t>
        <a:bodyPr/>
        <a:lstStyle/>
        <a:p>
          <a:endParaRPr lang="en-IN" sz="1400">
            <a:latin typeface="Quicksand"/>
          </a:endParaRPr>
        </a:p>
      </dgm:t>
    </dgm:pt>
    <dgm:pt modelId="{AB7A1A41-47FC-4CC5-AFFB-069948C58FD3}">
      <dgm:prSet custT="1"/>
      <dgm:spPr/>
      <dgm:t>
        <a:bodyPr/>
        <a:lstStyle/>
        <a:p>
          <a:r>
            <a:rPr lang="en-IN" sz="1400" dirty="0">
              <a:latin typeface="Quicksand"/>
            </a:rPr>
            <a:t>Climate change position papers-India, Kenya, Tanzania, Uganda</a:t>
          </a:r>
        </a:p>
      </dgm:t>
    </dgm:pt>
    <dgm:pt modelId="{A9870265-DC0C-4BA8-A33E-D49661CACC2C}" type="parTrans" cxnId="{91F8E600-5BFF-404E-8138-47903B156623}">
      <dgm:prSet/>
      <dgm:spPr/>
      <dgm:t>
        <a:bodyPr/>
        <a:lstStyle/>
        <a:p>
          <a:endParaRPr lang="en-IN" sz="1400">
            <a:latin typeface="Quicksand"/>
          </a:endParaRPr>
        </a:p>
      </dgm:t>
    </dgm:pt>
    <dgm:pt modelId="{ECB2D14F-F00A-473E-8C8F-CDDF9F8451EB}" type="sibTrans" cxnId="{91F8E600-5BFF-404E-8138-47903B156623}">
      <dgm:prSet/>
      <dgm:spPr/>
      <dgm:t>
        <a:bodyPr/>
        <a:lstStyle/>
        <a:p>
          <a:endParaRPr lang="en-IN" sz="1400">
            <a:latin typeface="Quicksand"/>
          </a:endParaRPr>
        </a:p>
      </dgm:t>
    </dgm:pt>
    <dgm:pt modelId="{8267BB8F-D7AE-490D-9567-CCD2A490CE09}">
      <dgm:prSet custT="1"/>
      <dgm:spPr/>
      <dgm:t>
        <a:bodyPr/>
        <a:lstStyle/>
        <a:p>
          <a:r>
            <a:rPr lang="en-IN" sz="1400" dirty="0">
              <a:latin typeface="Quicksand"/>
            </a:rPr>
            <a:t>GESI position paper-India, Kenya, Tanzania</a:t>
          </a:r>
        </a:p>
      </dgm:t>
    </dgm:pt>
    <dgm:pt modelId="{A4B26C69-69AB-47D2-9310-5144CD8AAD56}" type="parTrans" cxnId="{3551DF13-7E7E-4384-A3C0-1137F4257DA5}">
      <dgm:prSet/>
      <dgm:spPr/>
      <dgm:t>
        <a:bodyPr/>
        <a:lstStyle/>
        <a:p>
          <a:endParaRPr lang="en-IN" sz="1400">
            <a:latin typeface="Quicksand"/>
          </a:endParaRPr>
        </a:p>
      </dgm:t>
    </dgm:pt>
    <dgm:pt modelId="{04056B33-E3A3-4AD7-A5B8-DBFC6B7BB048}" type="sibTrans" cxnId="{3551DF13-7E7E-4384-A3C0-1137F4257DA5}">
      <dgm:prSet/>
      <dgm:spPr/>
      <dgm:t>
        <a:bodyPr/>
        <a:lstStyle/>
        <a:p>
          <a:endParaRPr lang="en-IN" sz="1400">
            <a:latin typeface="Quicksand"/>
          </a:endParaRPr>
        </a:p>
      </dgm:t>
    </dgm:pt>
    <dgm:pt modelId="{8B1743B4-742D-405C-BA3F-3DD8DCD4428B}" type="pres">
      <dgm:prSet presAssocID="{49C5B7EB-29B7-4ED1-9707-EEEC6CD28CFD}" presName="diagram" presStyleCnt="0">
        <dgm:presLayoutVars>
          <dgm:dir/>
          <dgm:resizeHandles val="exact"/>
        </dgm:presLayoutVars>
      </dgm:prSet>
      <dgm:spPr/>
    </dgm:pt>
    <dgm:pt modelId="{BEFA9012-DE15-4B56-9FE3-6EC1C8F3334D}" type="pres">
      <dgm:prSet presAssocID="{707CBAA4-C84A-4F32-9243-F9A1A0526615}" presName="node" presStyleLbl="node1" presStyleIdx="0" presStyleCnt="9" custLinFactNeighborX="-1860">
        <dgm:presLayoutVars>
          <dgm:bulletEnabled val="1"/>
        </dgm:presLayoutVars>
      </dgm:prSet>
      <dgm:spPr/>
    </dgm:pt>
    <dgm:pt modelId="{28B0C538-A20E-4A61-A59F-DC680D546E84}" type="pres">
      <dgm:prSet presAssocID="{7B13FF5E-119F-4ADD-96C6-16A670D9A5E6}" presName="sibTrans" presStyleCnt="0"/>
      <dgm:spPr/>
    </dgm:pt>
    <dgm:pt modelId="{2BE915C1-35A3-4CBD-A0E4-F7E270F4F5A4}" type="pres">
      <dgm:prSet presAssocID="{DFD5DD59-92A8-4136-B855-4E56DFEEED63}" presName="node" presStyleLbl="node1" presStyleIdx="1" presStyleCnt="9">
        <dgm:presLayoutVars>
          <dgm:bulletEnabled val="1"/>
        </dgm:presLayoutVars>
      </dgm:prSet>
      <dgm:spPr/>
    </dgm:pt>
    <dgm:pt modelId="{446087D9-9F26-415E-87DF-6006BF224349}" type="pres">
      <dgm:prSet presAssocID="{9E315417-C5CB-4362-A7B3-B5DD7C1D15E8}" presName="sibTrans" presStyleCnt="0"/>
      <dgm:spPr/>
    </dgm:pt>
    <dgm:pt modelId="{B7963362-C953-42E6-832B-3804F2619AED}" type="pres">
      <dgm:prSet presAssocID="{D4582D41-5BC0-45A0-B81C-3FD88B7159C6}" presName="node" presStyleLbl="node1" presStyleIdx="2" presStyleCnt="9">
        <dgm:presLayoutVars>
          <dgm:bulletEnabled val="1"/>
        </dgm:presLayoutVars>
      </dgm:prSet>
      <dgm:spPr/>
    </dgm:pt>
    <dgm:pt modelId="{671D3806-6F4B-47FC-B469-FEBC181FC679}" type="pres">
      <dgm:prSet presAssocID="{904F5797-F1A9-4395-ADA8-5D2233F32AF2}" presName="sibTrans" presStyleCnt="0"/>
      <dgm:spPr/>
    </dgm:pt>
    <dgm:pt modelId="{5047E398-8FD5-4E9C-AAEF-681190E26865}" type="pres">
      <dgm:prSet presAssocID="{897834A4-C68D-4F9A-A52D-05B55FB73D33}" presName="node" presStyleLbl="node1" presStyleIdx="3" presStyleCnt="9">
        <dgm:presLayoutVars>
          <dgm:bulletEnabled val="1"/>
        </dgm:presLayoutVars>
      </dgm:prSet>
      <dgm:spPr/>
    </dgm:pt>
    <dgm:pt modelId="{802A9D4D-0D8E-48CB-AC54-9975BFA825DB}" type="pres">
      <dgm:prSet presAssocID="{9CFABD4D-8655-43F1-88DE-11F98AF38D2A}" presName="sibTrans" presStyleCnt="0"/>
      <dgm:spPr/>
    </dgm:pt>
    <dgm:pt modelId="{BE6CF01B-0A9F-46F0-BD6D-8806CC2BB4B0}" type="pres">
      <dgm:prSet presAssocID="{F263D037-EA6D-4247-93F9-7F4DC120141B}" presName="node" presStyleLbl="node1" presStyleIdx="4" presStyleCnt="9">
        <dgm:presLayoutVars>
          <dgm:bulletEnabled val="1"/>
        </dgm:presLayoutVars>
      </dgm:prSet>
      <dgm:spPr/>
    </dgm:pt>
    <dgm:pt modelId="{04B059C9-6A2E-496C-B28B-7648ED723862}" type="pres">
      <dgm:prSet presAssocID="{636E2E62-810E-4F5E-9E0C-815D0BDAD0D4}" presName="sibTrans" presStyleCnt="0"/>
      <dgm:spPr/>
    </dgm:pt>
    <dgm:pt modelId="{8CA14B43-0BD9-45D4-A545-25910322FF42}" type="pres">
      <dgm:prSet presAssocID="{4FBA02B8-2DEE-4EE2-BB54-DD16D896C783}" presName="node" presStyleLbl="node1" presStyleIdx="5" presStyleCnt="9">
        <dgm:presLayoutVars>
          <dgm:bulletEnabled val="1"/>
        </dgm:presLayoutVars>
      </dgm:prSet>
      <dgm:spPr/>
    </dgm:pt>
    <dgm:pt modelId="{12475519-538C-4AB6-BF7B-5A0B0189A61E}" type="pres">
      <dgm:prSet presAssocID="{2937FAE3-89A2-4C33-8096-C4C64EFDF5B1}" presName="sibTrans" presStyleCnt="0"/>
      <dgm:spPr/>
    </dgm:pt>
    <dgm:pt modelId="{782A1C82-C64F-4CED-9311-EF979BA3E6D2}" type="pres">
      <dgm:prSet presAssocID="{41DA9A86-5777-4A75-A6F7-9728D11E7DEC}" presName="node" presStyleLbl="node1" presStyleIdx="6" presStyleCnt="9">
        <dgm:presLayoutVars>
          <dgm:bulletEnabled val="1"/>
        </dgm:presLayoutVars>
      </dgm:prSet>
      <dgm:spPr/>
    </dgm:pt>
    <dgm:pt modelId="{82C8BA11-6D22-47D4-89D8-22D5E54C6965}" type="pres">
      <dgm:prSet presAssocID="{E5AEF0A4-2A5D-456A-B937-DB67AC84E040}" presName="sibTrans" presStyleCnt="0"/>
      <dgm:spPr/>
    </dgm:pt>
    <dgm:pt modelId="{C061519B-FA98-4DE5-B3C3-E3F4F22F271F}" type="pres">
      <dgm:prSet presAssocID="{AB7A1A41-47FC-4CC5-AFFB-069948C58FD3}" presName="node" presStyleLbl="node1" presStyleIdx="7" presStyleCnt="9">
        <dgm:presLayoutVars>
          <dgm:bulletEnabled val="1"/>
        </dgm:presLayoutVars>
      </dgm:prSet>
      <dgm:spPr/>
    </dgm:pt>
    <dgm:pt modelId="{E02C42F3-67A5-4A3E-B52F-48707AAA0A38}" type="pres">
      <dgm:prSet presAssocID="{ECB2D14F-F00A-473E-8C8F-CDDF9F8451EB}" presName="sibTrans" presStyleCnt="0"/>
      <dgm:spPr/>
    </dgm:pt>
    <dgm:pt modelId="{EA2C57F6-FF1B-423F-A26D-49F9E267AB91}" type="pres">
      <dgm:prSet presAssocID="{8267BB8F-D7AE-490D-9567-CCD2A490CE09}" presName="node" presStyleLbl="node1" presStyleIdx="8" presStyleCnt="9">
        <dgm:presLayoutVars>
          <dgm:bulletEnabled val="1"/>
        </dgm:presLayoutVars>
      </dgm:prSet>
      <dgm:spPr/>
    </dgm:pt>
  </dgm:ptLst>
  <dgm:cxnLst>
    <dgm:cxn modelId="{91F8E600-5BFF-404E-8138-47903B156623}" srcId="{49C5B7EB-29B7-4ED1-9707-EEEC6CD28CFD}" destId="{AB7A1A41-47FC-4CC5-AFFB-069948C58FD3}" srcOrd="7" destOrd="0" parTransId="{A9870265-DC0C-4BA8-A33E-D49661CACC2C}" sibTransId="{ECB2D14F-F00A-473E-8C8F-CDDF9F8451EB}"/>
    <dgm:cxn modelId="{96C47401-22B9-41BE-9A96-95E776A4949C}" type="presOf" srcId="{8267BB8F-D7AE-490D-9567-CCD2A490CE09}" destId="{EA2C57F6-FF1B-423F-A26D-49F9E267AB91}" srcOrd="0" destOrd="0" presId="urn:microsoft.com/office/officeart/2005/8/layout/default"/>
    <dgm:cxn modelId="{84112611-B9D5-4866-8005-3BDF8C4207BF}" srcId="{49C5B7EB-29B7-4ED1-9707-EEEC6CD28CFD}" destId="{897834A4-C68D-4F9A-A52D-05B55FB73D33}" srcOrd="3" destOrd="0" parTransId="{464B76E7-028E-4554-8846-81BCF76E9D57}" sibTransId="{9CFABD4D-8655-43F1-88DE-11F98AF38D2A}"/>
    <dgm:cxn modelId="{3551DF13-7E7E-4384-A3C0-1137F4257DA5}" srcId="{49C5B7EB-29B7-4ED1-9707-EEEC6CD28CFD}" destId="{8267BB8F-D7AE-490D-9567-CCD2A490CE09}" srcOrd="8" destOrd="0" parTransId="{A4B26C69-69AB-47D2-9310-5144CD8AAD56}" sibTransId="{04056B33-E3A3-4AD7-A5B8-DBFC6B7BB048}"/>
    <dgm:cxn modelId="{06C9FD16-0008-49FD-9DB4-5BB291DD98AD}" type="presOf" srcId="{707CBAA4-C84A-4F32-9243-F9A1A0526615}" destId="{BEFA9012-DE15-4B56-9FE3-6EC1C8F3334D}" srcOrd="0" destOrd="0" presId="urn:microsoft.com/office/officeart/2005/8/layout/default"/>
    <dgm:cxn modelId="{970B9B64-F8ED-4E6A-922C-EE4541038938}" srcId="{49C5B7EB-29B7-4ED1-9707-EEEC6CD28CFD}" destId="{F263D037-EA6D-4247-93F9-7F4DC120141B}" srcOrd="4" destOrd="0" parTransId="{142C0DBD-129A-4F20-90C5-9949AE5A0327}" sibTransId="{636E2E62-810E-4F5E-9E0C-815D0BDAD0D4}"/>
    <dgm:cxn modelId="{94FE6369-9EEB-461C-8819-A90419D67BEF}" type="presOf" srcId="{DFD5DD59-92A8-4136-B855-4E56DFEEED63}" destId="{2BE915C1-35A3-4CBD-A0E4-F7E270F4F5A4}" srcOrd="0" destOrd="0" presId="urn:microsoft.com/office/officeart/2005/8/layout/default"/>
    <dgm:cxn modelId="{A01CA26E-59DC-44A5-AD39-5F364889B825}" type="presOf" srcId="{AB7A1A41-47FC-4CC5-AFFB-069948C58FD3}" destId="{C061519B-FA98-4DE5-B3C3-E3F4F22F271F}" srcOrd="0" destOrd="0" presId="urn:microsoft.com/office/officeart/2005/8/layout/default"/>
    <dgm:cxn modelId="{C3BB735A-5C2A-41C8-A610-5F8D9BA37794}" type="presOf" srcId="{41DA9A86-5777-4A75-A6F7-9728D11E7DEC}" destId="{782A1C82-C64F-4CED-9311-EF979BA3E6D2}" srcOrd="0" destOrd="0" presId="urn:microsoft.com/office/officeart/2005/8/layout/default"/>
    <dgm:cxn modelId="{F789328D-AE0A-4C81-8462-E6692EAE9CD1}" srcId="{49C5B7EB-29B7-4ED1-9707-EEEC6CD28CFD}" destId="{41DA9A86-5777-4A75-A6F7-9728D11E7DEC}" srcOrd="6" destOrd="0" parTransId="{0EEAF3BE-3919-4D58-A6B7-0D8C6F68DD3C}" sibTransId="{E5AEF0A4-2A5D-456A-B937-DB67AC84E040}"/>
    <dgm:cxn modelId="{10A11E95-FEF3-4B78-A6D9-101BA883F1AD}" srcId="{49C5B7EB-29B7-4ED1-9707-EEEC6CD28CFD}" destId="{4FBA02B8-2DEE-4EE2-BB54-DD16D896C783}" srcOrd="5" destOrd="0" parTransId="{DCC6F543-E243-46F4-8FB5-5533FBEEC2C2}" sibTransId="{2937FAE3-89A2-4C33-8096-C4C64EFDF5B1}"/>
    <dgm:cxn modelId="{AB69D2A7-E615-4ABA-8828-E8E03089AA82}" type="presOf" srcId="{D4582D41-5BC0-45A0-B81C-3FD88B7159C6}" destId="{B7963362-C953-42E6-832B-3804F2619AED}" srcOrd="0" destOrd="0" presId="urn:microsoft.com/office/officeart/2005/8/layout/default"/>
    <dgm:cxn modelId="{8577DDAE-C42D-4393-8E6D-3916421DA869}" srcId="{49C5B7EB-29B7-4ED1-9707-EEEC6CD28CFD}" destId="{DFD5DD59-92A8-4136-B855-4E56DFEEED63}" srcOrd="1" destOrd="0" parTransId="{F1C97351-4E5A-47D5-A27C-73BECC95C689}" sibTransId="{9E315417-C5CB-4362-A7B3-B5DD7C1D15E8}"/>
    <dgm:cxn modelId="{753AFCB0-A22C-4062-8F5D-1D1DB1D4480F}" srcId="{49C5B7EB-29B7-4ED1-9707-EEEC6CD28CFD}" destId="{D4582D41-5BC0-45A0-B81C-3FD88B7159C6}" srcOrd="2" destOrd="0" parTransId="{55FE0C5A-C78E-4D91-AC7D-116F413F7CCD}" sibTransId="{904F5797-F1A9-4395-ADA8-5D2233F32AF2}"/>
    <dgm:cxn modelId="{D3430FD4-9772-43B6-BD49-CF28A4E8EC30}" type="presOf" srcId="{4FBA02B8-2DEE-4EE2-BB54-DD16D896C783}" destId="{8CA14B43-0BD9-45D4-A545-25910322FF42}" srcOrd="0" destOrd="0" presId="urn:microsoft.com/office/officeart/2005/8/layout/default"/>
    <dgm:cxn modelId="{1008BBD9-0BEE-4E52-B15F-2A121CB63846}" type="presOf" srcId="{897834A4-C68D-4F9A-A52D-05B55FB73D33}" destId="{5047E398-8FD5-4E9C-AAEF-681190E26865}" srcOrd="0" destOrd="0" presId="urn:microsoft.com/office/officeart/2005/8/layout/default"/>
    <dgm:cxn modelId="{3EC468E8-3E90-474D-A507-1B9DEE0A2C0C}" type="presOf" srcId="{F263D037-EA6D-4247-93F9-7F4DC120141B}" destId="{BE6CF01B-0A9F-46F0-BD6D-8806CC2BB4B0}" srcOrd="0" destOrd="0" presId="urn:microsoft.com/office/officeart/2005/8/layout/default"/>
    <dgm:cxn modelId="{F9536DF5-BA9E-4B69-B861-2CC50B35E0B0}" srcId="{49C5B7EB-29B7-4ED1-9707-EEEC6CD28CFD}" destId="{707CBAA4-C84A-4F32-9243-F9A1A0526615}" srcOrd="0" destOrd="0" parTransId="{9A295692-3400-46AA-AFFE-414FAE8C43BD}" sibTransId="{7B13FF5E-119F-4ADD-96C6-16A670D9A5E6}"/>
    <dgm:cxn modelId="{433444FD-D730-4555-B2C4-A9698CB0E76C}" type="presOf" srcId="{49C5B7EB-29B7-4ED1-9707-EEEC6CD28CFD}" destId="{8B1743B4-742D-405C-BA3F-3DD8DCD4428B}" srcOrd="0" destOrd="0" presId="urn:microsoft.com/office/officeart/2005/8/layout/default"/>
    <dgm:cxn modelId="{F988D142-C635-4933-A4BB-90B5516DA7F2}" type="presParOf" srcId="{8B1743B4-742D-405C-BA3F-3DD8DCD4428B}" destId="{BEFA9012-DE15-4B56-9FE3-6EC1C8F3334D}" srcOrd="0" destOrd="0" presId="urn:microsoft.com/office/officeart/2005/8/layout/default"/>
    <dgm:cxn modelId="{DDB06059-8F57-454A-BA9E-B3A1ED6AAAD3}" type="presParOf" srcId="{8B1743B4-742D-405C-BA3F-3DD8DCD4428B}" destId="{28B0C538-A20E-4A61-A59F-DC680D546E84}" srcOrd="1" destOrd="0" presId="urn:microsoft.com/office/officeart/2005/8/layout/default"/>
    <dgm:cxn modelId="{59A56DDD-0158-42DF-800F-211E01B10706}" type="presParOf" srcId="{8B1743B4-742D-405C-BA3F-3DD8DCD4428B}" destId="{2BE915C1-35A3-4CBD-A0E4-F7E270F4F5A4}" srcOrd="2" destOrd="0" presId="urn:microsoft.com/office/officeart/2005/8/layout/default"/>
    <dgm:cxn modelId="{4EC0FEE8-EC24-497E-99ED-E2AA87E34FAF}" type="presParOf" srcId="{8B1743B4-742D-405C-BA3F-3DD8DCD4428B}" destId="{446087D9-9F26-415E-87DF-6006BF224349}" srcOrd="3" destOrd="0" presId="urn:microsoft.com/office/officeart/2005/8/layout/default"/>
    <dgm:cxn modelId="{2A7AE3EB-BD7B-4724-B4A7-456A221AF000}" type="presParOf" srcId="{8B1743B4-742D-405C-BA3F-3DD8DCD4428B}" destId="{B7963362-C953-42E6-832B-3804F2619AED}" srcOrd="4" destOrd="0" presId="urn:microsoft.com/office/officeart/2005/8/layout/default"/>
    <dgm:cxn modelId="{0B9F8BBD-E1DA-446A-903E-D5D14BF8BC12}" type="presParOf" srcId="{8B1743B4-742D-405C-BA3F-3DD8DCD4428B}" destId="{671D3806-6F4B-47FC-B469-FEBC181FC679}" srcOrd="5" destOrd="0" presId="urn:microsoft.com/office/officeart/2005/8/layout/default"/>
    <dgm:cxn modelId="{48000573-F33B-4178-9DD5-5134C6DF3632}" type="presParOf" srcId="{8B1743B4-742D-405C-BA3F-3DD8DCD4428B}" destId="{5047E398-8FD5-4E9C-AAEF-681190E26865}" srcOrd="6" destOrd="0" presId="urn:microsoft.com/office/officeart/2005/8/layout/default"/>
    <dgm:cxn modelId="{74013374-5EBC-4F8C-A0FE-7B6AE11149A3}" type="presParOf" srcId="{8B1743B4-742D-405C-BA3F-3DD8DCD4428B}" destId="{802A9D4D-0D8E-48CB-AC54-9975BFA825DB}" srcOrd="7" destOrd="0" presId="urn:microsoft.com/office/officeart/2005/8/layout/default"/>
    <dgm:cxn modelId="{76ED19DD-E94C-4C50-83E4-1C9E503632B5}" type="presParOf" srcId="{8B1743B4-742D-405C-BA3F-3DD8DCD4428B}" destId="{BE6CF01B-0A9F-46F0-BD6D-8806CC2BB4B0}" srcOrd="8" destOrd="0" presId="urn:microsoft.com/office/officeart/2005/8/layout/default"/>
    <dgm:cxn modelId="{ED5013D6-00AD-461A-8D65-39CE74130EB8}" type="presParOf" srcId="{8B1743B4-742D-405C-BA3F-3DD8DCD4428B}" destId="{04B059C9-6A2E-496C-B28B-7648ED723862}" srcOrd="9" destOrd="0" presId="urn:microsoft.com/office/officeart/2005/8/layout/default"/>
    <dgm:cxn modelId="{1ABAEEDD-0FEA-4E27-BCA6-AEC80A1892AB}" type="presParOf" srcId="{8B1743B4-742D-405C-BA3F-3DD8DCD4428B}" destId="{8CA14B43-0BD9-45D4-A545-25910322FF42}" srcOrd="10" destOrd="0" presId="urn:microsoft.com/office/officeart/2005/8/layout/default"/>
    <dgm:cxn modelId="{39B5D0C4-EE8A-4913-82EA-F90BA66D24F6}" type="presParOf" srcId="{8B1743B4-742D-405C-BA3F-3DD8DCD4428B}" destId="{12475519-538C-4AB6-BF7B-5A0B0189A61E}" srcOrd="11" destOrd="0" presId="urn:microsoft.com/office/officeart/2005/8/layout/default"/>
    <dgm:cxn modelId="{12220F40-AF90-4123-90C8-FAB3E55C40B8}" type="presParOf" srcId="{8B1743B4-742D-405C-BA3F-3DD8DCD4428B}" destId="{782A1C82-C64F-4CED-9311-EF979BA3E6D2}" srcOrd="12" destOrd="0" presId="urn:microsoft.com/office/officeart/2005/8/layout/default"/>
    <dgm:cxn modelId="{92E1C81C-E98B-48E5-9CDF-4948847D0176}" type="presParOf" srcId="{8B1743B4-742D-405C-BA3F-3DD8DCD4428B}" destId="{82C8BA11-6D22-47D4-89D8-22D5E54C6965}" srcOrd="13" destOrd="0" presId="urn:microsoft.com/office/officeart/2005/8/layout/default"/>
    <dgm:cxn modelId="{F395966B-FA2A-4F12-B667-05F5BD48FF67}" type="presParOf" srcId="{8B1743B4-742D-405C-BA3F-3DD8DCD4428B}" destId="{C061519B-FA98-4DE5-B3C3-E3F4F22F271F}" srcOrd="14" destOrd="0" presId="urn:microsoft.com/office/officeart/2005/8/layout/default"/>
    <dgm:cxn modelId="{BD8BB121-1CA5-4B1C-A402-3F44CF26F0EA}" type="presParOf" srcId="{8B1743B4-742D-405C-BA3F-3DD8DCD4428B}" destId="{E02C42F3-67A5-4A3E-B52F-48707AAA0A38}" srcOrd="15" destOrd="0" presId="urn:microsoft.com/office/officeart/2005/8/layout/default"/>
    <dgm:cxn modelId="{9D1BF20C-2506-4175-8F89-12022E6B4B7B}" type="presParOf" srcId="{8B1743B4-742D-405C-BA3F-3DD8DCD4428B}" destId="{EA2C57F6-FF1B-423F-A26D-49F9E267AB91}" srcOrd="16" destOrd="0" presId="urn:microsoft.com/office/officeart/2005/8/layout/defaul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B91D3A-1888-4D9F-8F51-3BB28F2FE5ED}">
      <dsp:nvSpPr>
        <dsp:cNvPr id="0" name=""/>
        <dsp:cNvSpPr/>
      </dsp:nvSpPr>
      <dsp:spPr>
        <a:xfrm>
          <a:off x="8076" y="220220"/>
          <a:ext cx="1602424" cy="3246827"/>
        </a:xfrm>
        <a:prstGeom prst="roundRect">
          <a:avLst>
            <a:gd name="adj" fmla="val 10000"/>
          </a:avLst>
        </a:prstGeom>
        <a:solidFill>
          <a:schemeClr val="accent6">
            <a:lumMod val="75000"/>
          </a:schemeClr>
        </a:solidFill>
        <a:ln w="12700" cap="flat" cmpd="sng" algn="ctr">
          <a:solidFill>
            <a:schemeClr val="accent6">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100000"/>
            </a:lnSpc>
            <a:spcBef>
              <a:spcPct val="0"/>
            </a:spcBef>
            <a:spcAft>
              <a:spcPts val="0"/>
            </a:spcAft>
            <a:buNone/>
          </a:pPr>
          <a:r>
            <a:rPr lang="en-US" sz="1200" kern="1200" dirty="0">
              <a:latin typeface="Quicksand" pitchFamily="2" charset="0"/>
            </a:rPr>
            <a:t>IF guiding principles ensure a focus on</a:t>
          </a:r>
        </a:p>
        <a:p>
          <a:pPr marL="0" lvl="0" indent="0" algn="ctr" defTabSz="533400">
            <a:lnSpc>
              <a:spcPct val="100000"/>
            </a:lnSpc>
            <a:spcBef>
              <a:spcPct val="0"/>
            </a:spcBef>
            <a:spcAft>
              <a:spcPts val="0"/>
            </a:spcAft>
            <a:buNone/>
          </a:pPr>
          <a:r>
            <a:rPr lang="en-US" sz="1200" kern="1200" dirty="0">
              <a:latin typeface="Quicksand" pitchFamily="2" charset="0"/>
            </a:rPr>
            <a:t>scale,</a:t>
          </a:r>
        </a:p>
        <a:p>
          <a:pPr marL="0" lvl="0" indent="0" algn="ctr" defTabSz="533400">
            <a:lnSpc>
              <a:spcPct val="100000"/>
            </a:lnSpc>
            <a:spcBef>
              <a:spcPct val="0"/>
            </a:spcBef>
            <a:spcAft>
              <a:spcPts val="0"/>
            </a:spcAft>
            <a:buNone/>
          </a:pPr>
          <a:r>
            <a:rPr lang="en-US" sz="1200" kern="1200" dirty="0">
              <a:latin typeface="Quicksand" pitchFamily="2" charset="0"/>
            </a:rPr>
            <a:t>universal and inclusive coverage,</a:t>
          </a:r>
        </a:p>
        <a:p>
          <a:pPr marL="0" lvl="0" indent="0" algn="ctr" defTabSz="533400">
            <a:lnSpc>
              <a:spcPct val="100000"/>
            </a:lnSpc>
            <a:spcBef>
              <a:spcPct val="0"/>
            </a:spcBef>
            <a:spcAft>
              <a:spcPts val="0"/>
            </a:spcAft>
            <a:buNone/>
          </a:pPr>
          <a:r>
            <a:rPr lang="en-US" sz="1200" kern="1200" dirty="0">
              <a:latin typeface="Quicksand" pitchFamily="2" charset="0"/>
            </a:rPr>
            <a:t>government leadership, and</a:t>
          </a:r>
        </a:p>
        <a:p>
          <a:pPr marL="0" lvl="0" indent="0" algn="ctr" defTabSz="533400">
            <a:lnSpc>
              <a:spcPct val="100000"/>
            </a:lnSpc>
            <a:spcBef>
              <a:spcPct val="0"/>
            </a:spcBef>
            <a:spcAft>
              <a:spcPts val="0"/>
            </a:spcAft>
            <a:buNone/>
          </a:pPr>
          <a:r>
            <a:rPr lang="en-US" sz="1200" kern="1200" dirty="0">
              <a:latin typeface="Quicksand" pitchFamily="2" charset="0"/>
            </a:rPr>
            <a:t>sustainability;</a:t>
          </a:r>
        </a:p>
      </dsp:txBody>
      <dsp:txXfrm>
        <a:off x="55009" y="267153"/>
        <a:ext cx="1508558" cy="3152961"/>
      </dsp:txXfrm>
    </dsp:sp>
    <dsp:sp modelId="{FE52F7AE-999C-41CB-AF81-0B181A790FB9}">
      <dsp:nvSpPr>
        <dsp:cNvPr id="0" name=""/>
        <dsp:cNvSpPr/>
      </dsp:nvSpPr>
      <dsp:spPr>
        <a:xfrm>
          <a:off x="1770744" y="1644933"/>
          <a:ext cx="339714" cy="397401"/>
        </a:xfrm>
        <a:prstGeom prst="rightArrow">
          <a:avLst>
            <a:gd name="adj1" fmla="val 60000"/>
            <a:gd name="adj2" fmla="val 50000"/>
          </a:avLst>
        </a:prstGeom>
        <a:solidFill>
          <a:srgbClr val="BA0C2F"/>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latin typeface="Quicksand" pitchFamily="2" charset="0"/>
          </a:endParaRPr>
        </a:p>
      </dsp:txBody>
      <dsp:txXfrm>
        <a:off x="1770744" y="1724413"/>
        <a:ext cx="237800" cy="238441"/>
      </dsp:txXfrm>
    </dsp:sp>
    <dsp:sp modelId="{FAA88AA5-7F0C-4201-9AF2-8D07DE4A72AD}">
      <dsp:nvSpPr>
        <dsp:cNvPr id="0" name=""/>
        <dsp:cNvSpPr/>
      </dsp:nvSpPr>
      <dsp:spPr>
        <a:xfrm>
          <a:off x="2251471" y="220220"/>
          <a:ext cx="1602424" cy="3246827"/>
        </a:xfrm>
        <a:prstGeom prst="roundRect">
          <a:avLst>
            <a:gd name="adj" fmla="val 10000"/>
          </a:avLst>
        </a:prstGeom>
        <a:solidFill>
          <a:schemeClr val="accent5">
            <a:lumMod val="60000"/>
            <a:lumOff val="40000"/>
          </a:schemeClr>
        </a:solidFill>
        <a:ln w="12700" cap="flat" cmpd="sng" algn="ctr">
          <a:solidFill>
            <a:schemeClr val="accent5">
              <a:lumMod val="60000"/>
              <a:lumOff val="4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100000"/>
            </a:lnSpc>
            <a:spcBef>
              <a:spcPct val="0"/>
            </a:spcBef>
            <a:spcAft>
              <a:spcPts val="0"/>
            </a:spcAft>
            <a:buNone/>
          </a:pPr>
          <a:r>
            <a:rPr lang="en-US" sz="1200" kern="1200" dirty="0">
              <a:latin typeface="Quicksand" pitchFamily="2" charset="0"/>
            </a:rPr>
            <a:t>AND IF a national enabling environment for AWS and subnational building blocks are in place; </a:t>
          </a:r>
        </a:p>
      </dsp:txBody>
      <dsp:txXfrm>
        <a:off x="2298404" y="267153"/>
        <a:ext cx="1508558" cy="3152961"/>
      </dsp:txXfrm>
    </dsp:sp>
    <dsp:sp modelId="{0118B657-7416-4565-BD26-18A2E47D30B8}">
      <dsp:nvSpPr>
        <dsp:cNvPr id="0" name=""/>
        <dsp:cNvSpPr/>
      </dsp:nvSpPr>
      <dsp:spPr>
        <a:xfrm>
          <a:off x="4014139" y="1644933"/>
          <a:ext cx="339714" cy="397401"/>
        </a:xfrm>
        <a:prstGeom prst="rightArrow">
          <a:avLst>
            <a:gd name="adj1" fmla="val 60000"/>
            <a:gd name="adj2" fmla="val 50000"/>
          </a:avLst>
        </a:prstGeom>
        <a:solidFill>
          <a:srgbClr val="BA0C2F">
            <a:alpha val="7000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solidFill>
              <a:schemeClr val="lt1"/>
            </a:solidFill>
            <a:latin typeface="Quicksand" pitchFamily="2" charset="0"/>
          </a:endParaRPr>
        </a:p>
      </dsp:txBody>
      <dsp:txXfrm>
        <a:off x="4014139" y="1724413"/>
        <a:ext cx="237800" cy="238441"/>
      </dsp:txXfrm>
    </dsp:sp>
    <dsp:sp modelId="{18AF97CD-EFF4-40BE-AF7A-7231BD46A41A}">
      <dsp:nvSpPr>
        <dsp:cNvPr id="0" name=""/>
        <dsp:cNvSpPr/>
      </dsp:nvSpPr>
      <dsp:spPr>
        <a:xfrm>
          <a:off x="4494866" y="220220"/>
          <a:ext cx="1602424" cy="3246827"/>
        </a:xfrm>
        <a:prstGeom prst="roundRect">
          <a:avLst>
            <a:gd name="adj" fmla="val 10000"/>
          </a:avLst>
        </a:prstGeom>
        <a:solidFill>
          <a:schemeClr val="tx2">
            <a:lumMod val="75000"/>
          </a:schemeClr>
        </a:solidFill>
        <a:ln w="12700" cap="flat" cmpd="sng" algn="ctr">
          <a:solidFill>
            <a:schemeClr val="tx2">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100000"/>
            </a:lnSpc>
            <a:spcBef>
              <a:spcPct val="0"/>
            </a:spcBef>
            <a:spcAft>
              <a:spcPts val="0"/>
            </a:spcAft>
            <a:buNone/>
          </a:pPr>
          <a:r>
            <a:rPr lang="en-US" sz="1200" kern="1200" dirty="0">
              <a:latin typeface="Quicksand" pitchFamily="2" charset="0"/>
            </a:rPr>
            <a:t>AND IF a range of proven, available sanitation and hygiene interventions, products, and services exist that can be applied in the administrative area; </a:t>
          </a:r>
          <a:endParaRPr lang="en-US" sz="1200" kern="1200">
            <a:latin typeface="Quicksand" pitchFamily="2" charset="0"/>
          </a:endParaRPr>
        </a:p>
      </dsp:txBody>
      <dsp:txXfrm>
        <a:off x="4541799" y="267153"/>
        <a:ext cx="1508558" cy="3152961"/>
      </dsp:txXfrm>
    </dsp:sp>
    <dsp:sp modelId="{8E0F0E89-8674-4963-8594-C0EFB6C41EAE}">
      <dsp:nvSpPr>
        <dsp:cNvPr id="0" name=""/>
        <dsp:cNvSpPr/>
      </dsp:nvSpPr>
      <dsp:spPr>
        <a:xfrm>
          <a:off x="6257533" y="1644933"/>
          <a:ext cx="339714" cy="397401"/>
        </a:xfrm>
        <a:prstGeom prst="rightArrow">
          <a:avLst>
            <a:gd name="adj1" fmla="val 60000"/>
            <a:gd name="adj2" fmla="val 50000"/>
          </a:avLst>
        </a:prstGeom>
        <a:solidFill>
          <a:srgbClr val="BA0C2F">
            <a:alpha val="4500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latin typeface="Quicksand" pitchFamily="2" charset="0"/>
          </a:endParaRPr>
        </a:p>
      </dsp:txBody>
      <dsp:txXfrm>
        <a:off x="6257533" y="1724413"/>
        <a:ext cx="237800" cy="238441"/>
      </dsp:txXfrm>
    </dsp:sp>
    <dsp:sp modelId="{54E7985A-2DA1-489B-9A92-D072FB29D387}">
      <dsp:nvSpPr>
        <dsp:cNvPr id="0" name=""/>
        <dsp:cNvSpPr/>
      </dsp:nvSpPr>
      <dsp:spPr>
        <a:xfrm>
          <a:off x="6738261" y="220220"/>
          <a:ext cx="1675767" cy="3246827"/>
        </a:xfrm>
        <a:prstGeom prst="roundRect">
          <a:avLst>
            <a:gd name="adj" fmla="val 10000"/>
          </a:avLst>
        </a:prstGeom>
        <a:solidFill>
          <a:schemeClr val="bg2"/>
        </a:solidFill>
        <a:ln w="127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100000"/>
            </a:lnSpc>
            <a:spcBef>
              <a:spcPct val="0"/>
            </a:spcBef>
            <a:spcAft>
              <a:spcPts val="0"/>
            </a:spcAft>
            <a:buNone/>
          </a:pPr>
          <a:r>
            <a:rPr lang="en-US" sz="1200" kern="1200" dirty="0">
              <a:latin typeface="Quicksand" pitchFamily="2" charset="0"/>
            </a:rPr>
            <a:t>THEN local government and implementing partners can ensure application of a mix of sanitation and hygiene interventions and services at scale, properly adapted for the different rural contexts and target populations, and adapted over time to achieve planned outcomes;</a:t>
          </a:r>
        </a:p>
      </dsp:txBody>
      <dsp:txXfrm>
        <a:off x="6787343" y="269302"/>
        <a:ext cx="1577603" cy="3148663"/>
      </dsp:txXfrm>
    </dsp:sp>
    <dsp:sp modelId="{83017C9F-01C9-464D-81E4-0B1D499D8038}">
      <dsp:nvSpPr>
        <dsp:cNvPr id="0" name=""/>
        <dsp:cNvSpPr/>
      </dsp:nvSpPr>
      <dsp:spPr>
        <a:xfrm>
          <a:off x="8574271" y="1644933"/>
          <a:ext cx="339714" cy="397401"/>
        </a:xfrm>
        <a:prstGeom prst="rightArrow">
          <a:avLst>
            <a:gd name="adj1" fmla="val 60000"/>
            <a:gd name="adj2" fmla="val 50000"/>
          </a:avLst>
        </a:prstGeom>
        <a:solidFill>
          <a:srgbClr val="BA0C2F">
            <a:alpha val="2500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latin typeface="Quicksand" pitchFamily="2" charset="0"/>
          </a:endParaRPr>
        </a:p>
      </dsp:txBody>
      <dsp:txXfrm>
        <a:off x="8574271" y="1724413"/>
        <a:ext cx="237800" cy="238441"/>
      </dsp:txXfrm>
    </dsp:sp>
    <dsp:sp modelId="{14C3DA66-FAC4-4CE0-AC42-95167BA2A1A5}">
      <dsp:nvSpPr>
        <dsp:cNvPr id="0" name=""/>
        <dsp:cNvSpPr/>
      </dsp:nvSpPr>
      <dsp:spPr>
        <a:xfrm>
          <a:off x="9054999" y="220220"/>
          <a:ext cx="1602424" cy="3246827"/>
        </a:xfrm>
        <a:prstGeom prst="roundRect">
          <a:avLst>
            <a:gd name="adj" fmla="val 10000"/>
          </a:avLst>
        </a:prstGeom>
        <a:solidFill>
          <a:schemeClr val="accent3"/>
        </a:solidFill>
        <a:ln w="12700" cap="flat" cmpd="sng" algn="ctr">
          <a:solidFill>
            <a:schemeClr val="accent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latin typeface="Quicksand" pitchFamily="2" charset="0"/>
            </a:rPr>
            <a:t>AND IF THAT, THEN behaviors, demand and access to  appropriate, affordable materials and markets across all population groups can lead to universal, equitable, and sustained area-wide use of safe sanitation services and practice of hygiene. </a:t>
          </a:r>
        </a:p>
      </dsp:txBody>
      <dsp:txXfrm>
        <a:off x="9101932" y="267153"/>
        <a:ext cx="1508558" cy="3152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B91D3A-1888-4D9F-8F51-3BB28F2FE5ED}">
      <dsp:nvSpPr>
        <dsp:cNvPr id="0" name=""/>
        <dsp:cNvSpPr/>
      </dsp:nvSpPr>
      <dsp:spPr>
        <a:xfrm>
          <a:off x="8076" y="156114"/>
          <a:ext cx="1602424" cy="2126873"/>
        </a:xfrm>
        <a:prstGeom prst="roundRect">
          <a:avLst>
            <a:gd name="adj" fmla="val 10000"/>
          </a:avLst>
        </a:prstGeom>
        <a:solidFill>
          <a:schemeClr val="accent6">
            <a:lumMod val="75000"/>
          </a:schemeClr>
        </a:solidFill>
        <a:ln w="12700" cap="flat" cmpd="sng" algn="ctr">
          <a:solidFill>
            <a:schemeClr val="accent6">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100000"/>
            </a:lnSpc>
            <a:spcBef>
              <a:spcPct val="0"/>
            </a:spcBef>
            <a:spcAft>
              <a:spcPts val="0"/>
            </a:spcAft>
            <a:buNone/>
          </a:pPr>
          <a:r>
            <a:rPr lang="en-US" sz="1100" kern="1200" dirty="0">
              <a:latin typeface="Gill Sans MT" panose="020B0502020104020203" pitchFamily="34" charset="0"/>
            </a:rPr>
            <a:t>IF guiding principles ensure a focus on</a:t>
          </a:r>
        </a:p>
        <a:p>
          <a:pPr marL="0" lvl="0" indent="0" algn="ctr" defTabSz="488950">
            <a:lnSpc>
              <a:spcPct val="100000"/>
            </a:lnSpc>
            <a:spcBef>
              <a:spcPct val="0"/>
            </a:spcBef>
            <a:spcAft>
              <a:spcPts val="0"/>
            </a:spcAft>
            <a:buNone/>
          </a:pPr>
          <a:r>
            <a:rPr lang="en-US" sz="1100" kern="1200" dirty="0">
              <a:latin typeface="Gill Sans MT" panose="020B0502020104020203" pitchFamily="34" charset="0"/>
            </a:rPr>
            <a:t>scale,</a:t>
          </a:r>
        </a:p>
        <a:p>
          <a:pPr marL="0" lvl="0" indent="0" algn="ctr" defTabSz="488950">
            <a:lnSpc>
              <a:spcPct val="100000"/>
            </a:lnSpc>
            <a:spcBef>
              <a:spcPct val="0"/>
            </a:spcBef>
            <a:spcAft>
              <a:spcPts val="0"/>
            </a:spcAft>
            <a:buNone/>
          </a:pPr>
          <a:r>
            <a:rPr lang="en-US" sz="1100" kern="1200" dirty="0">
              <a:latin typeface="Gill Sans MT" panose="020B0502020104020203" pitchFamily="34" charset="0"/>
            </a:rPr>
            <a:t>universal and inclusive coverage,</a:t>
          </a:r>
        </a:p>
        <a:p>
          <a:pPr marL="0" lvl="0" indent="0" algn="ctr" defTabSz="488950">
            <a:lnSpc>
              <a:spcPct val="100000"/>
            </a:lnSpc>
            <a:spcBef>
              <a:spcPct val="0"/>
            </a:spcBef>
            <a:spcAft>
              <a:spcPts val="0"/>
            </a:spcAft>
            <a:buNone/>
          </a:pPr>
          <a:r>
            <a:rPr lang="en-US" sz="1100" kern="1200" dirty="0">
              <a:latin typeface="Gill Sans MT" panose="020B0502020104020203" pitchFamily="34" charset="0"/>
            </a:rPr>
            <a:t>government leadership, and</a:t>
          </a:r>
        </a:p>
        <a:p>
          <a:pPr marL="0" lvl="0" indent="0" algn="ctr" defTabSz="488950">
            <a:lnSpc>
              <a:spcPct val="100000"/>
            </a:lnSpc>
            <a:spcBef>
              <a:spcPct val="0"/>
            </a:spcBef>
            <a:spcAft>
              <a:spcPts val="0"/>
            </a:spcAft>
            <a:buNone/>
          </a:pPr>
          <a:r>
            <a:rPr lang="en-US" sz="1100" kern="1200" dirty="0">
              <a:latin typeface="Gill Sans MT" panose="020B0502020104020203" pitchFamily="34" charset="0"/>
            </a:rPr>
            <a:t>sustainability;</a:t>
          </a:r>
        </a:p>
      </dsp:txBody>
      <dsp:txXfrm>
        <a:off x="55009" y="203047"/>
        <a:ext cx="1508558" cy="2033007"/>
      </dsp:txXfrm>
    </dsp:sp>
    <dsp:sp modelId="{FE52F7AE-999C-41CB-AF81-0B181A790FB9}">
      <dsp:nvSpPr>
        <dsp:cNvPr id="0" name=""/>
        <dsp:cNvSpPr/>
      </dsp:nvSpPr>
      <dsp:spPr>
        <a:xfrm>
          <a:off x="1770744" y="1020850"/>
          <a:ext cx="339714" cy="397401"/>
        </a:xfrm>
        <a:prstGeom prst="rightArrow">
          <a:avLst>
            <a:gd name="adj1" fmla="val 60000"/>
            <a:gd name="adj2" fmla="val 50000"/>
          </a:avLst>
        </a:prstGeom>
        <a:solidFill>
          <a:srgbClr val="BA0C2F"/>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latin typeface="Gill Sans MT" panose="020B0502020104020203" pitchFamily="34" charset="0"/>
          </a:endParaRPr>
        </a:p>
      </dsp:txBody>
      <dsp:txXfrm>
        <a:off x="1770744" y="1100330"/>
        <a:ext cx="237800" cy="238441"/>
      </dsp:txXfrm>
    </dsp:sp>
    <dsp:sp modelId="{FAA88AA5-7F0C-4201-9AF2-8D07DE4A72AD}">
      <dsp:nvSpPr>
        <dsp:cNvPr id="0" name=""/>
        <dsp:cNvSpPr/>
      </dsp:nvSpPr>
      <dsp:spPr>
        <a:xfrm>
          <a:off x="2251471" y="156114"/>
          <a:ext cx="1602424" cy="2126873"/>
        </a:xfrm>
        <a:prstGeom prst="roundRect">
          <a:avLst>
            <a:gd name="adj" fmla="val 10000"/>
          </a:avLst>
        </a:prstGeom>
        <a:solidFill>
          <a:schemeClr val="accent5">
            <a:lumMod val="60000"/>
            <a:lumOff val="40000"/>
          </a:schemeClr>
        </a:solidFill>
        <a:ln w="12700" cap="flat" cmpd="sng" algn="ctr">
          <a:solidFill>
            <a:schemeClr val="accent5">
              <a:lumMod val="60000"/>
              <a:lumOff val="4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100000"/>
            </a:lnSpc>
            <a:spcBef>
              <a:spcPct val="0"/>
            </a:spcBef>
            <a:spcAft>
              <a:spcPts val="0"/>
            </a:spcAft>
            <a:buNone/>
          </a:pPr>
          <a:r>
            <a:rPr lang="en-US" sz="1100" kern="1200" dirty="0">
              <a:latin typeface="Gill Sans MT" panose="020B0502020104020203" pitchFamily="34" charset="0"/>
            </a:rPr>
            <a:t>AND IF a national enabling environment for AWS and subnational building blocks are in place; </a:t>
          </a:r>
        </a:p>
      </dsp:txBody>
      <dsp:txXfrm>
        <a:off x="2298404" y="203047"/>
        <a:ext cx="1508558" cy="2033007"/>
      </dsp:txXfrm>
    </dsp:sp>
    <dsp:sp modelId="{0118B657-7416-4565-BD26-18A2E47D30B8}">
      <dsp:nvSpPr>
        <dsp:cNvPr id="0" name=""/>
        <dsp:cNvSpPr/>
      </dsp:nvSpPr>
      <dsp:spPr>
        <a:xfrm>
          <a:off x="4014139" y="1020850"/>
          <a:ext cx="339714" cy="397401"/>
        </a:xfrm>
        <a:prstGeom prst="rightArrow">
          <a:avLst>
            <a:gd name="adj1" fmla="val 60000"/>
            <a:gd name="adj2" fmla="val 50000"/>
          </a:avLst>
        </a:prstGeom>
        <a:solidFill>
          <a:srgbClr val="BA0C2F">
            <a:alpha val="7000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solidFill>
              <a:schemeClr val="lt1"/>
            </a:solidFill>
            <a:latin typeface="Gill Sans MT" panose="020B0502020104020203" pitchFamily="34" charset="0"/>
          </a:endParaRPr>
        </a:p>
      </dsp:txBody>
      <dsp:txXfrm>
        <a:off x="4014139" y="1100330"/>
        <a:ext cx="237800" cy="238441"/>
      </dsp:txXfrm>
    </dsp:sp>
    <dsp:sp modelId="{18AF97CD-EFF4-40BE-AF7A-7231BD46A41A}">
      <dsp:nvSpPr>
        <dsp:cNvPr id="0" name=""/>
        <dsp:cNvSpPr/>
      </dsp:nvSpPr>
      <dsp:spPr>
        <a:xfrm>
          <a:off x="4494866" y="156114"/>
          <a:ext cx="1602424" cy="2126873"/>
        </a:xfrm>
        <a:prstGeom prst="roundRect">
          <a:avLst>
            <a:gd name="adj" fmla="val 10000"/>
          </a:avLst>
        </a:prstGeom>
        <a:solidFill>
          <a:schemeClr val="tx2">
            <a:lumMod val="75000"/>
          </a:schemeClr>
        </a:solidFill>
        <a:ln w="12700" cap="flat" cmpd="sng" algn="ctr">
          <a:solidFill>
            <a:schemeClr val="tx2">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100000"/>
            </a:lnSpc>
            <a:spcBef>
              <a:spcPct val="0"/>
            </a:spcBef>
            <a:spcAft>
              <a:spcPts val="0"/>
            </a:spcAft>
            <a:buNone/>
          </a:pPr>
          <a:r>
            <a:rPr lang="en-US" sz="1100" kern="1200" dirty="0">
              <a:latin typeface="Gill Sans MT" panose="020B0502020104020203" pitchFamily="34" charset="0"/>
            </a:rPr>
            <a:t>AND IF a range of proven, available sanitation and hygiene interventions, products, and services exist that can be applied in the administrative area; </a:t>
          </a:r>
        </a:p>
      </dsp:txBody>
      <dsp:txXfrm>
        <a:off x="4541799" y="203047"/>
        <a:ext cx="1508558" cy="2033007"/>
      </dsp:txXfrm>
    </dsp:sp>
    <dsp:sp modelId="{8E0F0E89-8674-4963-8594-C0EFB6C41EAE}">
      <dsp:nvSpPr>
        <dsp:cNvPr id="0" name=""/>
        <dsp:cNvSpPr/>
      </dsp:nvSpPr>
      <dsp:spPr>
        <a:xfrm>
          <a:off x="6257533" y="1020850"/>
          <a:ext cx="339714" cy="397401"/>
        </a:xfrm>
        <a:prstGeom prst="rightArrow">
          <a:avLst>
            <a:gd name="adj1" fmla="val 60000"/>
            <a:gd name="adj2" fmla="val 50000"/>
          </a:avLst>
        </a:prstGeom>
        <a:solidFill>
          <a:srgbClr val="BA0C2F">
            <a:alpha val="4500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latin typeface="Gill Sans MT" panose="020B0502020104020203" pitchFamily="34" charset="0"/>
          </a:endParaRPr>
        </a:p>
      </dsp:txBody>
      <dsp:txXfrm>
        <a:off x="6257533" y="1100330"/>
        <a:ext cx="237800" cy="238441"/>
      </dsp:txXfrm>
    </dsp:sp>
    <dsp:sp modelId="{54E7985A-2DA1-489B-9A92-D072FB29D387}">
      <dsp:nvSpPr>
        <dsp:cNvPr id="0" name=""/>
        <dsp:cNvSpPr/>
      </dsp:nvSpPr>
      <dsp:spPr>
        <a:xfrm>
          <a:off x="6738261" y="156114"/>
          <a:ext cx="1675767" cy="2126873"/>
        </a:xfrm>
        <a:prstGeom prst="roundRect">
          <a:avLst>
            <a:gd name="adj" fmla="val 10000"/>
          </a:avLst>
        </a:prstGeom>
        <a:solidFill>
          <a:schemeClr val="bg2"/>
        </a:solidFill>
        <a:ln w="127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100000"/>
            </a:lnSpc>
            <a:spcBef>
              <a:spcPct val="0"/>
            </a:spcBef>
            <a:spcAft>
              <a:spcPts val="0"/>
            </a:spcAft>
            <a:buNone/>
          </a:pPr>
          <a:r>
            <a:rPr lang="en-US" sz="1100" kern="1200" dirty="0">
              <a:latin typeface="Gill Sans MT" panose="020B0502020104020203" pitchFamily="34" charset="0"/>
            </a:rPr>
            <a:t>THEN local government and implementing partners can ensure application of a mix of sanitation and hygiene interventions and services at scale, properly adapted for the different rural contexts and target populations, and adapted over time to achieve planned outcomes;</a:t>
          </a:r>
        </a:p>
      </dsp:txBody>
      <dsp:txXfrm>
        <a:off x="6787343" y="205196"/>
        <a:ext cx="1577603" cy="2028709"/>
      </dsp:txXfrm>
    </dsp:sp>
    <dsp:sp modelId="{83017C9F-01C9-464D-81E4-0B1D499D8038}">
      <dsp:nvSpPr>
        <dsp:cNvPr id="0" name=""/>
        <dsp:cNvSpPr/>
      </dsp:nvSpPr>
      <dsp:spPr>
        <a:xfrm>
          <a:off x="8574271" y="1020850"/>
          <a:ext cx="339714" cy="397401"/>
        </a:xfrm>
        <a:prstGeom prst="rightArrow">
          <a:avLst>
            <a:gd name="adj1" fmla="val 60000"/>
            <a:gd name="adj2" fmla="val 50000"/>
          </a:avLst>
        </a:prstGeom>
        <a:solidFill>
          <a:srgbClr val="BA0C2F">
            <a:alpha val="2500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latin typeface="Gill Sans MT" panose="020B0502020104020203" pitchFamily="34" charset="0"/>
          </a:endParaRPr>
        </a:p>
      </dsp:txBody>
      <dsp:txXfrm>
        <a:off x="8574271" y="1100330"/>
        <a:ext cx="237800" cy="238441"/>
      </dsp:txXfrm>
    </dsp:sp>
    <dsp:sp modelId="{14C3DA66-FAC4-4CE0-AC42-95167BA2A1A5}">
      <dsp:nvSpPr>
        <dsp:cNvPr id="0" name=""/>
        <dsp:cNvSpPr/>
      </dsp:nvSpPr>
      <dsp:spPr>
        <a:xfrm>
          <a:off x="9054999" y="156114"/>
          <a:ext cx="1602424" cy="2126873"/>
        </a:xfrm>
        <a:prstGeom prst="roundRect">
          <a:avLst>
            <a:gd name="adj" fmla="val 10000"/>
          </a:avLst>
        </a:prstGeom>
        <a:solidFill>
          <a:schemeClr val="accent3"/>
        </a:solidFill>
        <a:ln w="12700" cap="flat" cmpd="sng" algn="ctr">
          <a:solidFill>
            <a:schemeClr val="accent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Gill Sans MT" panose="020B0502020104020203" pitchFamily="34" charset="0"/>
            </a:rPr>
            <a:t>AND IF THAT, THEN behaviors, demand and access to  appropriate, affordable materials and markets across all population groups can lead to universal, equitable, and sustained area-wide use of safe sanitation services and practice of hygiene. </a:t>
          </a:r>
        </a:p>
      </dsp:txBody>
      <dsp:txXfrm>
        <a:off x="9101932" y="203047"/>
        <a:ext cx="1508558" cy="203300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B91D3A-1888-4D9F-8F51-3BB28F2FE5ED}">
      <dsp:nvSpPr>
        <dsp:cNvPr id="0" name=""/>
        <dsp:cNvSpPr/>
      </dsp:nvSpPr>
      <dsp:spPr>
        <a:xfrm>
          <a:off x="8020" y="277809"/>
          <a:ext cx="1591310" cy="1883482"/>
        </a:xfrm>
        <a:prstGeom prst="roundRect">
          <a:avLst>
            <a:gd name="adj" fmla="val 10000"/>
          </a:avLst>
        </a:prstGeom>
        <a:solidFill>
          <a:schemeClr val="accent6">
            <a:lumMod val="75000"/>
          </a:schemeClr>
        </a:solidFill>
        <a:ln w="12700" cap="flat" cmpd="sng" algn="ctr">
          <a:solidFill>
            <a:schemeClr val="accent6">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100000"/>
            </a:lnSpc>
            <a:spcBef>
              <a:spcPct val="0"/>
            </a:spcBef>
            <a:spcAft>
              <a:spcPts val="0"/>
            </a:spcAft>
            <a:buNone/>
          </a:pPr>
          <a:r>
            <a:rPr lang="en-US" sz="1050" kern="1200" dirty="0">
              <a:latin typeface="Gill Sans MT" panose="020B0502020104020203" pitchFamily="34" charset="0"/>
            </a:rPr>
            <a:t>IF guiding principles ensure a focus on</a:t>
          </a:r>
        </a:p>
        <a:p>
          <a:pPr marL="0" lvl="0" indent="0" algn="ctr" defTabSz="466725">
            <a:lnSpc>
              <a:spcPct val="100000"/>
            </a:lnSpc>
            <a:spcBef>
              <a:spcPct val="0"/>
            </a:spcBef>
            <a:spcAft>
              <a:spcPts val="0"/>
            </a:spcAft>
            <a:buNone/>
          </a:pPr>
          <a:r>
            <a:rPr lang="en-US" sz="1050" kern="1200" dirty="0">
              <a:latin typeface="Gill Sans MT" panose="020B0502020104020203" pitchFamily="34" charset="0"/>
            </a:rPr>
            <a:t>scale,</a:t>
          </a:r>
        </a:p>
        <a:p>
          <a:pPr marL="0" lvl="0" indent="0" algn="ctr" defTabSz="466725">
            <a:lnSpc>
              <a:spcPct val="100000"/>
            </a:lnSpc>
            <a:spcBef>
              <a:spcPct val="0"/>
            </a:spcBef>
            <a:spcAft>
              <a:spcPts val="0"/>
            </a:spcAft>
            <a:buNone/>
          </a:pPr>
          <a:r>
            <a:rPr lang="en-US" sz="1050" kern="1200" dirty="0">
              <a:latin typeface="Gill Sans MT" panose="020B0502020104020203" pitchFamily="34" charset="0"/>
            </a:rPr>
            <a:t>universal and inclusive coverage,</a:t>
          </a:r>
        </a:p>
        <a:p>
          <a:pPr marL="0" lvl="0" indent="0" algn="ctr" defTabSz="466725">
            <a:lnSpc>
              <a:spcPct val="100000"/>
            </a:lnSpc>
            <a:spcBef>
              <a:spcPct val="0"/>
            </a:spcBef>
            <a:spcAft>
              <a:spcPts val="0"/>
            </a:spcAft>
            <a:buNone/>
          </a:pPr>
          <a:r>
            <a:rPr lang="en-US" sz="1050" kern="1200" dirty="0">
              <a:latin typeface="Gill Sans MT" panose="020B0502020104020203" pitchFamily="34" charset="0"/>
            </a:rPr>
            <a:t>government leadership, and</a:t>
          </a:r>
        </a:p>
        <a:p>
          <a:pPr marL="0" lvl="0" indent="0" algn="ctr" defTabSz="466725">
            <a:lnSpc>
              <a:spcPct val="100000"/>
            </a:lnSpc>
            <a:spcBef>
              <a:spcPct val="0"/>
            </a:spcBef>
            <a:spcAft>
              <a:spcPts val="0"/>
            </a:spcAft>
            <a:buNone/>
          </a:pPr>
          <a:r>
            <a:rPr lang="en-US" sz="1050" kern="1200" dirty="0">
              <a:latin typeface="Gill Sans MT" panose="020B0502020104020203" pitchFamily="34" charset="0"/>
            </a:rPr>
            <a:t>sustainability;</a:t>
          </a:r>
        </a:p>
      </dsp:txBody>
      <dsp:txXfrm>
        <a:off x="54628" y="324417"/>
        <a:ext cx="1498094" cy="1790266"/>
      </dsp:txXfrm>
    </dsp:sp>
    <dsp:sp modelId="{FE52F7AE-999C-41CB-AF81-0B181A790FB9}">
      <dsp:nvSpPr>
        <dsp:cNvPr id="0" name=""/>
        <dsp:cNvSpPr/>
      </dsp:nvSpPr>
      <dsp:spPr>
        <a:xfrm>
          <a:off x="1758462" y="1022228"/>
          <a:ext cx="337357" cy="394645"/>
        </a:xfrm>
        <a:prstGeom prst="rightArrow">
          <a:avLst>
            <a:gd name="adj1" fmla="val 60000"/>
            <a:gd name="adj2" fmla="val 50000"/>
          </a:avLst>
        </a:prstGeom>
        <a:solidFill>
          <a:srgbClr val="BA0C2F"/>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66725">
            <a:lnSpc>
              <a:spcPct val="90000"/>
            </a:lnSpc>
            <a:spcBef>
              <a:spcPct val="0"/>
            </a:spcBef>
            <a:spcAft>
              <a:spcPct val="35000"/>
            </a:spcAft>
            <a:buNone/>
          </a:pPr>
          <a:endParaRPr lang="en-US" sz="1050" kern="1200">
            <a:latin typeface="Gill Sans MT" panose="020B0502020104020203" pitchFamily="34" charset="0"/>
          </a:endParaRPr>
        </a:p>
      </dsp:txBody>
      <dsp:txXfrm>
        <a:off x="1758462" y="1101157"/>
        <a:ext cx="236150" cy="236787"/>
      </dsp:txXfrm>
    </dsp:sp>
    <dsp:sp modelId="{FAA88AA5-7F0C-4201-9AF2-8D07DE4A72AD}">
      <dsp:nvSpPr>
        <dsp:cNvPr id="0" name=""/>
        <dsp:cNvSpPr/>
      </dsp:nvSpPr>
      <dsp:spPr>
        <a:xfrm>
          <a:off x="2235855" y="277809"/>
          <a:ext cx="1591310" cy="1883482"/>
        </a:xfrm>
        <a:prstGeom prst="roundRect">
          <a:avLst>
            <a:gd name="adj" fmla="val 10000"/>
          </a:avLst>
        </a:prstGeom>
        <a:solidFill>
          <a:schemeClr val="accent5">
            <a:lumMod val="60000"/>
            <a:lumOff val="40000"/>
          </a:schemeClr>
        </a:solidFill>
        <a:ln w="12700" cap="flat" cmpd="sng" algn="ctr">
          <a:solidFill>
            <a:schemeClr val="accent5">
              <a:lumMod val="60000"/>
              <a:lumOff val="4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100000"/>
            </a:lnSpc>
            <a:spcBef>
              <a:spcPct val="0"/>
            </a:spcBef>
            <a:spcAft>
              <a:spcPts val="0"/>
            </a:spcAft>
            <a:buNone/>
          </a:pPr>
          <a:r>
            <a:rPr lang="en-US" sz="1050" kern="1200" dirty="0">
              <a:latin typeface="Gill Sans MT" panose="020B0502020104020203" pitchFamily="34" charset="0"/>
            </a:rPr>
            <a:t>AND IF a national enabling environment for AWS and subnational building blocks are in place; </a:t>
          </a:r>
        </a:p>
      </dsp:txBody>
      <dsp:txXfrm>
        <a:off x="2282463" y="324417"/>
        <a:ext cx="1498094" cy="1790266"/>
      </dsp:txXfrm>
    </dsp:sp>
    <dsp:sp modelId="{0118B657-7416-4565-BD26-18A2E47D30B8}">
      <dsp:nvSpPr>
        <dsp:cNvPr id="0" name=""/>
        <dsp:cNvSpPr/>
      </dsp:nvSpPr>
      <dsp:spPr>
        <a:xfrm>
          <a:off x="3986298" y="1022228"/>
          <a:ext cx="337357" cy="394645"/>
        </a:xfrm>
        <a:prstGeom prst="rightArrow">
          <a:avLst>
            <a:gd name="adj1" fmla="val 60000"/>
            <a:gd name="adj2" fmla="val 50000"/>
          </a:avLst>
        </a:prstGeom>
        <a:solidFill>
          <a:srgbClr val="BA0C2F">
            <a:alpha val="7000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66725">
            <a:lnSpc>
              <a:spcPct val="90000"/>
            </a:lnSpc>
            <a:spcBef>
              <a:spcPct val="0"/>
            </a:spcBef>
            <a:spcAft>
              <a:spcPct val="35000"/>
            </a:spcAft>
            <a:buNone/>
          </a:pPr>
          <a:endParaRPr lang="en-US" sz="1050" kern="1200">
            <a:solidFill>
              <a:schemeClr val="lt1"/>
            </a:solidFill>
            <a:latin typeface="Gill Sans MT" panose="020B0502020104020203" pitchFamily="34" charset="0"/>
          </a:endParaRPr>
        </a:p>
      </dsp:txBody>
      <dsp:txXfrm>
        <a:off x="3986298" y="1101157"/>
        <a:ext cx="236150" cy="236787"/>
      </dsp:txXfrm>
    </dsp:sp>
    <dsp:sp modelId="{18AF97CD-EFF4-40BE-AF7A-7231BD46A41A}">
      <dsp:nvSpPr>
        <dsp:cNvPr id="0" name=""/>
        <dsp:cNvSpPr/>
      </dsp:nvSpPr>
      <dsp:spPr>
        <a:xfrm>
          <a:off x="4463691" y="277809"/>
          <a:ext cx="1591310" cy="1883482"/>
        </a:xfrm>
        <a:prstGeom prst="roundRect">
          <a:avLst>
            <a:gd name="adj" fmla="val 10000"/>
          </a:avLst>
        </a:prstGeom>
        <a:solidFill>
          <a:schemeClr val="tx2">
            <a:lumMod val="75000"/>
          </a:schemeClr>
        </a:solidFill>
        <a:ln w="12700" cap="flat" cmpd="sng" algn="ctr">
          <a:solidFill>
            <a:schemeClr val="tx2">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100000"/>
            </a:lnSpc>
            <a:spcBef>
              <a:spcPct val="0"/>
            </a:spcBef>
            <a:spcAft>
              <a:spcPts val="0"/>
            </a:spcAft>
            <a:buNone/>
          </a:pPr>
          <a:r>
            <a:rPr lang="en-US" sz="1050" kern="1200" dirty="0">
              <a:latin typeface="Gill Sans MT" panose="020B0502020104020203" pitchFamily="34" charset="0"/>
            </a:rPr>
            <a:t>AND IF a range of proven, available sanitation and hygiene interventions, products, and services exist that can be applied in the administrative area; </a:t>
          </a:r>
        </a:p>
      </dsp:txBody>
      <dsp:txXfrm>
        <a:off x="4510299" y="324417"/>
        <a:ext cx="1498094" cy="1790266"/>
      </dsp:txXfrm>
    </dsp:sp>
    <dsp:sp modelId="{8E0F0E89-8674-4963-8594-C0EFB6C41EAE}">
      <dsp:nvSpPr>
        <dsp:cNvPr id="0" name=""/>
        <dsp:cNvSpPr/>
      </dsp:nvSpPr>
      <dsp:spPr>
        <a:xfrm>
          <a:off x="6214133" y="1022228"/>
          <a:ext cx="337357" cy="394645"/>
        </a:xfrm>
        <a:prstGeom prst="rightArrow">
          <a:avLst>
            <a:gd name="adj1" fmla="val 60000"/>
            <a:gd name="adj2" fmla="val 50000"/>
          </a:avLst>
        </a:prstGeom>
        <a:solidFill>
          <a:srgbClr val="BA0C2F">
            <a:alpha val="4500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66725">
            <a:lnSpc>
              <a:spcPct val="90000"/>
            </a:lnSpc>
            <a:spcBef>
              <a:spcPct val="0"/>
            </a:spcBef>
            <a:spcAft>
              <a:spcPct val="35000"/>
            </a:spcAft>
            <a:buNone/>
          </a:pPr>
          <a:endParaRPr lang="en-US" sz="1050" kern="1200">
            <a:latin typeface="Gill Sans MT" panose="020B0502020104020203" pitchFamily="34" charset="0"/>
          </a:endParaRPr>
        </a:p>
      </dsp:txBody>
      <dsp:txXfrm>
        <a:off x="6214133" y="1101157"/>
        <a:ext cx="236150" cy="236787"/>
      </dsp:txXfrm>
    </dsp:sp>
    <dsp:sp modelId="{54E7985A-2DA1-489B-9A92-D072FB29D387}">
      <dsp:nvSpPr>
        <dsp:cNvPr id="0" name=""/>
        <dsp:cNvSpPr/>
      </dsp:nvSpPr>
      <dsp:spPr>
        <a:xfrm>
          <a:off x="6691526" y="277809"/>
          <a:ext cx="1664145" cy="1883482"/>
        </a:xfrm>
        <a:prstGeom prst="roundRect">
          <a:avLst>
            <a:gd name="adj" fmla="val 10000"/>
          </a:avLst>
        </a:prstGeom>
        <a:solidFill>
          <a:schemeClr val="bg2"/>
        </a:solidFill>
        <a:ln w="127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100000"/>
            </a:lnSpc>
            <a:spcBef>
              <a:spcPct val="0"/>
            </a:spcBef>
            <a:spcAft>
              <a:spcPts val="0"/>
            </a:spcAft>
            <a:buNone/>
          </a:pPr>
          <a:r>
            <a:rPr lang="en-US" sz="1050" kern="1200" dirty="0">
              <a:latin typeface="Gill Sans MT" panose="020B0502020104020203" pitchFamily="34" charset="0"/>
            </a:rPr>
            <a:t>THEN local government and implementing partners can ensure application of a mix of sanitation and hygiene interventions and services at scale, properly adapted for the different rural contexts and target populations, and adapted over time to achieve planned outcomes;</a:t>
          </a:r>
        </a:p>
      </dsp:txBody>
      <dsp:txXfrm>
        <a:off x="6740267" y="326550"/>
        <a:ext cx="1566663" cy="1786000"/>
      </dsp:txXfrm>
    </dsp:sp>
    <dsp:sp modelId="{83017C9F-01C9-464D-81E4-0B1D499D8038}">
      <dsp:nvSpPr>
        <dsp:cNvPr id="0" name=""/>
        <dsp:cNvSpPr/>
      </dsp:nvSpPr>
      <dsp:spPr>
        <a:xfrm>
          <a:off x="8514803" y="1022228"/>
          <a:ext cx="337357" cy="394645"/>
        </a:xfrm>
        <a:prstGeom prst="rightArrow">
          <a:avLst>
            <a:gd name="adj1" fmla="val 60000"/>
            <a:gd name="adj2" fmla="val 50000"/>
          </a:avLst>
        </a:prstGeom>
        <a:solidFill>
          <a:srgbClr val="BA0C2F">
            <a:alpha val="2500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66725">
            <a:lnSpc>
              <a:spcPct val="90000"/>
            </a:lnSpc>
            <a:spcBef>
              <a:spcPct val="0"/>
            </a:spcBef>
            <a:spcAft>
              <a:spcPct val="35000"/>
            </a:spcAft>
            <a:buNone/>
          </a:pPr>
          <a:endParaRPr lang="en-US" sz="1050" kern="1200">
            <a:latin typeface="Gill Sans MT" panose="020B0502020104020203" pitchFamily="34" charset="0"/>
          </a:endParaRPr>
        </a:p>
      </dsp:txBody>
      <dsp:txXfrm>
        <a:off x="8514803" y="1101157"/>
        <a:ext cx="236150" cy="236787"/>
      </dsp:txXfrm>
    </dsp:sp>
    <dsp:sp modelId="{14C3DA66-FAC4-4CE0-AC42-95167BA2A1A5}">
      <dsp:nvSpPr>
        <dsp:cNvPr id="0" name=""/>
        <dsp:cNvSpPr/>
      </dsp:nvSpPr>
      <dsp:spPr>
        <a:xfrm>
          <a:off x="8992196" y="277809"/>
          <a:ext cx="1591310" cy="1883482"/>
        </a:xfrm>
        <a:prstGeom prst="roundRect">
          <a:avLst>
            <a:gd name="adj" fmla="val 10000"/>
          </a:avLst>
        </a:prstGeom>
        <a:solidFill>
          <a:schemeClr val="accent3"/>
        </a:solidFill>
        <a:ln w="12700" cap="flat" cmpd="sng" algn="ctr">
          <a:solidFill>
            <a:schemeClr val="accent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en-US" sz="1050" kern="1200" dirty="0">
              <a:latin typeface="Gill Sans MT" panose="020B0502020104020203" pitchFamily="34" charset="0"/>
            </a:rPr>
            <a:t>AND IF THAT, THEN behaviors, demand and access to  appropriate, affordable materials and markets across all population groups can lead to universal, equitable, and sustained area-wide use of safe sanitation services and practice of hygiene. </a:t>
          </a:r>
        </a:p>
      </dsp:txBody>
      <dsp:txXfrm>
        <a:off x="9038804" y="324417"/>
        <a:ext cx="1498094" cy="179026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B91D3A-1888-4D9F-8F51-3BB28F2FE5ED}">
      <dsp:nvSpPr>
        <dsp:cNvPr id="0" name=""/>
        <dsp:cNvSpPr/>
      </dsp:nvSpPr>
      <dsp:spPr>
        <a:xfrm>
          <a:off x="8020" y="156730"/>
          <a:ext cx="1591310" cy="2125641"/>
        </a:xfrm>
        <a:prstGeom prst="roundRect">
          <a:avLst>
            <a:gd name="adj" fmla="val 10000"/>
          </a:avLst>
        </a:prstGeom>
        <a:solidFill>
          <a:schemeClr val="accent6">
            <a:lumMod val="75000"/>
          </a:schemeClr>
        </a:solidFill>
        <a:ln w="12700" cap="flat" cmpd="sng" algn="ctr">
          <a:solidFill>
            <a:schemeClr val="accent6">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100000"/>
            </a:lnSpc>
            <a:spcBef>
              <a:spcPct val="0"/>
            </a:spcBef>
            <a:spcAft>
              <a:spcPts val="0"/>
            </a:spcAft>
            <a:buNone/>
          </a:pPr>
          <a:r>
            <a:rPr lang="en-US" sz="1100" kern="1200" dirty="0">
              <a:latin typeface="Gill Sans MT" panose="020B0502020104020203" pitchFamily="34" charset="0"/>
            </a:rPr>
            <a:t>IF guiding principles ensure a focus on</a:t>
          </a:r>
        </a:p>
        <a:p>
          <a:pPr marL="0" lvl="0" indent="0" algn="ctr" defTabSz="488950">
            <a:lnSpc>
              <a:spcPct val="100000"/>
            </a:lnSpc>
            <a:spcBef>
              <a:spcPct val="0"/>
            </a:spcBef>
            <a:spcAft>
              <a:spcPts val="0"/>
            </a:spcAft>
            <a:buNone/>
          </a:pPr>
          <a:r>
            <a:rPr lang="en-US" sz="1100" kern="1200" dirty="0">
              <a:latin typeface="Gill Sans MT" panose="020B0502020104020203" pitchFamily="34" charset="0"/>
            </a:rPr>
            <a:t>scale,</a:t>
          </a:r>
        </a:p>
        <a:p>
          <a:pPr marL="0" lvl="0" indent="0" algn="ctr" defTabSz="488950">
            <a:lnSpc>
              <a:spcPct val="100000"/>
            </a:lnSpc>
            <a:spcBef>
              <a:spcPct val="0"/>
            </a:spcBef>
            <a:spcAft>
              <a:spcPts val="0"/>
            </a:spcAft>
            <a:buNone/>
          </a:pPr>
          <a:r>
            <a:rPr lang="en-US" sz="1100" kern="1200" dirty="0">
              <a:latin typeface="Gill Sans MT" panose="020B0502020104020203" pitchFamily="34" charset="0"/>
            </a:rPr>
            <a:t>universal and inclusive coverage,</a:t>
          </a:r>
        </a:p>
        <a:p>
          <a:pPr marL="0" lvl="0" indent="0" algn="ctr" defTabSz="488950">
            <a:lnSpc>
              <a:spcPct val="100000"/>
            </a:lnSpc>
            <a:spcBef>
              <a:spcPct val="0"/>
            </a:spcBef>
            <a:spcAft>
              <a:spcPts val="0"/>
            </a:spcAft>
            <a:buNone/>
          </a:pPr>
          <a:r>
            <a:rPr lang="en-US" sz="1100" kern="1200" dirty="0">
              <a:latin typeface="Gill Sans MT" panose="020B0502020104020203" pitchFamily="34" charset="0"/>
            </a:rPr>
            <a:t>government leadership, and</a:t>
          </a:r>
        </a:p>
        <a:p>
          <a:pPr marL="0" lvl="0" indent="0" algn="ctr" defTabSz="488950">
            <a:lnSpc>
              <a:spcPct val="100000"/>
            </a:lnSpc>
            <a:spcBef>
              <a:spcPct val="0"/>
            </a:spcBef>
            <a:spcAft>
              <a:spcPts val="0"/>
            </a:spcAft>
            <a:buNone/>
          </a:pPr>
          <a:r>
            <a:rPr lang="en-US" sz="1100" kern="1200" dirty="0">
              <a:latin typeface="Gill Sans MT" panose="020B0502020104020203" pitchFamily="34" charset="0"/>
            </a:rPr>
            <a:t>sustainability;</a:t>
          </a:r>
        </a:p>
      </dsp:txBody>
      <dsp:txXfrm>
        <a:off x="54628" y="203338"/>
        <a:ext cx="1498094" cy="2032425"/>
      </dsp:txXfrm>
    </dsp:sp>
    <dsp:sp modelId="{FE52F7AE-999C-41CB-AF81-0B181A790FB9}">
      <dsp:nvSpPr>
        <dsp:cNvPr id="0" name=""/>
        <dsp:cNvSpPr/>
      </dsp:nvSpPr>
      <dsp:spPr>
        <a:xfrm>
          <a:off x="1758462" y="1022228"/>
          <a:ext cx="337357" cy="394645"/>
        </a:xfrm>
        <a:prstGeom prst="rightArrow">
          <a:avLst>
            <a:gd name="adj1" fmla="val 60000"/>
            <a:gd name="adj2" fmla="val 50000"/>
          </a:avLst>
        </a:prstGeom>
        <a:solidFill>
          <a:srgbClr val="BA0C2F"/>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latin typeface="Gill Sans MT" panose="020B0502020104020203" pitchFamily="34" charset="0"/>
          </a:endParaRPr>
        </a:p>
      </dsp:txBody>
      <dsp:txXfrm>
        <a:off x="1758462" y="1101157"/>
        <a:ext cx="236150" cy="236787"/>
      </dsp:txXfrm>
    </dsp:sp>
    <dsp:sp modelId="{FAA88AA5-7F0C-4201-9AF2-8D07DE4A72AD}">
      <dsp:nvSpPr>
        <dsp:cNvPr id="0" name=""/>
        <dsp:cNvSpPr/>
      </dsp:nvSpPr>
      <dsp:spPr>
        <a:xfrm>
          <a:off x="2235855" y="156730"/>
          <a:ext cx="1591310" cy="2125641"/>
        </a:xfrm>
        <a:prstGeom prst="roundRect">
          <a:avLst>
            <a:gd name="adj" fmla="val 10000"/>
          </a:avLst>
        </a:prstGeom>
        <a:solidFill>
          <a:schemeClr val="accent5">
            <a:lumMod val="60000"/>
            <a:lumOff val="40000"/>
          </a:schemeClr>
        </a:solidFill>
        <a:ln w="12700" cap="flat" cmpd="sng" algn="ctr">
          <a:solidFill>
            <a:schemeClr val="accent5">
              <a:lumMod val="60000"/>
              <a:lumOff val="4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100000"/>
            </a:lnSpc>
            <a:spcBef>
              <a:spcPct val="0"/>
            </a:spcBef>
            <a:spcAft>
              <a:spcPts val="0"/>
            </a:spcAft>
            <a:buNone/>
          </a:pPr>
          <a:r>
            <a:rPr lang="en-US" sz="1100" kern="1200" dirty="0">
              <a:latin typeface="Gill Sans MT" panose="020B0502020104020203" pitchFamily="34" charset="0"/>
            </a:rPr>
            <a:t>AND IF a national enabling environment for AWS and subnational building blocks are in place; </a:t>
          </a:r>
        </a:p>
      </dsp:txBody>
      <dsp:txXfrm>
        <a:off x="2282463" y="203338"/>
        <a:ext cx="1498094" cy="2032425"/>
      </dsp:txXfrm>
    </dsp:sp>
    <dsp:sp modelId="{0118B657-7416-4565-BD26-18A2E47D30B8}">
      <dsp:nvSpPr>
        <dsp:cNvPr id="0" name=""/>
        <dsp:cNvSpPr/>
      </dsp:nvSpPr>
      <dsp:spPr>
        <a:xfrm>
          <a:off x="3986298" y="1022228"/>
          <a:ext cx="337357" cy="394645"/>
        </a:xfrm>
        <a:prstGeom prst="rightArrow">
          <a:avLst>
            <a:gd name="adj1" fmla="val 60000"/>
            <a:gd name="adj2" fmla="val 50000"/>
          </a:avLst>
        </a:prstGeom>
        <a:solidFill>
          <a:srgbClr val="BA0C2F">
            <a:alpha val="7000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solidFill>
              <a:schemeClr val="lt1"/>
            </a:solidFill>
            <a:latin typeface="Gill Sans MT" panose="020B0502020104020203" pitchFamily="34" charset="0"/>
          </a:endParaRPr>
        </a:p>
      </dsp:txBody>
      <dsp:txXfrm>
        <a:off x="3986298" y="1101157"/>
        <a:ext cx="236150" cy="236787"/>
      </dsp:txXfrm>
    </dsp:sp>
    <dsp:sp modelId="{18AF97CD-EFF4-40BE-AF7A-7231BD46A41A}">
      <dsp:nvSpPr>
        <dsp:cNvPr id="0" name=""/>
        <dsp:cNvSpPr/>
      </dsp:nvSpPr>
      <dsp:spPr>
        <a:xfrm>
          <a:off x="4463691" y="156730"/>
          <a:ext cx="1591310" cy="2125641"/>
        </a:xfrm>
        <a:prstGeom prst="roundRect">
          <a:avLst>
            <a:gd name="adj" fmla="val 10000"/>
          </a:avLst>
        </a:prstGeom>
        <a:solidFill>
          <a:schemeClr val="tx2">
            <a:lumMod val="75000"/>
          </a:schemeClr>
        </a:solidFill>
        <a:ln w="12700" cap="flat" cmpd="sng" algn="ctr">
          <a:solidFill>
            <a:schemeClr val="tx2">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100000"/>
            </a:lnSpc>
            <a:spcBef>
              <a:spcPct val="0"/>
            </a:spcBef>
            <a:spcAft>
              <a:spcPts val="0"/>
            </a:spcAft>
            <a:buNone/>
          </a:pPr>
          <a:r>
            <a:rPr lang="en-US" sz="1100" kern="1200" dirty="0">
              <a:latin typeface="Gill Sans MT" panose="020B0502020104020203" pitchFamily="34" charset="0"/>
            </a:rPr>
            <a:t>AND IF a range of proven, available sanitation and hygiene interventions, products, and services exist that can be applied in the administrative area; </a:t>
          </a:r>
        </a:p>
      </dsp:txBody>
      <dsp:txXfrm>
        <a:off x="4510299" y="203338"/>
        <a:ext cx="1498094" cy="2032425"/>
      </dsp:txXfrm>
    </dsp:sp>
    <dsp:sp modelId="{8E0F0E89-8674-4963-8594-C0EFB6C41EAE}">
      <dsp:nvSpPr>
        <dsp:cNvPr id="0" name=""/>
        <dsp:cNvSpPr/>
      </dsp:nvSpPr>
      <dsp:spPr>
        <a:xfrm>
          <a:off x="6214133" y="1022228"/>
          <a:ext cx="337357" cy="394645"/>
        </a:xfrm>
        <a:prstGeom prst="rightArrow">
          <a:avLst>
            <a:gd name="adj1" fmla="val 60000"/>
            <a:gd name="adj2" fmla="val 50000"/>
          </a:avLst>
        </a:prstGeom>
        <a:solidFill>
          <a:srgbClr val="BA0C2F">
            <a:alpha val="4500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latin typeface="Gill Sans MT" panose="020B0502020104020203" pitchFamily="34" charset="0"/>
          </a:endParaRPr>
        </a:p>
      </dsp:txBody>
      <dsp:txXfrm>
        <a:off x="6214133" y="1101157"/>
        <a:ext cx="236150" cy="236787"/>
      </dsp:txXfrm>
    </dsp:sp>
    <dsp:sp modelId="{54E7985A-2DA1-489B-9A92-D072FB29D387}">
      <dsp:nvSpPr>
        <dsp:cNvPr id="0" name=""/>
        <dsp:cNvSpPr/>
      </dsp:nvSpPr>
      <dsp:spPr>
        <a:xfrm>
          <a:off x="6691526" y="156730"/>
          <a:ext cx="1664145" cy="2125641"/>
        </a:xfrm>
        <a:prstGeom prst="roundRect">
          <a:avLst>
            <a:gd name="adj" fmla="val 10000"/>
          </a:avLst>
        </a:prstGeom>
        <a:solidFill>
          <a:schemeClr val="bg2"/>
        </a:solidFill>
        <a:ln w="127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100000"/>
            </a:lnSpc>
            <a:spcBef>
              <a:spcPct val="0"/>
            </a:spcBef>
            <a:spcAft>
              <a:spcPts val="0"/>
            </a:spcAft>
            <a:buNone/>
          </a:pPr>
          <a:r>
            <a:rPr lang="en-US" sz="1100" kern="1200" dirty="0">
              <a:latin typeface="Gill Sans MT" panose="020B0502020104020203" pitchFamily="34" charset="0"/>
            </a:rPr>
            <a:t>THEN local government and implementing partners can ensure application of a mix of sanitation and hygiene interventions and services at scale, properly adapted for the different rural contexts and target populations, and adapted over time to achieve planned outcomes;</a:t>
          </a:r>
        </a:p>
      </dsp:txBody>
      <dsp:txXfrm>
        <a:off x="6740267" y="205471"/>
        <a:ext cx="1566663" cy="2028159"/>
      </dsp:txXfrm>
    </dsp:sp>
    <dsp:sp modelId="{83017C9F-01C9-464D-81E4-0B1D499D8038}">
      <dsp:nvSpPr>
        <dsp:cNvPr id="0" name=""/>
        <dsp:cNvSpPr/>
      </dsp:nvSpPr>
      <dsp:spPr>
        <a:xfrm>
          <a:off x="8514803" y="1022228"/>
          <a:ext cx="337357" cy="394645"/>
        </a:xfrm>
        <a:prstGeom prst="rightArrow">
          <a:avLst>
            <a:gd name="adj1" fmla="val 60000"/>
            <a:gd name="adj2" fmla="val 50000"/>
          </a:avLst>
        </a:prstGeom>
        <a:solidFill>
          <a:srgbClr val="BA0C2F">
            <a:alpha val="2500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latin typeface="Gill Sans MT" panose="020B0502020104020203" pitchFamily="34" charset="0"/>
          </a:endParaRPr>
        </a:p>
      </dsp:txBody>
      <dsp:txXfrm>
        <a:off x="8514803" y="1101157"/>
        <a:ext cx="236150" cy="236787"/>
      </dsp:txXfrm>
    </dsp:sp>
    <dsp:sp modelId="{14C3DA66-FAC4-4CE0-AC42-95167BA2A1A5}">
      <dsp:nvSpPr>
        <dsp:cNvPr id="0" name=""/>
        <dsp:cNvSpPr/>
      </dsp:nvSpPr>
      <dsp:spPr>
        <a:xfrm>
          <a:off x="8992196" y="156730"/>
          <a:ext cx="1591310" cy="2125641"/>
        </a:xfrm>
        <a:prstGeom prst="roundRect">
          <a:avLst>
            <a:gd name="adj" fmla="val 10000"/>
          </a:avLst>
        </a:prstGeom>
        <a:solidFill>
          <a:schemeClr val="accent3"/>
        </a:solidFill>
        <a:ln w="12700" cap="flat" cmpd="sng" algn="ctr">
          <a:solidFill>
            <a:schemeClr val="accent3"/>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Gill Sans MT" panose="020B0502020104020203" pitchFamily="34" charset="0"/>
            </a:rPr>
            <a:t>AND IF THAT, THEN behaviors, demand and access to  appropriate, affordable materials and markets across all population groups can lead to universal, equitable, and sustained area-wide use of safe sanitation services and practice of hygiene. </a:t>
          </a:r>
        </a:p>
      </dsp:txBody>
      <dsp:txXfrm>
        <a:off x="9038804" y="203338"/>
        <a:ext cx="1498094" cy="203242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C8663A-C604-4BDA-BA48-DFAE3DD2CC29}">
      <dsp:nvSpPr>
        <dsp:cNvPr id="0" name=""/>
        <dsp:cNvSpPr/>
      </dsp:nvSpPr>
      <dsp:spPr>
        <a:xfrm>
          <a:off x="7" y="77663"/>
          <a:ext cx="2121463" cy="1272878"/>
        </a:xfrm>
        <a:prstGeom prst="rect">
          <a:avLst/>
        </a:prstGeom>
        <a:solidFill>
          <a:schemeClr val="accent6">
            <a:lumMod val="60000"/>
            <a:lumOff val="40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rgbClr val="4A3C31"/>
              </a:solidFill>
              <a:latin typeface="Quicksand" pitchFamily="2" charset="0"/>
            </a:rPr>
            <a:t>DISTRICT</a:t>
          </a:r>
        </a:p>
      </dsp:txBody>
      <dsp:txXfrm>
        <a:off x="7" y="77663"/>
        <a:ext cx="2121463" cy="1272878"/>
      </dsp:txXfrm>
    </dsp:sp>
    <dsp:sp modelId="{C623B997-F785-41ED-A1CB-A26E69D382BF}">
      <dsp:nvSpPr>
        <dsp:cNvPr id="0" name=""/>
        <dsp:cNvSpPr/>
      </dsp:nvSpPr>
      <dsp:spPr>
        <a:xfrm>
          <a:off x="3496540" y="0"/>
          <a:ext cx="2121463" cy="1272878"/>
        </a:xfrm>
        <a:prstGeom prst="rect">
          <a:avLst/>
        </a:prstGeom>
        <a:solidFill>
          <a:schemeClr val="accent6">
            <a:lumMod val="40000"/>
            <a:lumOff val="60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solidFill>
                <a:srgbClr val="4A3C31"/>
              </a:solidFill>
              <a:latin typeface="Quicksand" pitchFamily="2" charset="0"/>
            </a:rPr>
            <a:t>Availing the building in a pro-business area</a:t>
          </a:r>
        </a:p>
      </dsp:txBody>
      <dsp:txXfrm>
        <a:off x="3496540" y="0"/>
        <a:ext cx="2121463" cy="1272878"/>
      </dsp:txXfrm>
    </dsp:sp>
    <dsp:sp modelId="{0C5CAF17-BFEA-45EE-A58B-C6D1865B31DD}">
      <dsp:nvSpPr>
        <dsp:cNvPr id="0" name=""/>
        <dsp:cNvSpPr/>
      </dsp:nvSpPr>
      <dsp:spPr>
        <a:xfrm>
          <a:off x="6502102" y="0"/>
          <a:ext cx="2121463" cy="1272878"/>
        </a:xfrm>
        <a:prstGeom prst="rect">
          <a:avLst/>
        </a:prstGeom>
        <a:solidFill>
          <a:schemeClr val="accent6">
            <a:lumMod val="40000"/>
            <a:lumOff val="60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solidFill>
                <a:srgbClr val="4A3C31"/>
              </a:solidFill>
              <a:latin typeface="Quicksand" pitchFamily="2" charset="0"/>
            </a:rPr>
            <a:t>Selection &amp; contracting the DSC/Community showroom operator</a:t>
          </a:r>
        </a:p>
      </dsp:txBody>
      <dsp:txXfrm>
        <a:off x="6502102" y="0"/>
        <a:ext cx="2121463" cy="1272878"/>
      </dsp:txXfrm>
    </dsp:sp>
    <dsp:sp modelId="{69A43A35-1734-4DE4-BE56-C20564846393}">
      <dsp:nvSpPr>
        <dsp:cNvPr id="0" name=""/>
        <dsp:cNvSpPr/>
      </dsp:nvSpPr>
      <dsp:spPr>
        <a:xfrm>
          <a:off x="7" y="1505795"/>
          <a:ext cx="2121463" cy="1272878"/>
        </a:xfrm>
        <a:prstGeom prst="rect">
          <a:avLst/>
        </a:prstGeom>
        <a:solidFill>
          <a:schemeClr val="accent3">
            <a:lumMod val="75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chemeClr val="bg1"/>
              </a:solidFill>
              <a:latin typeface="Quicksand" pitchFamily="2" charset="0"/>
            </a:rPr>
            <a:t>WATER FOR PEOPLE</a:t>
          </a:r>
        </a:p>
        <a:p>
          <a:pPr marL="0" lvl="0" indent="0" algn="ctr" defTabSz="577850">
            <a:lnSpc>
              <a:spcPct val="90000"/>
            </a:lnSpc>
            <a:spcBef>
              <a:spcPct val="0"/>
            </a:spcBef>
            <a:spcAft>
              <a:spcPct val="35000"/>
            </a:spcAft>
            <a:buNone/>
          </a:pPr>
          <a:r>
            <a:rPr lang="en-US" sz="1300" b="1" kern="1200" dirty="0">
              <a:solidFill>
                <a:schemeClr val="bg1"/>
              </a:solidFill>
              <a:latin typeface="Quicksand" pitchFamily="2" charset="0"/>
            </a:rPr>
            <a:t>Other Partners</a:t>
          </a:r>
        </a:p>
      </dsp:txBody>
      <dsp:txXfrm>
        <a:off x="7" y="1505795"/>
        <a:ext cx="2121463" cy="1272878"/>
      </dsp:txXfrm>
    </dsp:sp>
    <dsp:sp modelId="{A94DB5AB-AFCE-49F7-A3E7-D954359CEEE4}">
      <dsp:nvSpPr>
        <dsp:cNvPr id="0" name=""/>
        <dsp:cNvSpPr/>
      </dsp:nvSpPr>
      <dsp:spPr>
        <a:xfrm>
          <a:off x="3496540" y="1445570"/>
          <a:ext cx="2121463" cy="1272878"/>
        </a:xfrm>
        <a:prstGeom prst="rect">
          <a:avLst/>
        </a:prstGeom>
        <a:solidFill>
          <a:schemeClr val="accent3">
            <a:lumMod val="60000"/>
            <a:lumOff val="40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i="1" kern="1200" dirty="0">
              <a:solidFill>
                <a:srgbClr val="4A3C31"/>
              </a:solidFill>
              <a:latin typeface="Quicksand" pitchFamily="2" charset="0"/>
            </a:rPr>
            <a:t>Financial support</a:t>
          </a:r>
          <a:endParaRPr lang="en-US" sz="1300" kern="1200" dirty="0">
            <a:solidFill>
              <a:srgbClr val="4A3C31"/>
            </a:solidFill>
            <a:latin typeface="Quicksand" pitchFamily="2" charset="0"/>
          </a:endParaRPr>
        </a:p>
      </dsp:txBody>
      <dsp:txXfrm>
        <a:off x="3496540" y="1445570"/>
        <a:ext cx="2121463" cy="1272878"/>
      </dsp:txXfrm>
    </dsp:sp>
    <dsp:sp modelId="{636702A7-8F16-4A00-92C6-319E1C4444B1}">
      <dsp:nvSpPr>
        <dsp:cNvPr id="0" name=""/>
        <dsp:cNvSpPr/>
      </dsp:nvSpPr>
      <dsp:spPr>
        <a:xfrm>
          <a:off x="6502760" y="1436240"/>
          <a:ext cx="2121463" cy="1272878"/>
        </a:xfrm>
        <a:prstGeom prst="rect">
          <a:avLst/>
        </a:prstGeom>
        <a:solidFill>
          <a:schemeClr val="accent3">
            <a:lumMod val="60000"/>
            <a:lumOff val="40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solidFill>
                <a:srgbClr val="4A3C31"/>
              </a:solidFill>
              <a:latin typeface="Quicksand" pitchFamily="2" charset="0"/>
            </a:rPr>
            <a:t>Rehabilitation of the building &amp; installation of latrine prototypes</a:t>
          </a:r>
        </a:p>
      </dsp:txBody>
      <dsp:txXfrm>
        <a:off x="6502760" y="1436240"/>
        <a:ext cx="2121463" cy="1272878"/>
      </dsp:txXfrm>
    </dsp:sp>
    <dsp:sp modelId="{C10584AF-250A-4E8A-AFE5-22A353A7B3E9}">
      <dsp:nvSpPr>
        <dsp:cNvPr id="0" name=""/>
        <dsp:cNvSpPr/>
      </dsp:nvSpPr>
      <dsp:spPr>
        <a:xfrm>
          <a:off x="3553692" y="2972095"/>
          <a:ext cx="2121463" cy="1272878"/>
        </a:xfrm>
        <a:prstGeom prst="rect">
          <a:avLst/>
        </a:prstGeom>
        <a:solidFill>
          <a:schemeClr val="accent3">
            <a:lumMod val="60000"/>
            <a:lumOff val="40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i="1" kern="1200" dirty="0">
              <a:solidFill>
                <a:srgbClr val="4A3C31"/>
              </a:solidFill>
              <a:latin typeface="Quicksand" pitchFamily="2" charset="0"/>
            </a:rPr>
            <a:t>Technical support</a:t>
          </a:r>
          <a:endParaRPr lang="en-US" sz="1300" kern="1200" dirty="0">
            <a:solidFill>
              <a:srgbClr val="4A3C31"/>
            </a:solidFill>
            <a:latin typeface="Quicksand" pitchFamily="2" charset="0"/>
          </a:endParaRPr>
        </a:p>
      </dsp:txBody>
      <dsp:txXfrm>
        <a:off x="3553692" y="2972095"/>
        <a:ext cx="2121463" cy="1272878"/>
      </dsp:txXfrm>
    </dsp:sp>
    <dsp:sp modelId="{34098DE3-2FA3-4B73-85B6-8AB76256FAFE}">
      <dsp:nvSpPr>
        <dsp:cNvPr id="0" name=""/>
        <dsp:cNvSpPr/>
      </dsp:nvSpPr>
      <dsp:spPr>
        <a:xfrm>
          <a:off x="7" y="2972095"/>
          <a:ext cx="2121463" cy="1272878"/>
        </a:xfrm>
        <a:prstGeom prst="rect">
          <a:avLst/>
        </a:prstGeom>
        <a:solidFill>
          <a:schemeClr val="accent3">
            <a:lumMod val="60000"/>
            <a:lumOff val="40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rgbClr val="4A3C31"/>
              </a:solidFill>
              <a:latin typeface="Quicksand" pitchFamily="2" charset="0"/>
            </a:rPr>
            <a:t>Capacity building (Financial mgt)</a:t>
          </a:r>
        </a:p>
      </dsp:txBody>
      <dsp:txXfrm>
        <a:off x="7" y="2972095"/>
        <a:ext cx="2121463" cy="1272878"/>
      </dsp:txXfrm>
    </dsp:sp>
    <dsp:sp modelId="{24B769F4-FB06-4043-B745-7D710C1F8FB6}">
      <dsp:nvSpPr>
        <dsp:cNvPr id="0" name=""/>
        <dsp:cNvSpPr/>
      </dsp:nvSpPr>
      <dsp:spPr>
        <a:xfrm>
          <a:off x="6474183" y="2927642"/>
          <a:ext cx="2121463" cy="1272878"/>
        </a:xfrm>
        <a:prstGeom prst="rect">
          <a:avLst/>
        </a:prstGeom>
        <a:solidFill>
          <a:schemeClr val="accent3">
            <a:lumMod val="60000"/>
            <a:lumOff val="40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solidFill>
                <a:srgbClr val="4A3C31"/>
              </a:solidFill>
              <a:latin typeface="Quicksand" pitchFamily="2" charset="0"/>
            </a:rPr>
            <a:t>Business linkage with WASH suppliers/manufacturers</a:t>
          </a:r>
        </a:p>
      </dsp:txBody>
      <dsp:txXfrm>
        <a:off x="6474183" y="2927642"/>
        <a:ext cx="2121463" cy="127287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4A4FD9-5F7B-4F8D-B219-556B247677A2}">
      <dsp:nvSpPr>
        <dsp:cNvPr id="0" name=""/>
        <dsp:cNvSpPr/>
      </dsp:nvSpPr>
      <dsp:spPr>
        <a:xfrm rot="5400000">
          <a:off x="6648878" y="-906685"/>
          <a:ext cx="1304030" cy="6871429"/>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FontTx/>
            <a:buNone/>
          </a:pPr>
          <a:r>
            <a:rPr lang="en-US" sz="2400" kern="1200" dirty="0">
              <a:latin typeface="Quicksand" pitchFamily="2" charset="0"/>
            </a:rPr>
            <a:t>District Sanitation Centers/showrooms are</a:t>
          </a:r>
        </a:p>
        <a:p>
          <a:pPr marL="228600" lvl="1" indent="-228600" algn="l" defTabSz="1066800">
            <a:lnSpc>
              <a:spcPct val="90000"/>
            </a:lnSpc>
            <a:spcBef>
              <a:spcPct val="0"/>
            </a:spcBef>
            <a:spcAft>
              <a:spcPct val="15000"/>
            </a:spcAft>
            <a:buFontTx/>
            <a:buNone/>
          </a:pPr>
          <a:r>
            <a:rPr lang="en-US" sz="2400" kern="1200" dirty="0">
              <a:latin typeface="Quicksand" pitchFamily="2" charset="0"/>
            </a:rPr>
            <a:t>playing a clear role in the Sanitation</a:t>
          </a:r>
        </a:p>
        <a:p>
          <a:pPr marL="228600" lvl="1" indent="-228600" algn="l" defTabSz="1066800">
            <a:lnSpc>
              <a:spcPct val="90000"/>
            </a:lnSpc>
            <a:spcBef>
              <a:spcPct val="0"/>
            </a:spcBef>
            <a:spcAft>
              <a:spcPct val="15000"/>
            </a:spcAft>
            <a:buFontTx/>
            <a:buNone/>
          </a:pPr>
          <a:r>
            <a:rPr lang="en-US" sz="2400" kern="1200" dirty="0">
              <a:latin typeface="Quicksand" pitchFamily="2" charset="0"/>
            </a:rPr>
            <a:t>Supply Chain</a:t>
          </a:r>
        </a:p>
      </dsp:txBody>
      <dsp:txXfrm rot="-5400000">
        <a:off x="3865179" y="1940671"/>
        <a:ext cx="6807772" cy="1176716"/>
      </dsp:txXfrm>
    </dsp:sp>
    <dsp:sp modelId="{34B44B0E-7F87-48CD-8634-72492E2ADD63}">
      <dsp:nvSpPr>
        <dsp:cNvPr id="0" name=""/>
        <dsp:cNvSpPr/>
      </dsp:nvSpPr>
      <dsp:spPr>
        <a:xfrm>
          <a:off x="0" y="0"/>
          <a:ext cx="3865178" cy="163003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b="0" kern="1200" dirty="0">
              <a:latin typeface="Quicksand"/>
            </a:rPr>
            <a:t>DSCs contribute to sanitation policy</a:t>
          </a:r>
          <a:endParaRPr lang="en-US" sz="2400" kern="1200" dirty="0">
            <a:latin typeface="Quicksand"/>
          </a:endParaRPr>
        </a:p>
      </dsp:txBody>
      <dsp:txXfrm>
        <a:off x="79572" y="79572"/>
        <a:ext cx="3706034" cy="1470894"/>
      </dsp:txXfrm>
    </dsp:sp>
    <dsp:sp modelId="{1555B2D0-CA6B-4735-8F29-5EBF74714ED8}">
      <dsp:nvSpPr>
        <dsp:cNvPr id="0" name=""/>
        <dsp:cNvSpPr/>
      </dsp:nvSpPr>
      <dsp:spPr>
        <a:xfrm rot="5400000">
          <a:off x="6648878" y="-2564030"/>
          <a:ext cx="1304030" cy="6871429"/>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1066800">
            <a:lnSpc>
              <a:spcPct val="90000"/>
            </a:lnSpc>
            <a:spcBef>
              <a:spcPct val="0"/>
            </a:spcBef>
            <a:spcAft>
              <a:spcPct val="15000"/>
            </a:spcAft>
            <a:buFontTx/>
            <a:buNone/>
          </a:pPr>
          <a:r>
            <a:rPr lang="en-US" sz="2400" kern="1200" dirty="0">
              <a:latin typeface="Quicksand" pitchFamily="2" charset="0"/>
            </a:rPr>
            <a:t>Positive impacts to achieve the Sanitation</a:t>
          </a:r>
        </a:p>
        <a:p>
          <a:pPr marL="228600" lvl="1" indent="-228600" algn="l" defTabSz="1066800">
            <a:lnSpc>
              <a:spcPct val="90000"/>
            </a:lnSpc>
            <a:spcBef>
              <a:spcPct val="0"/>
            </a:spcBef>
            <a:spcAft>
              <a:spcPct val="15000"/>
            </a:spcAft>
            <a:buFontTx/>
            <a:buNone/>
          </a:pPr>
          <a:r>
            <a:rPr lang="en-US" sz="2400" kern="1200" dirty="0">
              <a:latin typeface="Quicksand" pitchFamily="2" charset="0"/>
            </a:rPr>
            <a:t>policy objectives</a:t>
          </a:r>
        </a:p>
      </dsp:txBody>
      <dsp:txXfrm rot="-5400000">
        <a:off x="3865179" y="283326"/>
        <a:ext cx="6807772" cy="1176716"/>
      </dsp:txXfrm>
    </dsp:sp>
    <dsp:sp modelId="{770D3BB4-ADE5-49E4-98A1-8E9DD62D7ABE}">
      <dsp:nvSpPr>
        <dsp:cNvPr id="0" name=""/>
        <dsp:cNvSpPr/>
      </dsp:nvSpPr>
      <dsp:spPr>
        <a:xfrm>
          <a:off x="0" y="1714010"/>
          <a:ext cx="3865178" cy="163003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Quicksand"/>
            </a:rPr>
            <a:t>DSCs can strengthen the Sanitation Supply Chain</a:t>
          </a:r>
        </a:p>
      </dsp:txBody>
      <dsp:txXfrm>
        <a:off x="79572" y="1793582"/>
        <a:ext cx="3706034" cy="1470894"/>
      </dsp:txXfrm>
    </dsp:sp>
    <dsp:sp modelId="{89415A15-6A9E-4F36-B6A2-01A4A034B337}">
      <dsp:nvSpPr>
        <dsp:cNvPr id="0" name=""/>
        <dsp:cNvSpPr/>
      </dsp:nvSpPr>
      <dsp:spPr>
        <a:xfrm rot="5400000">
          <a:off x="6648878" y="804855"/>
          <a:ext cx="1304030" cy="6871429"/>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FontTx/>
            <a:buNone/>
          </a:pPr>
          <a:r>
            <a:rPr lang="en-US" sz="1600" kern="1200" dirty="0">
              <a:latin typeface="Quicksand" pitchFamily="2" charset="0"/>
            </a:rPr>
            <a:t>	WFP in collaboration with other actors committed to support the scale up of District Sanitation Centers and Sanitation Showrooms to become a clear supply chain for WASH from the manufacturers/suppliers to the community </a:t>
          </a:r>
        </a:p>
      </dsp:txBody>
      <dsp:txXfrm rot="-5400000">
        <a:off x="3865179" y="3652212"/>
        <a:ext cx="6807772" cy="1176716"/>
      </dsp:txXfrm>
    </dsp:sp>
    <dsp:sp modelId="{BB9DD9F6-3905-4B7B-9887-91CC9CFF6DC1}">
      <dsp:nvSpPr>
        <dsp:cNvPr id="0" name=""/>
        <dsp:cNvSpPr/>
      </dsp:nvSpPr>
      <dsp:spPr>
        <a:xfrm>
          <a:off x="0" y="3428020"/>
          <a:ext cx="3865178" cy="163003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GB" sz="2400" b="0" kern="1200" dirty="0">
              <a:latin typeface="Quicksand"/>
            </a:rPr>
            <a:t>There are partnerships to scale up</a:t>
          </a:r>
          <a:endParaRPr lang="en-US" sz="2400" kern="1200" dirty="0">
            <a:latin typeface="Quicksand"/>
          </a:endParaRPr>
        </a:p>
      </dsp:txBody>
      <dsp:txXfrm>
        <a:off x="79572" y="3507592"/>
        <a:ext cx="3706034" cy="147089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D023F7-A150-40D4-81B7-9EAE227B7383}">
      <dsp:nvSpPr>
        <dsp:cNvPr id="0" name=""/>
        <dsp:cNvSpPr/>
      </dsp:nvSpPr>
      <dsp:spPr>
        <a:xfrm>
          <a:off x="4948" y="70670"/>
          <a:ext cx="2354699" cy="1622388"/>
        </a:xfrm>
        <a:prstGeom prst="round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39000" b="-39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C08791E-8721-462E-AF36-BE91C5BE3C77}">
      <dsp:nvSpPr>
        <dsp:cNvPr id="0" name=""/>
        <dsp:cNvSpPr/>
      </dsp:nvSpPr>
      <dsp:spPr>
        <a:xfrm>
          <a:off x="4948" y="1693058"/>
          <a:ext cx="2354699" cy="8735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0" numCol="1" spcCol="1270" anchor="t" anchorCtr="0">
          <a:noAutofit/>
        </a:bodyPr>
        <a:lstStyle/>
        <a:p>
          <a:pPr marL="0" lvl="0" indent="0" algn="ctr" defTabSz="711200">
            <a:lnSpc>
              <a:spcPct val="90000"/>
            </a:lnSpc>
            <a:spcBef>
              <a:spcPct val="0"/>
            </a:spcBef>
            <a:spcAft>
              <a:spcPct val="35000"/>
            </a:spcAft>
            <a:buNone/>
          </a:pPr>
          <a:r>
            <a:rPr lang="en-IN" sz="1600" b="1" kern="1200" dirty="0">
              <a:solidFill>
                <a:schemeClr val="accent1">
                  <a:lumMod val="75000"/>
                </a:schemeClr>
              </a:solidFill>
              <a:latin typeface="Quicksand"/>
              <a:hlinkClick xmlns:r="http://schemas.openxmlformats.org/officeDocument/2006/relationships" r:id="rId2">
                <a:extLst>
                  <a:ext uri="{A12FA001-AC4F-418D-AE19-62706E023703}">
                    <ahyp:hlinkClr xmlns:ahyp="http://schemas.microsoft.com/office/drawing/2018/hyperlinkcolor" val="tx"/>
                  </a:ext>
                </a:extLst>
              </a:hlinkClick>
            </a:rPr>
            <a:t>Financing sanitation paper series</a:t>
          </a:r>
          <a:endParaRPr lang="en-IN" sz="1600" b="1" kern="1200" dirty="0">
            <a:solidFill>
              <a:schemeClr val="accent1">
                <a:lumMod val="75000"/>
              </a:schemeClr>
            </a:solidFill>
            <a:latin typeface="Quicksand"/>
          </a:endParaRPr>
        </a:p>
      </dsp:txBody>
      <dsp:txXfrm>
        <a:off x="4948" y="1693058"/>
        <a:ext cx="2354699" cy="873593"/>
      </dsp:txXfrm>
    </dsp:sp>
    <dsp:sp modelId="{D70EAE36-4FD9-4737-AC77-AADF3B9AD09C}">
      <dsp:nvSpPr>
        <dsp:cNvPr id="0" name=""/>
        <dsp:cNvSpPr/>
      </dsp:nvSpPr>
      <dsp:spPr>
        <a:xfrm>
          <a:off x="2595216" y="70670"/>
          <a:ext cx="2354699" cy="1622388"/>
        </a:xfrm>
        <a:prstGeom prst="round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4000" b="-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AFBE1DE-50AB-4C15-A001-18BE1CA66FD9}">
      <dsp:nvSpPr>
        <dsp:cNvPr id="0" name=""/>
        <dsp:cNvSpPr/>
      </dsp:nvSpPr>
      <dsp:spPr>
        <a:xfrm>
          <a:off x="2595216" y="1693058"/>
          <a:ext cx="2354699" cy="8735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0" numCol="1" spcCol="1270" anchor="t" anchorCtr="0">
          <a:noAutofit/>
        </a:bodyPr>
        <a:lstStyle/>
        <a:p>
          <a:pPr marL="0" lvl="0" indent="0" algn="ctr" defTabSz="711200">
            <a:lnSpc>
              <a:spcPct val="90000"/>
            </a:lnSpc>
            <a:spcBef>
              <a:spcPct val="0"/>
            </a:spcBef>
            <a:spcAft>
              <a:spcPct val="35000"/>
            </a:spcAft>
            <a:buNone/>
          </a:pPr>
          <a:r>
            <a:rPr lang="en-IN" sz="1600" b="1" kern="1200" dirty="0">
              <a:solidFill>
                <a:schemeClr val="accent1">
                  <a:lumMod val="75000"/>
                </a:schemeClr>
              </a:solidFill>
              <a:latin typeface="Quicksand"/>
            </a:rPr>
            <a:t>Immersion research on challenges with access to safely managed WASH in India</a:t>
          </a:r>
        </a:p>
      </dsp:txBody>
      <dsp:txXfrm>
        <a:off x="2595216" y="1693058"/>
        <a:ext cx="2354699" cy="873593"/>
      </dsp:txXfrm>
    </dsp:sp>
    <dsp:sp modelId="{88BDCD60-6DBA-41AB-BD47-C71285CDE89F}">
      <dsp:nvSpPr>
        <dsp:cNvPr id="0" name=""/>
        <dsp:cNvSpPr/>
      </dsp:nvSpPr>
      <dsp:spPr>
        <a:xfrm>
          <a:off x="5185485" y="70670"/>
          <a:ext cx="2354699" cy="1622388"/>
        </a:xfrm>
        <a:prstGeom prst="round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2000" r="-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8F18670-6476-449C-B341-C9205DE64DB1}">
      <dsp:nvSpPr>
        <dsp:cNvPr id="0" name=""/>
        <dsp:cNvSpPr/>
      </dsp:nvSpPr>
      <dsp:spPr>
        <a:xfrm>
          <a:off x="5185485" y="1693058"/>
          <a:ext cx="2354699" cy="8735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0" numCol="1" spcCol="1270" anchor="t" anchorCtr="0">
          <a:noAutofit/>
        </a:bodyPr>
        <a:lstStyle/>
        <a:p>
          <a:pPr marL="0" lvl="0" indent="0" algn="ctr" defTabSz="711200">
            <a:lnSpc>
              <a:spcPct val="90000"/>
            </a:lnSpc>
            <a:spcBef>
              <a:spcPct val="0"/>
            </a:spcBef>
            <a:spcAft>
              <a:spcPct val="35000"/>
            </a:spcAft>
            <a:buNone/>
          </a:pPr>
          <a:r>
            <a:rPr lang="en-IN" sz="1600" b="1" kern="1200" dirty="0">
              <a:solidFill>
                <a:schemeClr val="accent1">
                  <a:lumMod val="75000"/>
                </a:schemeClr>
              </a:solidFill>
              <a:latin typeface="Quicksand"/>
              <a:hlinkClick xmlns:r="http://schemas.openxmlformats.org/officeDocument/2006/relationships" r:id="rId5">
                <a:extLst>
                  <a:ext uri="{A12FA001-AC4F-418D-AE19-62706E023703}">
                    <ahyp:hlinkClr xmlns:ahyp="http://schemas.microsoft.com/office/drawing/2018/hyperlinkcolor" val="tx"/>
                  </a:ext>
                </a:extLst>
              </a:hlinkClick>
            </a:rPr>
            <a:t>Solid and Plastic Waste Assessment in Udaipur India</a:t>
          </a:r>
          <a:endParaRPr lang="en-IN" sz="1600" b="1" kern="1200" dirty="0">
            <a:solidFill>
              <a:schemeClr val="accent1">
                <a:lumMod val="75000"/>
              </a:schemeClr>
            </a:solidFill>
            <a:latin typeface="Quicksand"/>
          </a:endParaRPr>
        </a:p>
      </dsp:txBody>
      <dsp:txXfrm>
        <a:off x="5185485" y="1693058"/>
        <a:ext cx="2354699" cy="873593"/>
      </dsp:txXfrm>
    </dsp:sp>
    <dsp:sp modelId="{52DF3087-AA54-4BCD-8227-AD77BBD35109}">
      <dsp:nvSpPr>
        <dsp:cNvPr id="0" name=""/>
        <dsp:cNvSpPr/>
      </dsp:nvSpPr>
      <dsp:spPr>
        <a:xfrm>
          <a:off x="7775754" y="70670"/>
          <a:ext cx="2354699" cy="1622388"/>
        </a:xfrm>
        <a:prstGeom prst="roundRect">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l="-11000" r="-1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9FBF7F8-587F-4353-9BCB-BE70441B30FE}">
      <dsp:nvSpPr>
        <dsp:cNvPr id="0" name=""/>
        <dsp:cNvSpPr/>
      </dsp:nvSpPr>
      <dsp:spPr>
        <a:xfrm>
          <a:off x="7775754" y="1693058"/>
          <a:ext cx="2354699" cy="8735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0" numCol="1" spcCol="1270" anchor="t" anchorCtr="0">
          <a:noAutofit/>
        </a:bodyPr>
        <a:lstStyle/>
        <a:p>
          <a:pPr marL="0" lvl="0" indent="0" algn="ctr" defTabSz="711200">
            <a:lnSpc>
              <a:spcPct val="90000"/>
            </a:lnSpc>
            <a:spcBef>
              <a:spcPct val="0"/>
            </a:spcBef>
            <a:spcAft>
              <a:spcPct val="35000"/>
            </a:spcAft>
            <a:buNone/>
          </a:pPr>
          <a:r>
            <a:rPr lang="en-IN" sz="1600" b="1" kern="1200" dirty="0">
              <a:solidFill>
                <a:schemeClr val="accent1">
                  <a:lumMod val="75000"/>
                </a:schemeClr>
              </a:solidFill>
              <a:latin typeface="Quicksand"/>
              <a:hlinkClick xmlns:r="http://schemas.openxmlformats.org/officeDocument/2006/relationships" r:id="rId7">
                <a:extLst>
                  <a:ext uri="{A12FA001-AC4F-418D-AE19-62706E023703}">
                    <ahyp:hlinkClr xmlns:ahyp="http://schemas.microsoft.com/office/drawing/2018/hyperlinkcolor" val="tx"/>
                  </a:ext>
                </a:extLst>
              </a:hlinkClick>
            </a:rPr>
            <a:t>Blogs and articles on FINISH Mondial</a:t>
          </a:r>
          <a:endParaRPr lang="en-IN" sz="1600" b="1" kern="1200" dirty="0">
            <a:solidFill>
              <a:schemeClr val="accent1">
                <a:lumMod val="75000"/>
              </a:schemeClr>
            </a:solidFill>
            <a:latin typeface="Quicksand"/>
          </a:endParaRPr>
        </a:p>
      </dsp:txBody>
      <dsp:txXfrm>
        <a:off x="7775754" y="1693058"/>
        <a:ext cx="2354699" cy="87359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FA9012-DE15-4B56-9FE3-6EC1C8F3334D}">
      <dsp:nvSpPr>
        <dsp:cNvPr id="0" name=""/>
        <dsp:cNvSpPr/>
      </dsp:nvSpPr>
      <dsp:spPr>
        <a:xfrm>
          <a:off x="65318" y="971"/>
          <a:ext cx="1916153" cy="114969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IN" sz="1400" b="0" i="0" kern="1200" dirty="0">
              <a:latin typeface="Quicksand"/>
            </a:rPr>
            <a:t>Orientation on improved FSSM solutions</a:t>
          </a:r>
          <a:endParaRPr lang="en-IN" sz="1400" kern="1200" dirty="0">
            <a:latin typeface="Quicksand"/>
          </a:endParaRPr>
        </a:p>
      </dsp:txBody>
      <dsp:txXfrm>
        <a:off x="65318" y="971"/>
        <a:ext cx="1916153" cy="1149691"/>
      </dsp:txXfrm>
    </dsp:sp>
    <dsp:sp modelId="{2BE915C1-35A3-4CBD-A0E4-F7E270F4F5A4}">
      <dsp:nvSpPr>
        <dsp:cNvPr id="0" name=""/>
        <dsp:cNvSpPr/>
      </dsp:nvSpPr>
      <dsp:spPr>
        <a:xfrm>
          <a:off x="2208727" y="971"/>
          <a:ext cx="1916153" cy="114969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IN" sz="1400" kern="1200" dirty="0">
              <a:latin typeface="Quicksand"/>
            </a:rPr>
            <a:t>Co-composting process flow document</a:t>
          </a:r>
        </a:p>
      </dsp:txBody>
      <dsp:txXfrm>
        <a:off x="2208727" y="971"/>
        <a:ext cx="1916153" cy="1149691"/>
      </dsp:txXfrm>
    </dsp:sp>
    <dsp:sp modelId="{B7963362-C953-42E6-832B-3804F2619AED}">
      <dsp:nvSpPr>
        <dsp:cNvPr id="0" name=""/>
        <dsp:cNvSpPr/>
      </dsp:nvSpPr>
      <dsp:spPr>
        <a:xfrm>
          <a:off x="4316495" y="971"/>
          <a:ext cx="1916153" cy="114969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IN" sz="1400" b="0" i="0" kern="1200" dirty="0">
              <a:latin typeface="Quicksand"/>
            </a:rPr>
            <a:t>Technical manual on climate and terrain appropriate sanitation technologies and retrofitting options</a:t>
          </a:r>
          <a:endParaRPr lang="en-IN" sz="1400" kern="1200" dirty="0">
            <a:latin typeface="Quicksand"/>
          </a:endParaRPr>
        </a:p>
      </dsp:txBody>
      <dsp:txXfrm>
        <a:off x="4316495" y="971"/>
        <a:ext cx="1916153" cy="1149691"/>
      </dsp:txXfrm>
    </dsp:sp>
    <dsp:sp modelId="{5047E398-8FD5-4E9C-AAEF-681190E26865}">
      <dsp:nvSpPr>
        <dsp:cNvPr id="0" name=""/>
        <dsp:cNvSpPr/>
      </dsp:nvSpPr>
      <dsp:spPr>
        <a:xfrm>
          <a:off x="6424264" y="971"/>
          <a:ext cx="1916153" cy="114969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kern="1200" dirty="0">
              <a:latin typeface="Quicksand"/>
            </a:rPr>
            <a:t>Guidelines on O&amp;M for WASH in School facilities</a:t>
          </a:r>
          <a:endParaRPr lang="en-IN" sz="1400" kern="1200" dirty="0">
            <a:latin typeface="Quicksand"/>
          </a:endParaRPr>
        </a:p>
      </dsp:txBody>
      <dsp:txXfrm>
        <a:off x="6424264" y="971"/>
        <a:ext cx="1916153" cy="1149691"/>
      </dsp:txXfrm>
    </dsp:sp>
    <dsp:sp modelId="{BE6CF01B-0A9F-46F0-BD6D-8806CC2BB4B0}">
      <dsp:nvSpPr>
        <dsp:cNvPr id="0" name=""/>
        <dsp:cNvSpPr/>
      </dsp:nvSpPr>
      <dsp:spPr>
        <a:xfrm>
          <a:off x="8532033" y="971"/>
          <a:ext cx="1916153" cy="114969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kern="1200" dirty="0">
              <a:latin typeface="Quicksand"/>
            </a:rPr>
            <a:t>Guidelines for faecal sludge management plan</a:t>
          </a:r>
          <a:endParaRPr lang="en-IN" sz="1400" kern="1200" dirty="0">
            <a:latin typeface="Quicksand"/>
          </a:endParaRPr>
        </a:p>
      </dsp:txBody>
      <dsp:txXfrm>
        <a:off x="8532033" y="971"/>
        <a:ext cx="1916153" cy="1149691"/>
      </dsp:txXfrm>
    </dsp:sp>
    <dsp:sp modelId="{8CA14B43-0BD9-45D4-A545-25910322FF42}">
      <dsp:nvSpPr>
        <dsp:cNvPr id="0" name=""/>
        <dsp:cNvSpPr/>
      </dsp:nvSpPr>
      <dsp:spPr>
        <a:xfrm>
          <a:off x="1154842" y="1342279"/>
          <a:ext cx="1916153" cy="114969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kern="1200" dirty="0">
              <a:latin typeface="Quicksand"/>
            </a:rPr>
            <a:t>Technical training &amp; business coaching module on WASH entrepreneur’s capacity building</a:t>
          </a:r>
          <a:endParaRPr lang="en-IN" sz="1400" kern="1200" dirty="0">
            <a:latin typeface="Quicksand"/>
          </a:endParaRPr>
        </a:p>
      </dsp:txBody>
      <dsp:txXfrm>
        <a:off x="1154842" y="1342279"/>
        <a:ext cx="1916153" cy="1149691"/>
      </dsp:txXfrm>
    </dsp:sp>
    <dsp:sp modelId="{782A1C82-C64F-4CED-9311-EF979BA3E6D2}">
      <dsp:nvSpPr>
        <dsp:cNvPr id="0" name=""/>
        <dsp:cNvSpPr/>
      </dsp:nvSpPr>
      <dsp:spPr>
        <a:xfrm>
          <a:off x="3262611" y="1342279"/>
          <a:ext cx="1916153" cy="114969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IN" sz="1400" kern="1200" dirty="0">
              <a:latin typeface="Quicksand"/>
            </a:rPr>
            <a:t>WASH value chain analysis in India</a:t>
          </a:r>
        </a:p>
      </dsp:txBody>
      <dsp:txXfrm>
        <a:off x="3262611" y="1342279"/>
        <a:ext cx="1916153" cy="1149691"/>
      </dsp:txXfrm>
    </dsp:sp>
    <dsp:sp modelId="{C061519B-FA98-4DE5-B3C3-E3F4F22F271F}">
      <dsp:nvSpPr>
        <dsp:cNvPr id="0" name=""/>
        <dsp:cNvSpPr/>
      </dsp:nvSpPr>
      <dsp:spPr>
        <a:xfrm>
          <a:off x="5370380" y="1342279"/>
          <a:ext cx="1916153" cy="114969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IN" sz="1400" kern="1200" dirty="0">
              <a:latin typeface="Quicksand"/>
            </a:rPr>
            <a:t>Climate change position papers-India, Kenya, Tanzania, Uganda</a:t>
          </a:r>
        </a:p>
      </dsp:txBody>
      <dsp:txXfrm>
        <a:off x="5370380" y="1342279"/>
        <a:ext cx="1916153" cy="1149691"/>
      </dsp:txXfrm>
    </dsp:sp>
    <dsp:sp modelId="{EA2C57F6-FF1B-423F-A26D-49F9E267AB91}">
      <dsp:nvSpPr>
        <dsp:cNvPr id="0" name=""/>
        <dsp:cNvSpPr/>
      </dsp:nvSpPr>
      <dsp:spPr>
        <a:xfrm>
          <a:off x="7478148" y="1342279"/>
          <a:ext cx="1916153" cy="114969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IN" sz="1400" kern="1200" dirty="0">
              <a:latin typeface="Quicksand"/>
            </a:rPr>
            <a:t>GESI position paper-India, Kenya, Tanzania</a:t>
          </a:r>
        </a:p>
      </dsp:txBody>
      <dsp:txXfrm>
        <a:off x="7478148" y="1342279"/>
        <a:ext cx="1916153" cy="1149691"/>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A6CD4AF-3119-4B5F-91BE-A2CFC67F13E8}" type="datetimeFigureOut">
              <a:rPr lang="en-GB" smtClean="0"/>
              <a:t>03/05/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79A1CD-FE2B-4A0F-BA0A-5FE82C9BA49B}" type="slidenum">
              <a:rPr lang="en-GB" smtClean="0"/>
              <a:t>‹#›</a:t>
            </a:fld>
            <a:endParaRPr lang="en-GB"/>
          </a:p>
        </p:txBody>
      </p:sp>
    </p:spTree>
    <p:extLst>
      <p:ext uri="{BB962C8B-B14F-4D97-AF65-F5344CB8AC3E}">
        <p14:creationId xmlns:p14="http://schemas.microsoft.com/office/powerpoint/2010/main" val="18070088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79A1CD-FE2B-4A0F-BA0A-5FE82C9BA49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02242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the narrative TOC…</a:t>
            </a:r>
          </a:p>
        </p:txBody>
      </p:sp>
      <p:sp>
        <p:nvSpPr>
          <p:cNvPr id="4" name="Slide Number Placeholder 3"/>
          <p:cNvSpPr>
            <a:spLocks noGrp="1"/>
          </p:cNvSpPr>
          <p:nvPr>
            <p:ph type="sldNum" sz="quarter" idx="5"/>
          </p:nvPr>
        </p:nvSpPr>
        <p:spPr/>
        <p:txBody>
          <a:bodyPr/>
          <a:lstStyle/>
          <a:p>
            <a:fld id="{0C79A1CD-FE2B-4A0F-BA0A-5FE82C9BA49B}" type="slidenum">
              <a:rPr lang="en-GB" smtClean="0"/>
              <a:t>18</a:t>
            </a:fld>
            <a:endParaRPr lang="en-GB"/>
          </a:p>
        </p:txBody>
      </p:sp>
    </p:spTree>
    <p:extLst>
      <p:ext uri="{BB962C8B-B14F-4D97-AF65-F5344CB8AC3E}">
        <p14:creationId xmlns:p14="http://schemas.microsoft.com/office/powerpoint/2010/main" val="26307853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we explain what the actions linked to the grey and green boxes of the TOC are…</a:t>
            </a:r>
          </a:p>
        </p:txBody>
      </p:sp>
      <p:sp>
        <p:nvSpPr>
          <p:cNvPr id="4" name="Slide Number Placeholder 3"/>
          <p:cNvSpPr>
            <a:spLocks noGrp="1"/>
          </p:cNvSpPr>
          <p:nvPr>
            <p:ph type="sldNum" sz="quarter" idx="5"/>
          </p:nvPr>
        </p:nvSpPr>
        <p:spPr/>
        <p:txBody>
          <a:bodyPr/>
          <a:lstStyle/>
          <a:p>
            <a:fld id="{0C79A1CD-FE2B-4A0F-BA0A-5FE82C9BA49B}" type="slidenum">
              <a:rPr lang="en-GB" smtClean="0"/>
              <a:t>19</a:t>
            </a:fld>
            <a:endParaRPr lang="en-GB"/>
          </a:p>
        </p:txBody>
      </p:sp>
    </p:spTree>
    <p:extLst>
      <p:ext uri="{BB962C8B-B14F-4D97-AF65-F5344CB8AC3E}">
        <p14:creationId xmlns:p14="http://schemas.microsoft.com/office/powerpoint/2010/main" val="4074273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here we add an overview of the key actors. </a:t>
            </a:r>
          </a:p>
        </p:txBody>
      </p:sp>
      <p:sp>
        <p:nvSpPr>
          <p:cNvPr id="4" name="Slide Number Placeholder 3"/>
          <p:cNvSpPr>
            <a:spLocks noGrp="1"/>
          </p:cNvSpPr>
          <p:nvPr>
            <p:ph type="sldNum" sz="quarter" idx="5"/>
          </p:nvPr>
        </p:nvSpPr>
        <p:spPr/>
        <p:txBody>
          <a:bodyPr/>
          <a:lstStyle/>
          <a:p>
            <a:fld id="{0C79A1CD-FE2B-4A0F-BA0A-5FE82C9BA49B}" type="slidenum">
              <a:rPr lang="en-GB" smtClean="0"/>
              <a:t>20</a:t>
            </a:fld>
            <a:endParaRPr lang="en-GB"/>
          </a:p>
        </p:txBody>
      </p:sp>
    </p:spTree>
    <p:extLst>
      <p:ext uri="{BB962C8B-B14F-4D97-AF65-F5344CB8AC3E}">
        <p14:creationId xmlns:p14="http://schemas.microsoft.com/office/powerpoint/2010/main" val="39963104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al overview. </a:t>
            </a:r>
          </a:p>
        </p:txBody>
      </p:sp>
      <p:sp>
        <p:nvSpPr>
          <p:cNvPr id="4" name="Slide Number Placeholder 3"/>
          <p:cNvSpPr>
            <a:spLocks noGrp="1"/>
          </p:cNvSpPr>
          <p:nvPr>
            <p:ph type="sldNum" sz="quarter" idx="5"/>
          </p:nvPr>
        </p:nvSpPr>
        <p:spPr/>
        <p:txBody>
          <a:bodyPr/>
          <a:lstStyle/>
          <a:p>
            <a:fld id="{0C79A1CD-FE2B-4A0F-BA0A-5FE82C9BA49B}" type="slidenum">
              <a:rPr lang="en-GB" smtClean="0"/>
              <a:t>21</a:t>
            </a:fld>
            <a:endParaRPr lang="en-GB"/>
          </a:p>
        </p:txBody>
      </p:sp>
    </p:spTree>
    <p:extLst>
      <p:ext uri="{BB962C8B-B14F-4D97-AF65-F5344CB8AC3E}">
        <p14:creationId xmlns:p14="http://schemas.microsoft.com/office/powerpoint/2010/main" val="14543675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s for groupwork. Handouts of the slide 17 schematic will also be made available to help group discussions.</a:t>
            </a:r>
          </a:p>
        </p:txBody>
      </p:sp>
      <p:sp>
        <p:nvSpPr>
          <p:cNvPr id="4" name="Slide Number Placeholder 3"/>
          <p:cNvSpPr>
            <a:spLocks noGrp="1"/>
          </p:cNvSpPr>
          <p:nvPr>
            <p:ph type="sldNum" sz="quarter" idx="5"/>
          </p:nvPr>
        </p:nvSpPr>
        <p:spPr/>
        <p:txBody>
          <a:bodyPr/>
          <a:lstStyle/>
          <a:p>
            <a:fld id="{0C79A1CD-FE2B-4A0F-BA0A-5FE82C9BA49B}" type="slidenum">
              <a:rPr lang="en-GB" smtClean="0"/>
              <a:t>22</a:t>
            </a:fld>
            <a:endParaRPr lang="en-GB"/>
          </a:p>
        </p:txBody>
      </p:sp>
    </p:spTree>
    <p:extLst>
      <p:ext uri="{BB962C8B-B14F-4D97-AF65-F5344CB8AC3E}">
        <p14:creationId xmlns:p14="http://schemas.microsoft.com/office/powerpoint/2010/main" val="15384843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nsition slides after the group work, to get everybody back to plenary.</a:t>
            </a:r>
          </a:p>
        </p:txBody>
      </p:sp>
      <p:sp>
        <p:nvSpPr>
          <p:cNvPr id="4" name="Slide Number Placeholder 3"/>
          <p:cNvSpPr>
            <a:spLocks noGrp="1"/>
          </p:cNvSpPr>
          <p:nvPr>
            <p:ph type="sldNum" sz="quarter" idx="5"/>
          </p:nvPr>
        </p:nvSpPr>
        <p:spPr/>
        <p:txBody>
          <a:bodyPr/>
          <a:lstStyle/>
          <a:p>
            <a:fld id="{0C79A1CD-FE2B-4A0F-BA0A-5FE82C9BA49B}" type="slidenum">
              <a:rPr lang="en-GB" smtClean="0"/>
              <a:t>23</a:t>
            </a:fld>
            <a:endParaRPr lang="en-GB"/>
          </a:p>
        </p:txBody>
      </p:sp>
    </p:spTree>
    <p:extLst>
      <p:ext uri="{BB962C8B-B14F-4D97-AF65-F5344CB8AC3E}">
        <p14:creationId xmlns:p14="http://schemas.microsoft.com/office/powerpoint/2010/main" val="13975998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An example of some of the questions around implementing, sequencing and combining different interventions. Shows the d</a:t>
            </a:r>
            <a:r>
              <a:rPr lang="en-US" sz="1200" kern="1200" dirty="0">
                <a:solidFill>
                  <a:schemeClr val="tx1"/>
                </a:solidFill>
                <a:effectLst/>
                <a:latin typeface="+mn-lt"/>
                <a:ea typeface="+mn-ea"/>
                <a:cs typeface="+mn-cs"/>
              </a:rPr>
              <a:t>ifferent development approaches a program could use, some of the key questions a program needs to consider in an AWS context (geographic diversity, different types of vulnerability, different ability/willingness to pay levels), and that if you go in via an MBS program, the red and grey indicate where that might not be enough to reach everyone. </a:t>
            </a:r>
            <a:endParaRPr lang="en-US" sz="1200" dirty="0"/>
          </a:p>
          <a:p>
            <a:r>
              <a:rPr lang="en-US" sz="1200" dirty="0"/>
              <a:t>MBS is one among a suite of approaches to address select contexts, vulnerabilities, and customer segments, and contribute to AWS goals. This slide outlines an area of research of </a:t>
            </a:r>
            <a:r>
              <a:rPr lang="en-US" sz="1200" dirty="0" err="1"/>
              <a:t>WASHPaLS</a:t>
            </a:r>
            <a:r>
              <a:rPr lang="en-US" sz="1200" dirty="0"/>
              <a:t> #2 which focuses on some key questions around expanding services in an area-wide context. Questions such as: How to adapt product systems to reach more geographically remote communities and households? Or how to deal with intra-household exclusion? How to bring in subsidies for those who require them?  The next few presentations discuss some program experiences addressing some of these questions, focusing specifically on GESI and MBS. </a:t>
            </a:r>
          </a:p>
          <a:p>
            <a:endParaRPr lang="en-US" dirty="0"/>
          </a:p>
        </p:txBody>
      </p:sp>
      <p:sp>
        <p:nvSpPr>
          <p:cNvPr id="4" name="Slide Number Placeholder 3"/>
          <p:cNvSpPr>
            <a:spLocks noGrp="1"/>
          </p:cNvSpPr>
          <p:nvPr>
            <p:ph type="sldNum" sz="quarter" idx="5"/>
          </p:nvPr>
        </p:nvSpPr>
        <p:spPr/>
        <p:txBody>
          <a:bodyPr/>
          <a:lstStyle/>
          <a:p>
            <a:fld id="{0C79A1CD-FE2B-4A0F-BA0A-5FE82C9BA49B}" type="slidenum">
              <a:rPr lang="en-GB" smtClean="0"/>
              <a:t>24</a:t>
            </a:fld>
            <a:endParaRPr lang="en-GB"/>
          </a:p>
        </p:txBody>
      </p:sp>
    </p:spTree>
    <p:extLst>
      <p:ext uri="{BB962C8B-B14F-4D97-AF65-F5344CB8AC3E}">
        <p14:creationId xmlns:p14="http://schemas.microsoft.com/office/powerpoint/2010/main" val="16020266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79A1CD-FE2B-4A0F-BA0A-5FE82C9BA49B}" type="slidenum">
              <a:rPr lang="en-GB" smtClean="0"/>
              <a:t>25</a:t>
            </a:fld>
            <a:endParaRPr lang="en-GB"/>
          </a:p>
        </p:txBody>
      </p:sp>
    </p:spTree>
    <p:extLst>
      <p:ext uri="{BB962C8B-B14F-4D97-AF65-F5344CB8AC3E}">
        <p14:creationId xmlns:p14="http://schemas.microsoft.com/office/powerpoint/2010/main" val="10789448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79A1CD-FE2B-4A0F-BA0A-5FE82C9BA49B}" type="slidenum">
              <a:rPr lang="en-GB" smtClean="0"/>
              <a:t>26</a:t>
            </a:fld>
            <a:endParaRPr lang="en-GB"/>
          </a:p>
        </p:txBody>
      </p:sp>
    </p:spTree>
    <p:extLst>
      <p:ext uri="{BB962C8B-B14F-4D97-AF65-F5344CB8AC3E}">
        <p14:creationId xmlns:p14="http://schemas.microsoft.com/office/powerpoint/2010/main" val="10741318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D038DD-8F77-F54F-9E10-DDD834D0CA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17434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fter poll: </a:t>
            </a:r>
            <a:r>
              <a:rPr lang="en-US" sz="1200" kern="1200" dirty="0">
                <a:solidFill>
                  <a:schemeClr val="tx1"/>
                </a:solidFill>
                <a:effectLst/>
                <a:latin typeface="+mn-lt"/>
                <a:ea typeface="+mn-ea"/>
                <a:cs typeface="+mn-cs"/>
              </a:rPr>
              <a:t>Brief discussion with one or two of those still holding up their hand by question 4, on the program/country/district they represent and one or two of their key take-aways on AWS.</a:t>
            </a:r>
          </a:p>
          <a:p>
            <a:endParaRPr lang="en-US" dirty="0"/>
          </a:p>
        </p:txBody>
      </p:sp>
      <p:sp>
        <p:nvSpPr>
          <p:cNvPr id="4" name="Slide Number Placeholder 3"/>
          <p:cNvSpPr>
            <a:spLocks noGrp="1"/>
          </p:cNvSpPr>
          <p:nvPr>
            <p:ph type="sldNum" sz="quarter" idx="5"/>
          </p:nvPr>
        </p:nvSpPr>
        <p:spPr/>
        <p:txBody>
          <a:bodyPr/>
          <a:lstStyle/>
          <a:p>
            <a:fld id="{0C79A1CD-FE2B-4A0F-BA0A-5FE82C9BA49B}" type="slidenum">
              <a:rPr lang="en-GB" smtClean="0"/>
              <a:t>4</a:t>
            </a:fld>
            <a:endParaRPr lang="en-GB"/>
          </a:p>
        </p:txBody>
      </p:sp>
    </p:spTree>
    <p:extLst>
      <p:ext uri="{BB962C8B-B14F-4D97-AF65-F5344CB8AC3E}">
        <p14:creationId xmlns:p14="http://schemas.microsoft.com/office/powerpoint/2010/main" val="34440430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D038DD-8F77-F54F-9E10-DDD834D0CA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06707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D038DD-8F77-F54F-9E10-DDD834D0CA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20145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D038DD-8F77-F54F-9E10-DDD834D0CA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54446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D038DD-8F77-F54F-9E10-DDD834D0CA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5682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D038DD-8F77-F54F-9E10-DDD834D0CA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48657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D038DD-8F77-F54F-9E10-DDD834D0CA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87798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D038DD-8F77-F54F-9E10-DDD834D0CA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06783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cuss sustainability of the mode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79A1CD-FE2B-4A0F-BA0A-5FE82C9BA49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21926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t>The aim: that </a:t>
            </a:r>
            <a:r>
              <a:rPr lang="en-US" sz="1200" i="1" dirty="0" err="1"/>
              <a:t>WASHPaLS</a:t>
            </a:r>
            <a:r>
              <a:rPr lang="en-US" sz="1200" i="1" dirty="0"/>
              <a:t> #2 learning will inform how to do AWS, but also help us further develop the TOC</a:t>
            </a:r>
          </a:p>
          <a:p>
            <a:r>
              <a:rPr lang="en-US" dirty="0"/>
              <a:t>Implementing AWS core components. Specific questions could b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How to undertake context analysis and what key parameters to assess to inform AWS planning and implementation</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How to effectively implement integrated (sequenced, phased, and parallel) sanitation intervention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How to ensure sustained service provision over tim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hich target populations to reach first</a:t>
            </a:r>
          </a:p>
          <a:p>
            <a:endParaRPr lang="en-US" dirty="0"/>
          </a:p>
        </p:txBody>
      </p:sp>
      <p:sp>
        <p:nvSpPr>
          <p:cNvPr id="4" name="Slide Number Placeholder 3"/>
          <p:cNvSpPr>
            <a:spLocks noGrp="1"/>
          </p:cNvSpPr>
          <p:nvPr>
            <p:ph type="sldNum" sz="quarter" idx="5"/>
          </p:nvPr>
        </p:nvSpPr>
        <p:spPr/>
        <p:txBody>
          <a:bodyPr/>
          <a:lstStyle/>
          <a:p>
            <a:fld id="{0C79A1CD-FE2B-4A0F-BA0A-5FE82C9BA49B}" type="slidenum">
              <a:rPr lang="en-GB" smtClean="0"/>
              <a:t>39</a:t>
            </a:fld>
            <a:endParaRPr lang="en-GB"/>
          </a:p>
        </p:txBody>
      </p:sp>
    </p:spTree>
    <p:extLst>
      <p:ext uri="{BB962C8B-B14F-4D97-AF65-F5344CB8AC3E}">
        <p14:creationId xmlns:p14="http://schemas.microsoft.com/office/powerpoint/2010/main" val="18179914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79A1CD-FE2B-4A0F-BA0A-5FE82C9BA49B}" type="slidenum">
              <a:rPr lang="en-GB" smtClean="0"/>
              <a:t>40</a:t>
            </a:fld>
            <a:endParaRPr lang="en-GB"/>
          </a:p>
        </p:txBody>
      </p:sp>
    </p:spTree>
    <p:extLst>
      <p:ext uri="{BB962C8B-B14F-4D97-AF65-F5344CB8AC3E}">
        <p14:creationId xmlns:p14="http://schemas.microsoft.com/office/powerpoint/2010/main" val="11060509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79A1CD-FE2B-4A0F-BA0A-5FE82C9BA49B}" type="slidenum">
              <a:rPr lang="en-GB" smtClean="0"/>
              <a:t>5</a:t>
            </a:fld>
            <a:endParaRPr lang="en-GB"/>
          </a:p>
        </p:txBody>
      </p:sp>
    </p:spTree>
    <p:extLst>
      <p:ext uri="{BB962C8B-B14F-4D97-AF65-F5344CB8AC3E}">
        <p14:creationId xmlns:p14="http://schemas.microsoft.com/office/powerpoint/2010/main" val="15098896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79A1CD-FE2B-4A0F-BA0A-5FE82C9BA49B}" type="slidenum">
              <a:rPr lang="en-GB" smtClean="0"/>
              <a:t>41</a:t>
            </a:fld>
            <a:endParaRPr lang="en-GB"/>
          </a:p>
        </p:txBody>
      </p:sp>
    </p:spTree>
    <p:extLst>
      <p:ext uri="{BB962C8B-B14F-4D97-AF65-F5344CB8AC3E}">
        <p14:creationId xmlns:p14="http://schemas.microsoft.com/office/powerpoint/2010/main" val="26398081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79A1CD-FE2B-4A0F-BA0A-5FE82C9BA49B}" type="slidenum">
              <a:rPr lang="en-GB" smtClean="0"/>
              <a:t>10</a:t>
            </a:fld>
            <a:endParaRPr lang="en-GB"/>
          </a:p>
        </p:txBody>
      </p:sp>
    </p:spTree>
    <p:extLst>
      <p:ext uri="{BB962C8B-B14F-4D97-AF65-F5344CB8AC3E}">
        <p14:creationId xmlns:p14="http://schemas.microsoft.com/office/powerpoint/2010/main" val="2537295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79A1CD-FE2B-4A0F-BA0A-5FE82C9BA49B}" type="slidenum">
              <a:rPr lang="en-GB" smtClean="0"/>
              <a:t>12</a:t>
            </a:fld>
            <a:endParaRPr lang="en-GB"/>
          </a:p>
        </p:txBody>
      </p:sp>
    </p:spTree>
    <p:extLst>
      <p:ext uri="{BB962C8B-B14F-4D97-AF65-F5344CB8AC3E}">
        <p14:creationId xmlns:p14="http://schemas.microsoft.com/office/powerpoint/2010/main" val="41983332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79A1CD-FE2B-4A0F-BA0A-5FE82C9BA49B}" type="slidenum">
              <a:rPr lang="en-GB" smtClean="0"/>
              <a:t>13</a:t>
            </a:fld>
            <a:endParaRPr lang="en-GB"/>
          </a:p>
        </p:txBody>
      </p:sp>
    </p:spTree>
    <p:extLst>
      <p:ext uri="{BB962C8B-B14F-4D97-AF65-F5344CB8AC3E}">
        <p14:creationId xmlns:p14="http://schemas.microsoft.com/office/powerpoint/2010/main" val="41794599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dirty="0"/>
              <a:t>Universal</a:t>
            </a:r>
            <a:r>
              <a:rPr lang="en-GB" sz="1200" dirty="0"/>
              <a:t> </a:t>
            </a:r>
            <a:r>
              <a:rPr lang="en-US" sz="1200" dirty="0"/>
              <a:t>services require access and use across the life-cycle, accounting for special needs in different life-stages</a:t>
            </a:r>
          </a:p>
          <a:p>
            <a:r>
              <a:rPr lang="en-US" sz="1200" dirty="0"/>
              <a:t>Achieving </a:t>
            </a:r>
            <a:r>
              <a:rPr lang="en-US" sz="1200" b="1" dirty="0"/>
              <a:t>universal</a:t>
            </a:r>
            <a:r>
              <a:rPr lang="en-US" sz="1200" dirty="0"/>
              <a:t> use requires identifying the potentially marginalized and disadvantaged groups and intersectionality</a:t>
            </a:r>
          </a:p>
          <a:p>
            <a:r>
              <a:rPr lang="en-US" sz="1200" dirty="0"/>
              <a:t>Achieving </a:t>
            </a:r>
            <a:r>
              <a:rPr lang="en-US" sz="1200" b="1" dirty="0"/>
              <a:t>universal</a:t>
            </a:r>
            <a:r>
              <a:rPr lang="en-US" sz="1200" dirty="0"/>
              <a:t> services requires faster progress among disadvantaged groups; prioritiz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t>Safely-managed</a:t>
            </a:r>
            <a:r>
              <a:rPr lang="en-GB" sz="1200" b="0" dirty="0"/>
              <a:t> requires attention across the sanitation service chain</a:t>
            </a:r>
          </a:p>
          <a:p>
            <a:pPr marL="0" indent="0">
              <a:buNone/>
            </a:pPr>
            <a:r>
              <a:rPr lang="en-GB" sz="1200" b="1" dirty="0"/>
              <a:t>At scale </a:t>
            </a:r>
            <a:r>
              <a:rPr lang="en-GB" sz="1200" b="0" dirty="0"/>
              <a:t>requires systems strengthening and public sector leadership, thoughtful/careful planning and coordination of multiple interventions by multiple actors; need for </a:t>
            </a:r>
            <a:r>
              <a:rPr lang="en-GB" sz="1200" dirty="0"/>
              <a:t>strong M&amp;E, oversight and adaptive management </a:t>
            </a:r>
            <a:endParaRPr lang="en-GB" sz="1200" b="0" dirty="0"/>
          </a:p>
          <a:p>
            <a:pPr marL="0" indent="0">
              <a:buNone/>
            </a:pPr>
            <a:endParaRPr lang="en-GB" sz="1400" b="0" dirty="0"/>
          </a:p>
          <a:p>
            <a:endParaRPr lang="en-US" dirty="0"/>
          </a:p>
        </p:txBody>
      </p:sp>
      <p:sp>
        <p:nvSpPr>
          <p:cNvPr id="4" name="Slide Number Placeholder 3"/>
          <p:cNvSpPr>
            <a:spLocks noGrp="1"/>
          </p:cNvSpPr>
          <p:nvPr>
            <p:ph type="sldNum" sz="quarter" idx="5"/>
          </p:nvPr>
        </p:nvSpPr>
        <p:spPr/>
        <p:txBody>
          <a:bodyPr/>
          <a:lstStyle/>
          <a:p>
            <a:fld id="{0C79A1CD-FE2B-4A0F-BA0A-5FE82C9BA49B}" type="slidenum">
              <a:rPr lang="en-GB" smtClean="0"/>
              <a:t>14</a:t>
            </a:fld>
            <a:endParaRPr lang="en-GB"/>
          </a:p>
        </p:txBody>
      </p:sp>
    </p:spTree>
    <p:extLst>
      <p:ext uri="{BB962C8B-B14F-4D97-AF65-F5344CB8AC3E}">
        <p14:creationId xmlns:p14="http://schemas.microsoft.com/office/powerpoint/2010/main" val="16269739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t their core, area-wide programs are deliberately equitable and inclusive by focusing on sanitation and hygiene outcomes that everyone within that area must achieve, rather than only a specific target population. This focus on universal and inclusive coverage goes beyond existing approaches and projectized practices (whether community-led total sanitation [CLTS], sanitation marketing, market-based sanitation [MBS], or others), which have often focused on selected population groups or specific geographies within a wider area or have been implemented in silos. The main benefit of AWS is that it forces governments and implementers to start thinking about and planning, from the beginning, how best to reach all people and communities, including those in more challenging contexts or who face specific barriers to adequate sanitation and hygiene.   </a:t>
            </a:r>
            <a:r>
              <a:rPr lang="en-US" dirty="0">
                <a:effectLst/>
              </a:rPr>
              <a:t> </a:t>
            </a:r>
            <a:r>
              <a:rPr lang="en-US" sz="120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5"/>
          </p:nvPr>
        </p:nvSpPr>
        <p:spPr/>
        <p:txBody>
          <a:bodyPr/>
          <a:lstStyle/>
          <a:p>
            <a:fld id="{0C79A1CD-FE2B-4A0F-BA0A-5FE82C9BA49B}" type="slidenum">
              <a:rPr lang="en-GB" smtClean="0"/>
              <a:t>15</a:t>
            </a:fld>
            <a:endParaRPr lang="en-GB"/>
          </a:p>
        </p:txBody>
      </p:sp>
    </p:spTree>
    <p:extLst>
      <p:ext uri="{BB962C8B-B14F-4D97-AF65-F5344CB8AC3E}">
        <p14:creationId xmlns:p14="http://schemas.microsoft.com/office/powerpoint/2010/main" val="15546924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79A1CD-FE2B-4A0F-BA0A-5FE82C9BA49B}" type="slidenum">
              <a:rPr lang="en-GB" smtClean="0"/>
              <a:t>16</a:t>
            </a:fld>
            <a:endParaRPr lang="en-GB"/>
          </a:p>
        </p:txBody>
      </p:sp>
    </p:spTree>
    <p:extLst>
      <p:ext uri="{BB962C8B-B14F-4D97-AF65-F5344CB8AC3E}">
        <p14:creationId xmlns:p14="http://schemas.microsoft.com/office/powerpoint/2010/main" val="38378636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ll Systems Connec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2592DBB-3127-B9DA-A8ED-74612E741753}"/>
              </a:ext>
            </a:extLst>
          </p:cNvPr>
          <p:cNvSpPr>
            <a:spLocks noGrp="1"/>
          </p:cNvSpPr>
          <p:nvPr>
            <p:ph type="ftr" sz="quarter" idx="11"/>
          </p:nvPr>
        </p:nvSpPr>
        <p:spPr>
          <a:xfrm>
            <a:off x="1645920" y="4880665"/>
            <a:ext cx="8900160" cy="365125"/>
          </a:xfrm>
          <a:prstGeom prst="rect">
            <a:avLst/>
          </a:prstGeom>
        </p:spPr>
        <p:txBody>
          <a:bodyPr/>
          <a:lstStyle>
            <a:lvl1pPr algn="ctr">
              <a:defRPr sz="2000">
                <a:solidFill>
                  <a:schemeClr val="tx2"/>
                </a:solidFill>
              </a:defRPr>
            </a:lvl1pPr>
          </a:lstStyle>
          <a:p>
            <a:r>
              <a:rPr lang="en-GB" dirty="0"/>
              <a:t>Subtitle</a:t>
            </a:r>
          </a:p>
        </p:txBody>
      </p:sp>
      <p:sp>
        <p:nvSpPr>
          <p:cNvPr id="6" name="Rectangle 5">
            <a:extLst>
              <a:ext uri="{FF2B5EF4-FFF2-40B4-BE49-F238E27FC236}">
                <a16:creationId xmlns:a16="http://schemas.microsoft.com/office/drawing/2014/main" id="{979DBD3D-6BAC-3C74-1E30-DC5C3945900E}"/>
              </a:ext>
            </a:extLst>
          </p:cNvPr>
          <p:cNvSpPr/>
          <p:nvPr userDrawn="1"/>
        </p:nvSpPr>
        <p:spPr>
          <a:xfrm>
            <a:off x="10627112" y="5754029"/>
            <a:ext cx="769434" cy="802888"/>
          </a:xfrm>
          <a:prstGeom prst="rect">
            <a:avLst/>
          </a:prstGeom>
          <a:solidFill>
            <a:srgbClr val="0102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38967685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ata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0AE4B-071C-02F5-A372-F86D8DED5AA0}"/>
              </a:ext>
            </a:extLst>
          </p:cNvPr>
          <p:cNvSpPr>
            <a:spLocks noGrp="1"/>
          </p:cNvSpPr>
          <p:nvPr>
            <p:ph type="title"/>
          </p:nvPr>
        </p:nvSpPr>
        <p:spPr/>
        <p:txBody>
          <a:bodyPr>
            <a:normAutofit/>
          </a:bodyPr>
          <a:lstStyle>
            <a:lvl1pPr>
              <a:defRPr sz="3200">
                <a:solidFill>
                  <a:schemeClr val="accent3"/>
                </a:solidFill>
              </a:defRPr>
            </a:lvl1pPr>
          </a:lstStyle>
          <a:p>
            <a:r>
              <a:rPr lang="en-GB"/>
              <a:t>Click to edit Master title style</a:t>
            </a:r>
            <a:endParaRPr lang="en-GB" dirty="0"/>
          </a:p>
        </p:txBody>
      </p:sp>
      <p:sp>
        <p:nvSpPr>
          <p:cNvPr id="27" name="Chart Placeholder 4">
            <a:extLst>
              <a:ext uri="{FF2B5EF4-FFF2-40B4-BE49-F238E27FC236}">
                <a16:creationId xmlns:a16="http://schemas.microsoft.com/office/drawing/2014/main" id="{EE3E867B-9FE0-71C1-A521-89885EE0C426}"/>
              </a:ext>
            </a:extLst>
          </p:cNvPr>
          <p:cNvSpPr>
            <a:spLocks noGrp="1"/>
          </p:cNvSpPr>
          <p:nvPr>
            <p:ph type="chart" sz="quarter" idx="13"/>
          </p:nvPr>
        </p:nvSpPr>
        <p:spPr>
          <a:xfrm>
            <a:off x="751839" y="1825625"/>
            <a:ext cx="10703151" cy="3858202"/>
          </a:xfrm>
          <a:prstGeom prst="rect">
            <a:avLst/>
          </a:prstGeom>
        </p:spPr>
        <p:txBody>
          <a:bodyPr anchor="ctr"/>
          <a:lstStyle>
            <a:lvl1pPr algn="ctr">
              <a:defRPr/>
            </a:lvl1pPr>
          </a:lstStyle>
          <a:p>
            <a:r>
              <a:rPr lang="en-GB"/>
              <a:t>Click icon to add chart</a:t>
            </a:r>
            <a:endParaRPr lang="en-GB" dirty="0"/>
          </a:p>
        </p:txBody>
      </p:sp>
      <p:sp>
        <p:nvSpPr>
          <p:cNvPr id="28" name="Footer Placeholder 4">
            <a:extLst>
              <a:ext uri="{FF2B5EF4-FFF2-40B4-BE49-F238E27FC236}">
                <a16:creationId xmlns:a16="http://schemas.microsoft.com/office/drawing/2014/main" id="{A728AFED-1DF7-D662-6492-F874A99CC229}"/>
              </a:ext>
            </a:extLst>
          </p:cNvPr>
          <p:cNvSpPr>
            <a:spLocks noGrp="1"/>
          </p:cNvSpPr>
          <p:nvPr>
            <p:ph type="ftr" sz="quarter" idx="3"/>
          </p:nvPr>
        </p:nvSpPr>
        <p:spPr>
          <a:xfrm>
            <a:off x="751838" y="6114954"/>
            <a:ext cx="8904069" cy="365125"/>
          </a:xfrm>
          <a:prstGeom prst="rect">
            <a:avLst/>
          </a:prstGeom>
        </p:spPr>
        <p:txBody>
          <a:bodyPr/>
          <a:lstStyle>
            <a:lvl1pPr>
              <a:defRPr>
                <a:solidFill>
                  <a:schemeClr val="bg2"/>
                </a:solidFill>
              </a:defRPr>
            </a:lvl1pPr>
          </a:lstStyle>
          <a:p>
            <a:endParaRPr lang="en-GB" dirty="0"/>
          </a:p>
        </p:txBody>
      </p:sp>
    </p:spTree>
    <p:extLst>
      <p:ext uri="{BB962C8B-B14F-4D97-AF65-F5344CB8AC3E}">
        <p14:creationId xmlns:p14="http://schemas.microsoft.com/office/powerpoint/2010/main" val="20338290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 Blue">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2D00DCAC-C40F-C3B9-F022-BCEE66A66A0B}"/>
              </a:ext>
            </a:extLst>
          </p:cNvPr>
          <p:cNvSpPr/>
          <p:nvPr userDrawn="1"/>
        </p:nvSpPr>
        <p:spPr>
          <a:xfrm>
            <a:off x="0" y="0"/>
            <a:ext cx="12192000" cy="6855696"/>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rgbClr val="00AFFF"/>
          </a:solidFill>
        </p:spPr>
        <p:txBody>
          <a:bodyPr wrap="square" lIns="0" tIns="0" rIns="0" bIns="0" rtlCol="0"/>
          <a:lstStyle/>
          <a:p>
            <a:endParaRPr sz="2000"/>
          </a:p>
        </p:txBody>
      </p:sp>
      <p:sp>
        <p:nvSpPr>
          <p:cNvPr id="20" name="object 3">
            <a:extLst>
              <a:ext uri="{FF2B5EF4-FFF2-40B4-BE49-F238E27FC236}">
                <a16:creationId xmlns:a16="http://schemas.microsoft.com/office/drawing/2014/main" id="{B044399D-0912-D593-C0A7-709DB4E472C3}"/>
              </a:ext>
            </a:extLst>
          </p:cNvPr>
          <p:cNvSpPr/>
          <p:nvPr userDrawn="1"/>
        </p:nvSpPr>
        <p:spPr>
          <a:xfrm>
            <a:off x="7795390" y="0"/>
            <a:ext cx="4391193" cy="4363554"/>
          </a:xfrm>
          <a:custGeom>
            <a:avLst/>
            <a:gdLst/>
            <a:ahLst/>
            <a:cxnLst/>
            <a:rect l="l" t="t" r="r" b="b"/>
            <a:pathLst>
              <a:path w="4842509" h="4812030">
                <a:moveTo>
                  <a:pt x="747268" y="1291882"/>
                </a:moveTo>
                <a:lnTo>
                  <a:pt x="744347" y="1244257"/>
                </a:lnTo>
                <a:lnTo>
                  <a:pt x="735850" y="1198397"/>
                </a:lnTo>
                <a:lnTo>
                  <a:pt x="722109" y="1154645"/>
                </a:lnTo>
                <a:lnTo>
                  <a:pt x="703478" y="1113383"/>
                </a:lnTo>
                <a:lnTo>
                  <a:pt x="680313" y="1074953"/>
                </a:lnTo>
                <a:lnTo>
                  <a:pt x="652957" y="1039710"/>
                </a:lnTo>
                <a:lnTo>
                  <a:pt x="621766" y="1008011"/>
                </a:lnTo>
                <a:lnTo>
                  <a:pt x="587095" y="980211"/>
                </a:lnTo>
                <a:lnTo>
                  <a:pt x="549275" y="956665"/>
                </a:lnTo>
                <a:lnTo>
                  <a:pt x="508673" y="937742"/>
                </a:lnTo>
                <a:lnTo>
                  <a:pt x="465620" y="923772"/>
                </a:lnTo>
                <a:lnTo>
                  <a:pt x="420497" y="915136"/>
                </a:lnTo>
                <a:lnTo>
                  <a:pt x="373634" y="912177"/>
                </a:lnTo>
                <a:lnTo>
                  <a:pt x="326758" y="915136"/>
                </a:lnTo>
                <a:lnTo>
                  <a:pt x="281635" y="923772"/>
                </a:lnTo>
                <a:lnTo>
                  <a:pt x="238582" y="937742"/>
                </a:lnTo>
                <a:lnTo>
                  <a:pt x="197980" y="956665"/>
                </a:lnTo>
                <a:lnTo>
                  <a:pt x="160159" y="980211"/>
                </a:lnTo>
                <a:lnTo>
                  <a:pt x="125488" y="1008011"/>
                </a:lnTo>
                <a:lnTo>
                  <a:pt x="94297" y="1039710"/>
                </a:lnTo>
                <a:lnTo>
                  <a:pt x="66941" y="1074953"/>
                </a:lnTo>
                <a:lnTo>
                  <a:pt x="43776" y="1113383"/>
                </a:lnTo>
                <a:lnTo>
                  <a:pt x="25146" y="1154645"/>
                </a:lnTo>
                <a:lnTo>
                  <a:pt x="11404" y="1198397"/>
                </a:lnTo>
                <a:lnTo>
                  <a:pt x="2908" y="1244257"/>
                </a:lnTo>
                <a:lnTo>
                  <a:pt x="0" y="1291882"/>
                </a:lnTo>
                <a:lnTo>
                  <a:pt x="2908" y="1339519"/>
                </a:lnTo>
                <a:lnTo>
                  <a:pt x="11404" y="1385379"/>
                </a:lnTo>
                <a:lnTo>
                  <a:pt x="25146" y="1429131"/>
                </a:lnTo>
                <a:lnTo>
                  <a:pt x="43776" y="1470393"/>
                </a:lnTo>
                <a:lnTo>
                  <a:pt x="66941" y="1508823"/>
                </a:lnTo>
                <a:lnTo>
                  <a:pt x="94297" y="1544066"/>
                </a:lnTo>
                <a:lnTo>
                  <a:pt x="125488" y="1575765"/>
                </a:lnTo>
                <a:lnTo>
                  <a:pt x="160159" y="1603565"/>
                </a:lnTo>
                <a:lnTo>
                  <a:pt x="197980" y="1627111"/>
                </a:lnTo>
                <a:lnTo>
                  <a:pt x="238582" y="1646047"/>
                </a:lnTo>
                <a:lnTo>
                  <a:pt x="281635" y="1660004"/>
                </a:lnTo>
                <a:lnTo>
                  <a:pt x="326758" y="1668640"/>
                </a:lnTo>
                <a:lnTo>
                  <a:pt x="373634" y="1671599"/>
                </a:lnTo>
                <a:lnTo>
                  <a:pt x="420497" y="1668640"/>
                </a:lnTo>
                <a:lnTo>
                  <a:pt x="465620" y="1660004"/>
                </a:lnTo>
                <a:lnTo>
                  <a:pt x="508673" y="1646047"/>
                </a:lnTo>
                <a:lnTo>
                  <a:pt x="549275" y="1627111"/>
                </a:lnTo>
                <a:lnTo>
                  <a:pt x="587095" y="1603565"/>
                </a:lnTo>
                <a:lnTo>
                  <a:pt x="621766" y="1575765"/>
                </a:lnTo>
                <a:lnTo>
                  <a:pt x="652957" y="1544066"/>
                </a:lnTo>
                <a:lnTo>
                  <a:pt x="680313" y="1508823"/>
                </a:lnTo>
                <a:lnTo>
                  <a:pt x="703478" y="1470393"/>
                </a:lnTo>
                <a:lnTo>
                  <a:pt x="722109" y="1429131"/>
                </a:lnTo>
                <a:lnTo>
                  <a:pt x="735850" y="1385379"/>
                </a:lnTo>
                <a:lnTo>
                  <a:pt x="744347" y="1339519"/>
                </a:lnTo>
                <a:lnTo>
                  <a:pt x="747268" y="1291882"/>
                </a:lnTo>
                <a:close/>
              </a:path>
              <a:path w="4842509" h="4812030">
                <a:moveTo>
                  <a:pt x="1038237" y="2275001"/>
                </a:moveTo>
                <a:lnTo>
                  <a:pt x="1033195" y="2230450"/>
                </a:lnTo>
                <a:lnTo>
                  <a:pt x="1018806" y="2189556"/>
                </a:lnTo>
                <a:lnTo>
                  <a:pt x="996238" y="2153475"/>
                </a:lnTo>
                <a:lnTo>
                  <a:pt x="966635" y="2123389"/>
                </a:lnTo>
                <a:lnTo>
                  <a:pt x="931125" y="2100453"/>
                </a:lnTo>
                <a:lnTo>
                  <a:pt x="890879" y="2085835"/>
                </a:lnTo>
                <a:lnTo>
                  <a:pt x="847039" y="2080691"/>
                </a:lnTo>
                <a:lnTo>
                  <a:pt x="803198" y="2085835"/>
                </a:lnTo>
                <a:lnTo>
                  <a:pt x="762952" y="2100453"/>
                </a:lnTo>
                <a:lnTo>
                  <a:pt x="727456" y="2123389"/>
                </a:lnTo>
                <a:lnTo>
                  <a:pt x="697852" y="2153475"/>
                </a:lnTo>
                <a:lnTo>
                  <a:pt x="675284" y="2189556"/>
                </a:lnTo>
                <a:lnTo>
                  <a:pt x="660895" y="2230450"/>
                </a:lnTo>
                <a:lnTo>
                  <a:pt x="655840" y="2275001"/>
                </a:lnTo>
                <a:lnTo>
                  <a:pt x="660895" y="2319566"/>
                </a:lnTo>
                <a:lnTo>
                  <a:pt x="675284" y="2360460"/>
                </a:lnTo>
                <a:lnTo>
                  <a:pt x="697852" y="2396540"/>
                </a:lnTo>
                <a:lnTo>
                  <a:pt x="727456" y="2426627"/>
                </a:lnTo>
                <a:lnTo>
                  <a:pt x="762952" y="2449563"/>
                </a:lnTo>
                <a:lnTo>
                  <a:pt x="803198" y="2464181"/>
                </a:lnTo>
                <a:lnTo>
                  <a:pt x="847039" y="2469311"/>
                </a:lnTo>
                <a:lnTo>
                  <a:pt x="890879" y="2464181"/>
                </a:lnTo>
                <a:lnTo>
                  <a:pt x="931125" y="2449563"/>
                </a:lnTo>
                <a:lnTo>
                  <a:pt x="966635" y="2426627"/>
                </a:lnTo>
                <a:lnTo>
                  <a:pt x="996238" y="2396540"/>
                </a:lnTo>
                <a:lnTo>
                  <a:pt x="1018806" y="2360460"/>
                </a:lnTo>
                <a:lnTo>
                  <a:pt x="1033195" y="2319566"/>
                </a:lnTo>
                <a:lnTo>
                  <a:pt x="1038237" y="2275001"/>
                </a:lnTo>
                <a:close/>
              </a:path>
              <a:path w="4842509" h="4812030">
                <a:moveTo>
                  <a:pt x="1353693" y="205016"/>
                </a:moveTo>
                <a:lnTo>
                  <a:pt x="1349044" y="158140"/>
                </a:lnTo>
                <a:lnTo>
                  <a:pt x="1335709" y="114490"/>
                </a:lnTo>
                <a:lnTo>
                  <a:pt x="1314615" y="74993"/>
                </a:lnTo>
                <a:lnTo>
                  <a:pt x="1286675" y="40576"/>
                </a:lnTo>
                <a:lnTo>
                  <a:pt x="1252804" y="12179"/>
                </a:lnTo>
                <a:lnTo>
                  <a:pt x="1230744" y="12"/>
                </a:lnTo>
                <a:lnTo>
                  <a:pt x="1018984" y="12"/>
                </a:lnTo>
                <a:lnTo>
                  <a:pt x="963053" y="40576"/>
                </a:lnTo>
                <a:lnTo>
                  <a:pt x="935113" y="74993"/>
                </a:lnTo>
                <a:lnTo>
                  <a:pt x="914019" y="114490"/>
                </a:lnTo>
                <a:lnTo>
                  <a:pt x="900684" y="158140"/>
                </a:lnTo>
                <a:lnTo>
                  <a:pt x="896035" y="205016"/>
                </a:lnTo>
                <a:lnTo>
                  <a:pt x="900684" y="251879"/>
                </a:lnTo>
                <a:lnTo>
                  <a:pt x="914019" y="295529"/>
                </a:lnTo>
                <a:lnTo>
                  <a:pt x="935113" y="335038"/>
                </a:lnTo>
                <a:lnTo>
                  <a:pt x="963053" y="369443"/>
                </a:lnTo>
                <a:lnTo>
                  <a:pt x="996924" y="397840"/>
                </a:lnTo>
                <a:lnTo>
                  <a:pt x="1035799" y="419290"/>
                </a:lnTo>
                <a:lnTo>
                  <a:pt x="1078750" y="432841"/>
                </a:lnTo>
                <a:lnTo>
                  <a:pt x="1124864" y="437565"/>
                </a:lnTo>
                <a:lnTo>
                  <a:pt x="1170978" y="432841"/>
                </a:lnTo>
                <a:lnTo>
                  <a:pt x="1213929" y="419290"/>
                </a:lnTo>
                <a:lnTo>
                  <a:pt x="1252804" y="397840"/>
                </a:lnTo>
                <a:lnTo>
                  <a:pt x="1286675" y="369443"/>
                </a:lnTo>
                <a:lnTo>
                  <a:pt x="1314615" y="335038"/>
                </a:lnTo>
                <a:lnTo>
                  <a:pt x="1335709" y="295529"/>
                </a:lnTo>
                <a:lnTo>
                  <a:pt x="1349044" y="251879"/>
                </a:lnTo>
                <a:lnTo>
                  <a:pt x="1353693" y="205016"/>
                </a:lnTo>
                <a:close/>
              </a:path>
              <a:path w="4842509" h="4812030">
                <a:moveTo>
                  <a:pt x="2336165" y="3331895"/>
                </a:moveTo>
                <a:lnTo>
                  <a:pt x="2331415" y="3284131"/>
                </a:lnTo>
                <a:lnTo>
                  <a:pt x="2317826" y="3239643"/>
                </a:lnTo>
                <a:lnTo>
                  <a:pt x="2296325" y="3199384"/>
                </a:lnTo>
                <a:lnTo>
                  <a:pt x="2267851" y="3164319"/>
                </a:lnTo>
                <a:lnTo>
                  <a:pt x="2233333" y="3135376"/>
                </a:lnTo>
                <a:lnTo>
                  <a:pt x="2193721" y="3113519"/>
                </a:lnTo>
                <a:lnTo>
                  <a:pt x="2149945" y="3099714"/>
                </a:lnTo>
                <a:lnTo>
                  <a:pt x="2102954" y="3094901"/>
                </a:lnTo>
                <a:lnTo>
                  <a:pt x="2055952" y="3099714"/>
                </a:lnTo>
                <a:lnTo>
                  <a:pt x="2012175" y="3113519"/>
                </a:lnTo>
                <a:lnTo>
                  <a:pt x="1972564" y="3135376"/>
                </a:lnTo>
                <a:lnTo>
                  <a:pt x="1938058" y="3164319"/>
                </a:lnTo>
                <a:lnTo>
                  <a:pt x="1909572" y="3199384"/>
                </a:lnTo>
                <a:lnTo>
                  <a:pt x="1888070" y="3239643"/>
                </a:lnTo>
                <a:lnTo>
                  <a:pt x="1874494" y="3284131"/>
                </a:lnTo>
                <a:lnTo>
                  <a:pt x="1869757" y="3331895"/>
                </a:lnTo>
                <a:lnTo>
                  <a:pt x="1874494" y="3379660"/>
                </a:lnTo>
                <a:lnTo>
                  <a:pt x="1888070" y="3424148"/>
                </a:lnTo>
                <a:lnTo>
                  <a:pt x="1909572" y="3464407"/>
                </a:lnTo>
                <a:lnTo>
                  <a:pt x="1938058" y="3499485"/>
                </a:lnTo>
                <a:lnTo>
                  <a:pt x="1972564" y="3528428"/>
                </a:lnTo>
                <a:lnTo>
                  <a:pt x="2012175" y="3550272"/>
                </a:lnTo>
                <a:lnTo>
                  <a:pt x="2055952" y="3564090"/>
                </a:lnTo>
                <a:lnTo>
                  <a:pt x="2102954" y="3568903"/>
                </a:lnTo>
                <a:lnTo>
                  <a:pt x="2149945" y="3564090"/>
                </a:lnTo>
                <a:lnTo>
                  <a:pt x="2193721" y="3550272"/>
                </a:lnTo>
                <a:lnTo>
                  <a:pt x="2233333" y="3528428"/>
                </a:lnTo>
                <a:lnTo>
                  <a:pt x="2267851" y="3499485"/>
                </a:lnTo>
                <a:lnTo>
                  <a:pt x="2296325" y="3464407"/>
                </a:lnTo>
                <a:lnTo>
                  <a:pt x="2317826" y="3424148"/>
                </a:lnTo>
                <a:lnTo>
                  <a:pt x="2331415" y="3379660"/>
                </a:lnTo>
                <a:lnTo>
                  <a:pt x="2336165" y="3331895"/>
                </a:lnTo>
                <a:close/>
              </a:path>
              <a:path w="4842509" h="4812030">
                <a:moveTo>
                  <a:pt x="2815031" y="1458963"/>
                </a:moveTo>
                <a:lnTo>
                  <a:pt x="2805074" y="1409661"/>
                </a:lnTo>
                <a:lnTo>
                  <a:pt x="2777921" y="1369390"/>
                </a:lnTo>
                <a:lnTo>
                  <a:pt x="2737650" y="1342237"/>
                </a:lnTo>
                <a:lnTo>
                  <a:pt x="2688348" y="1332280"/>
                </a:lnTo>
                <a:lnTo>
                  <a:pt x="1587842" y="1332280"/>
                </a:lnTo>
                <a:lnTo>
                  <a:pt x="1594739" y="1302042"/>
                </a:lnTo>
                <a:lnTo>
                  <a:pt x="1611210" y="1240929"/>
                </a:lnTo>
                <a:lnTo>
                  <a:pt x="1635810" y="1170025"/>
                </a:lnTo>
                <a:lnTo>
                  <a:pt x="1653717" y="1129347"/>
                </a:lnTo>
                <a:lnTo>
                  <a:pt x="1674545" y="1088034"/>
                </a:lnTo>
                <a:lnTo>
                  <a:pt x="1698117" y="1046111"/>
                </a:lnTo>
                <a:lnTo>
                  <a:pt x="1724279" y="1003617"/>
                </a:lnTo>
                <a:lnTo>
                  <a:pt x="1724837" y="1003617"/>
                </a:lnTo>
                <a:lnTo>
                  <a:pt x="1725358" y="1003782"/>
                </a:lnTo>
                <a:lnTo>
                  <a:pt x="2587726" y="1003782"/>
                </a:lnTo>
                <a:lnTo>
                  <a:pt x="2588539" y="1003617"/>
                </a:lnTo>
                <a:lnTo>
                  <a:pt x="2637028" y="993825"/>
                </a:lnTo>
                <a:lnTo>
                  <a:pt x="2677299" y="966673"/>
                </a:lnTo>
                <a:lnTo>
                  <a:pt x="2704452" y="926414"/>
                </a:lnTo>
                <a:lnTo>
                  <a:pt x="2714409" y="877100"/>
                </a:lnTo>
                <a:lnTo>
                  <a:pt x="2704452" y="827798"/>
                </a:lnTo>
                <a:lnTo>
                  <a:pt x="2677299" y="787527"/>
                </a:lnTo>
                <a:lnTo>
                  <a:pt x="2637028" y="760374"/>
                </a:lnTo>
                <a:lnTo>
                  <a:pt x="2587726" y="750417"/>
                </a:lnTo>
                <a:lnTo>
                  <a:pt x="1918449" y="750417"/>
                </a:lnTo>
                <a:lnTo>
                  <a:pt x="1948662" y="716330"/>
                </a:lnTo>
                <a:lnTo>
                  <a:pt x="1979866" y="681990"/>
                </a:lnTo>
                <a:lnTo>
                  <a:pt x="2012010" y="647395"/>
                </a:lnTo>
                <a:lnTo>
                  <a:pt x="2045055" y="612559"/>
                </a:lnTo>
                <a:lnTo>
                  <a:pt x="2078926" y="577494"/>
                </a:lnTo>
                <a:lnTo>
                  <a:pt x="2113610" y="542213"/>
                </a:lnTo>
                <a:lnTo>
                  <a:pt x="2149030" y="506704"/>
                </a:lnTo>
                <a:lnTo>
                  <a:pt x="2185162" y="470992"/>
                </a:lnTo>
                <a:lnTo>
                  <a:pt x="2221954" y="435076"/>
                </a:lnTo>
                <a:lnTo>
                  <a:pt x="2297303" y="362648"/>
                </a:lnTo>
                <a:lnTo>
                  <a:pt x="2414079" y="252666"/>
                </a:lnTo>
                <a:lnTo>
                  <a:pt x="2687383" y="12"/>
                </a:lnTo>
                <a:lnTo>
                  <a:pt x="2146401" y="12"/>
                </a:lnTo>
                <a:lnTo>
                  <a:pt x="2069376" y="72491"/>
                </a:lnTo>
                <a:lnTo>
                  <a:pt x="1987892" y="150406"/>
                </a:lnTo>
                <a:lnTo>
                  <a:pt x="1947964" y="189191"/>
                </a:lnTo>
                <a:lnTo>
                  <a:pt x="1908632" y="227888"/>
                </a:lnTo>
                <a:lnTo>
                  <a:pt x="1869922" y="266471"/>
                </a:lnTo>
                <a:lnTo>
                  <a:pt x="1831911" y="304952"/>
                </a:lnTo>
                <a:lnTo>
                  <a:pt x="1794637" y="343331"/>
                </a:lnTo>
                <a:lnTo>
                  <a:pt x="1758124" y="381622"/>
                </a:lnTo>
                <a:lnTo>
                  <a:pt x="1722450" y="419811"/>
                </a:lnTo>
                <a:lnTo>
                  <a:pt x="1687626" y="457911"/>
                </a:lnTo>
                <a:lnTo>
                  <a:pt x="1653730" y="495922"/>
                </a:lnTo>
                <a:lnTo>
                  <a:pt x="1620786" y="533844"/>
                </a:lnTo>
                <a:lnTo>
                  <a:pt x="1588846" y="571690"/>
                </a:lnTo>
                <a:lnTo>
                  <a:pt x="1557959" y="609447"/>
                </a:lnTo>
                <a:lnTo>
                  <a:pt x="1528152" y="647115"/>
                </a:lnTo>
                <a:lnTo>
                  <a:pt x="1499501" y="684720"/>
                </a:lnTo>
                <a:lnTo>
                  <a:pt x="1472018" y="722249"/>
                </a:lnTo>
                <a:lnTo>
                  <a:pt x="1445780" y="759701"/>
                </a:lnTo>
                <a:lnTo>
                  <a:pt x="1420812" y="797077"/>
                </a:lnTo>
                <a:lnTo>
                  <a:pt x="1397165" y="834390"/>
                </a:lnTo>
                <a:lnTo>
                  <a:pt x="1374889" y="871639"/>
                </a:lnTo>
                <a:lnTo>
                  <a:pt x="1354023" y="908824"/>
                </a:lnTo>
                <a:lnTo>
                  <a:pt x="1334604" y="945946"/>
                </a:lnTo>
                <a:lnTo>
                  <a:pt x="1316697" y="983018"/>
                </a:lnTo>
                <a:lnTo>
                  <a:pt x="1300340" y="1020025"/>
                </a:lnTo>
                <a:lnTo>
                  <a:pt x="1285570" y="1056982"/>
                </a:lnTo>
                <a:lnTo>
                  <a:pt x="1272451" y="1093889"/>
                </a:lnTo>
                <a:lnTo>
                  <a:pt x="1251242" y="1162659"/>
                </a:lnTo>
                <a:lnTo>
                  <a:pt x="1233639" y="1230528"/>
                </a:lnTo>
                <a:lnTo>
                  <a:pt x="1219492" y="1297495"/>
                </a:lnTo>
                <a:lnTo>
                  <a:pt x="1208646" y="1363497"/>
                </a:lnTo>
                <a:lnTo>
                  <a:pt x="1200962" y="1428521"/>
                </a:lnTo>
                <a:lnTo>
                  <a:pt x="1196276" y="1492504"/>
                </a:lnTo>
                <a:lnTo>
                  <a:pt x="1194447" y="1555432"/>
                </a:lnTo>
                <a:lnTo>
                  <a:pt x="1195324" y="1617268"/>
                </a:lnTo>
                <a:lnTo>
                  <a:pt x="1198753" y="1677974"/>
                </a:lnTo>
                <a:lnTo>
                  <a:pt x="1204595" y="1737499"/>
                </a:lnTo>
                <a:lnTo>
                  <a:pt x="1212684" y="1795830"/>
                </a:lnTo>
                <a:lnTo>
                  <a:pt x="1222870" y="1852930"/>
                </a:lnTo>
                <a:lnTo>
                  <a:pt x="1235024" y="1908746"/>
                </a:lnTo>
                <a:lnTo>
                  <a:pt x="1248981" y="1963242"/>
                </a:lnTo>
                <a:lnTo>
                  <a:pt x="1264589" y="2016404"/>
                </a:lnTo>
                <a:lnTo>
                  <a:pt x="1281709" y="2068182"/>
                </a:lnTo>
                <a:lnTo>
                  <a:pt x="1300175" y="2118537"/>
                </a:lnTo>
                <a:lnTo>
                  <a:pt x="1319860" y="2167445"/>
                </a:lnTo>
                <a:lnTo>
                  <a:pt x="1340586" y="2214854"/>
                </a:lnTo>
                <a:lnTo>
                  <a:pt x="1362227" y="2260752"/>
                </a:lnTo>
                <a:lnTo>
                  <a:pt x="1384617" y="2305075"/>
                </a:lnTo>
                <a:lnTo>
                  <a:pt x="1407617" y="2347811"/>
                </a:lnTo>
                <a:lnTo>
                  <a:pt x="1431074" y="2388920"/>
                </a:lnTo>
                <a:lnTo>
                  <a:pt x="1454835" y="2428354"/>
                </a:lnTo>
                <a:lnTo>
                  <a:pt x="1478749" y="2466086"/>
                </a:lnTo>
                <a:lnTo>
                  <a:pt x="1502676" y="2502077"/>
                </a:lnTo>
                <a:lnTo>
                  <a:pt x="1526451" y="2536291"/>
                </a:lnTo>
                <a:lnTo>
                  <a:pt x="1549946" y="2568702"/>
                </a:lnTo>
                <a:lnTo>
                  <a:pt x="1572983" y="2599271"/>
                </a:lnTo>
                <a:lnTo>
                  <a:pt x="1617141" y="2654719"/>
                </a:lnTo>
                <a:lnTo>
                  <a:pt x="1657718" y="2702344"/>
                </a:lnTo>
                <a:lnTo>
                  <a:pt x="1693532" y="2741879"/>
                </a:lnTo>
                <a:lnTo>
                  <a:pt x="1723364" y="2773045"/>
                </a:lnTo>
                <a:lnTo>
                  <a:pt x="1754289" y="2803436"/>
                </a:lnTo>
                <a:lnTo>
                  <a:pt x="1791779" y="2833128"/>
                </a:lnTo>
                <a:lnTo>
                  <a:pt x="1853996" y="2856725"/>
                </a:lnTo>
                <a:lnTo>
                  <a:pt x="1886724" y="2859659"/>
                </a:lnTo>
                <a:lnTo>
                  <a:pt x="1923973" y="2855861"/>
                </a:lnTo>
                <a:lnTo>
                  <a:pt x="1993277" y="2825635"/>
                </a:lnTo>
                <a:lnTo>
                  <a:pt x="2022830" y="2799372"/>
                </a:lnTo>
                <a:lnTo>
                  <a:pt x="2050745" y="2758884"/>
                </a:lnTo>
                <a:lnTo>
                  <a:pt x="2066505" y="2714015"/>
                </a:lnTo>
                <a:lnTo>
                  <a:pt x="2070239" y="2667228"/>
                </a:lnTo>
                <a:lnTo>
                  <a:pt x="2062073" y="2621000"/>
                </a:lnTo>
                <a:lnTo>
                  <a:pt x="2042134" y="2577782"/>
                </a:lnTo>
                <a:lnTo>
                  <a:pt x="2010562" y="2540063"/>
                </a:lnTo>
                <a:lnTo>
                  <a:pt x="2002307" y="2532316"/>
                </a:lnTo>
                <a:lnTo>
                  <a:pt x="1986203" y="2516479"/>
                </a:lnTo>
                <a:lnTo>
                  <a:pt x="1934933" y="2461717"/>
                </a:lnTo>
                <a:lnTo>
                  <a:pt x="1902015" y="2423401"/>
                </a:lnTo>
                <a:lnTo>
                  <a:pt x="1865718" y="2378151"/>
                </a:lnTo>
                <a:lnTo>
                  <a:pt x="1827174" y="2326297"/>
                </a:lnTo>
                <a:lnTo>
                  <a:pt x="1787486" y="2268118"/>
                </a:lnTo>
                <a:lnTo>
                  <a:pt x="1747786" y="2203907"/>
                </a:lnTo>
                <a:lnTo>
                  <a:pt x="1709204" y="2133955"/>
                </a:lnTo>
                <a:lnTo>
                  <a:pt x="2085060" y="2133955"/>
                </a:lnTo>
                <a:lnTo>
                  <a:pt x="2134362" y="2123998"/>
                </a:lnTo>
                <a:lnTo>
                  <a:pt x="2174633" y="2096846"/>
                </a:lnTo>
                <a:lnTo>
                  <a:pt x="2201786" y="2056587"/>
                </a:lnTo>
                <a:lnTo>
                  <a:pt x="2211743" y="2007273"/>
                </a:lnTo>
                <a:lnTo>
                  <a:pt x="2201786" y="1957971"/>
                </a:lnTo>
                <a:lnTo>
                  <a:pt x="2174633" y="1917700"/>
                </a:lnTo>
                <a:lnTo>
                  <a:pt x="2134362" y="1890547"/>
                </a:lnTo>
                <a:lnTo>
                  <a:pt x="2085060" y="1880590"/>
                </a:lnTo>
                <a:lnTo>
                  <a:pt x="1607959" y="1880590"/>
                </a:lnTo>
                <a:lnTo>
                  <a:pt x="1595729" y="1834248"/>
                </a:lnTo>
                <a:lnTo>
                  <a:pt x="1585214" y="1786712"/>
                </a:lnTo>
                <a:lnTo>
                  <a:pt x="1576565" y="1738058"/>
                </a:lnTo>
                <a:lnTo>
                  <a:pt x="1569910" y="1688299"/>
                </a:lnTo>
                <a:lnTo>
                  <a:pt x="1565402" y="1637487"/>
                </a:lnTo>
                <a:lnTo>
                  <a:pt x="1563192" y="1585645"/>
                </a:lnTo>
                <a:lnTo>
                  <a:pt x="2688348" y="1585645"/>
                </a:lnTo>
                <a:lnTo>
                  <a:pt x="2737650" y="1575689"/>
                </a:lnTo>
                <a:lnTo>
                  <a:pt x="2777921" y="1548549"/>
                </a:lnTo>
                <a:lnTo>
                  <a:pt x="2805074" y="1508277"/>
                </a:lnTo>
                <a:lnTo>
                  <a:pt x="2815031" y="1458963"/>
                </a:lnTo>
                <a:close/>
              </a:path>
              <a:path w="4842509" h="4812030">
                <a:moveTo>
                  <a:pt x="3022498" y="2007273"/>
                </a:moveTo>
                <a:lnTo>
                  <a:pt x="3012541" y="1957959"/>
                </a:lnTo>
                <a:lnTo>
                  <a:pt x="2985389" y="1917700"/>
                </a:lnTo>
                <a:lnTo>
                  <a:pt x="2945130" y="1890547"/>
                </a:lnTo>
                <a:lnTo>
                  <a:pt x="2895816" y="1880590"/>
                </a:lnTo>
                <a:lnTo>
                  <a:pt x="2492959" y="1880590"/>
                </a:lnTo>
                <a:lnTo>
                  <a:pt x="2443645" y="1890547"/>
                </a:lnTo>
                <a:lnTo>
                  <a:pt x="2403373" y="1917700"/>
                </a:lnTo>
                <a:lnTo>
                  <a:pt x="2376220" y="1957959"/>
                </a:lnTo>
                <a:lnTo>
                  <a:pt x="2366264" y="2007273"/>
                </a:lnTo>
                <a:lnTo>
                  <a:pt x="2376220" y="2056587"/>
                </a:lnTo>
                <a:lnTo>
                  <a:pt x="2403373" y="2096846"/>
                </a:lnTo>
                <a:lnTo>
                  <a:pt x="2443645" y="2123998"/>
                </a:lnTo>
                <a:lnTo>
                  <a:pt x="2492959" y="2133955"/>
                </a:lnTo>
                <a:lnTo>
                  <a:pt x="2895816" y="2133955"/>
                </a:lnTo>
                <a:lnTo>
                  <a:pt x="2945130" y="2123998"/>
                </a:lnTo>
                <a:lnTo>
                  <a:pt x="2985389" y="2096846"/>
                </a:lnTo>
                <a:lnTo>
                  <a:pt x="3012541" y="2056587"/>
                </a:lnTo>
                <a:lnTo>
                  <a:pt x="3022498" y="2007273"/>
                </a:lnTo>
                <a:close/>
              </a:path>
              <a:path w="4842509" h="4812030">
                <a:moveTo>
                  <a:pt x="3290455" y="869467"/>
                </a:moveTo>
                <a:lnTo>
                  <a:pt x="3285413" y="824915"/>
                </a:lnTo>
                <a:lnTo>
                  <a:pt x="3271024" y="784021"/>
                </a:lnTo>
                <a:lnTo>
                  <a:pt x="3248456" y="747941"/>
                </a:lnTo>
                <a:lnTo>
                  <a:pt x="3218853" y="717854"/>
                </a:lnTo>
                <a:lnTo>
                  <a:pt x="3183344" y="694918"/>
                </a:lnTo>
                <a:lnTo>
                  <a:pt x="3143097" y="680300"/>
                </a:lnTo>
                <a:lnTo>
                  <a:pt x="3099257" y="675170"/>
                </a:lnTo>
                <a:lnTo>
                  <a:pt x="3055429" y="680300"/>
                </a:lnTo>
                <a:lnTo>
                  <a:pt x="3015183" y="694918"/>
                </a:lnTo>
                <a:lnTo>
                  <a:pt x="2979674" y="717854"/>
                </a:lnTo>
                <a:lnTo>
                  <a:pt x="2950070" y="747941"/>
                </a:lnTo>
                <a:lnTo>
                  <a:pt x="2927502" y="784021"/>
                </a:lnTo>
                <a:lnTo>
                  <a:pt x="2913113" y="824915"/>
                </a:lnTo>
                <a:lnTo>
                  <a:pt x="2908058" y="869467"/>
                </a:lnTo>
                <a:lnTo>
                  <a:pt x="2913113" y="914019"/>
                </a:lnTo>
                <a:lnTo>
                  <a:pt x="2927502" y="954925"/>
                </a:lnTo>
                <a:lnTo>
                  <a:pt x="2950070" y="990993"/>
                </a:lnTo>
                <a:lnTo>
                  <a:pt x="2979674" y="1021092"/>
                </a:lnTo>
                <a:lnTo>
                  <a:pt x="3015183" y="1044028"/>
                </a:lnTo>
                <a:lnTo>
                  <a:pt x="3055429" y="1058646"/>
                </a:lnTo>
                <a:lnTo>
                  <a:pt x="3099257" y="1063777"/>
                </a:lnTo>
                <a:lnTo>
                  <a:pt x="3143097" y="1058646"/>
                </a:lnTo>
                <a:lnTo>
                  <a:pt x="3183344" y="1044028"/>
                </a:lnTo>
                <a:lnTo>
                  <a:pt x="3218853" y="1021092"/>
                </a:lnTo>
                <a:lnTo>
                  <a:pt x="3248456" y="990993"/>
                </a:lnTo>
                <a:lnTo>
                  <a:pt x="3271024" y="954925"/>
                </a:lnTo>
                <a:lnTo>
                  <a:pt x="3285413" y="914019"/>
                </a:lnTo>
                <a:lnTo>
                  <a:pt x="3290455" y="869467"/>
                </a:lnTo>
                <a:close/>
              </a:path>
              <a:path w="4842509" h="4812030">
                <a:moveTo>
                  <a:pt x="3455378" y="1445844"/>
                </a:moveTo>
                <a:lnTo>
                  <a:pt x="3449624" y="1402283"/>
                </a:lnTo>
                <a:lnTo>
                  <a:pt x="3433368" y="1363154"/>
                </a:lnTo>
                <a:lnTo>
                  <a:pt x="3408159" y="1329994"/>
                </a:lnTo>
                <a:lnTo>
                  <a:pt x="3375533" y="1304378"/>
                </a:lnTo>
                <a:lnTo>
                  <a:pt x="3337026" y="1287868"/>
                </a:lnTo>
                <a:lnTo>
                  <a:pt x="3294164" y="1282014"/>
                </a:lnTo>
                <a:lnTo>
                  <a:pt x="3251314" y="1287868"/>
                </a:lnTo>
                <a:lnTo>
                  <a:pt x="3212795" y="1304378"/>
                </a:lnTo>
                <a:lnTo>
                  <a:pt x="3180169" y="1329994"/>
                </a:lnTo>
                <a:lnTo>
                  <a:pt x="3154959" y="1363154"/>
                </a:lnTo>
                <a:lnTo>
                  <a:pt x="3138716" y="1402283"/>
                </a:lnTo>
                <a:lnTo>
                  <a:pt x="3132950" y="1445844"/>
                </a:lnTo>
                <a:lnTo>
                  <a:pt x="3138716" y="1489392"/>
                </a:lnTo>
                <a:lnTo>
                  <a:pt x="3154959" y="1528533"/>
                </a:lnTo>
                <a:lnTo>
                  <a:pt x="3180169" y="1561680"/>
                </a:lnTo>
                <a:lnTo>
                  <a:pt x="3212795" y="1587309"/>
                </a:lnTo>
                <a:lnTo>
                  <a:pt x="3251314" y="1603819"/>
                </a:lnTo>
                <a:lnTo>
                  <a:pt x="3294164" y="1609674"/>
                </a:lnTo>
                <a:lnTo>
                  <a:pt x="3337026" y="1603819"/>
                </a:lnTo>
                <a:lnTo>
                  <a:pt x="3375533" y="1587309"/>
                </a:lnTo>
                <a:lnTo>
                  <a:pt x="3408159" y="1561680"/>
                </a:lnTo>
                <a:lnTo>
                  <a:pt x="3433368" y="1528533"/>
                </a:lnTo>
                <a:lnTo>
                  <a:pt x="3449624" y="1489392"/>
                </a:lnTo>
                <a:lnTo>
                  <a:pt x="3455378" y="1445844"/>
                </a:lnTo>
                <a:close/>
              </a:path>
              <a:path w="4842509" h="4812030">
                <a:moveTo>
                  <a:pt x="3677882" y="150622"/>
                </a:moveTo>
                <a:lnTo>
                  <a:pt x="3669868" y="100114"/>
                </a:lnTo>
                <a:lnTo>
                  <a:pt x="3647541" y="56248"/>
                </a:lnTo>
                <a:lnTo>
                  <a:pt x="3613505" y="21653"/>
                </a:lnTo>
                <a:lnTo>
                  <a:pt x="3572306" y="0"/>
                </a:lnTo>
                <a:lnTo>
                  <a:pt x="3468979" y="0"/>
                </a:lnTo>
                <a:lnTo>
                  <a:pt x="3427780" y="21653"/>
                </a:lnTo>
                <a:lnTo>
                  <a:pt x="3393744" y="56248"/>
                </a:lnTo>
                <a:lnTo>
                  <a:pt x="3371418" y="100114"/>
                </a:lnTo>
                <a:lnTo>
                  <a:pt x="3363404" y="150622"/>
                </a:lnTo>
                <a:lnTo>
                  <a:pt x="3371418" y="201129"/>
                </a:lnTo>
                <a:lnTo>
                  <a:pt x="3393744" y="244995"/>
                </a:lnTo>
                <a:lnTo>
                  <a:pt x="3427780" y="279577"/>
                </a:lnTo>
                <a:lnTo>
                  <a:pt x="3470935" y="302260"/>
                </a:lnTo>
                <a:lnTo>
                  <a:pt x="3520643" y="310413"/>
                </a:lnTo>
                <a:lnTo>
                  <a:pt x="3570338" y="302260"/>
                </a:lnTo>
                <a:lnTo>
                  <a:pt x="3613505" y="279577"/>
                </a:lnTo>
                <a:lnTo>
                  <a:pt x="3647541" y="244995"/>
                </a:lnTo>
                <a:lnTo>
                  <a:pt x="3669868" y="201129"/>
                </a:lnTo>
                <a:lnTo>
                  <a:pt x="3677882" y="150622"/>
                </a:lnTo>
                <a:close/>
              </a:path>
              <a:path w="4842509" h="4812030">
                <a:moveTo>
                  <a:pt x="3887127" y="718464"/>
                </a:moveTo>
                <a:lnTo>
                  <a:pt x="3882085" y="673912"/>
                </a:lnTo>
                <a:lnTo>
                  <a:pt x="3867696" y="633006"/>
                </a:lnTo>
                <a:lnTo>
                  <a:pt x="3845128" y="596925"/>
                </a:lnTo>
                <a:lnTo>
                  <a:pt x="3815524" y="566839"/>
                </a:lnTo>
                <a:lnTo>
                  <a:pt x="3780015" y="543902"/>
                </a:lnTo>
                <a:lnTo>
                  <a:pt x="3739769" y="529285"/>
                </a:lnTo>
                <a:lnTo>
                  <a:pt x="3695928" y="524154"/>
                </a:lnTo>
                <a:lnTo>
                  <a:pt x="3652101" y="529285"/>
                </a:lnTo>
                <a:lnTo>
                  <a:pt x="3611854" y="543902"/>
                </a:lnTo>
                <a:lnTo>
                  <a:pt x="3576345" y="566839"/>
                </a:lnTo>
                <a:lnTo>
                  <a:pt x="3546741" y="596925"/>
                </a:lnTo>
                <a:lnTo>
                  <a:pt x="3524173" y="633006"/>
                </a:lnTo>
                <a:lnTo>
                  <a:pt x="3509784" y="673912"/>
                </a:lnTo>
                <a:lnTo>
                  <a:pt x="3504730" y="718464"/>
                </a:lnTo>
                <a:lnTo>
                  <a:pt x="3509784" y="763016"/>
                </a:lnTo>
                <a:lnTo>
                  <a:pt x="3524173" y="803910"/>
                </a:lnTo>
                <a:lnTo>
                  <a:pt x="3546741" y="839990"/>
                </a:lnTo>
                <a:lnTo>
                  <a:pt x="3576345" y="870089"/>
                </a:lnTo>
                <a:lnTo>
                  <a:pt x="3611854" y="893025"/>
                </a:lnTo>
                <a:lnTo>
                  <a:pt x="3652101" y="907643"/>
                </a:lnTo>
                <a:lnTo>
                  <a:pt x="3695928" y="912774"/>
                </a:lnTo>
                <a:lnTo>
                  <a:pt x="3739769" y="907643"/>
                </a:lnTo>
                <a:lnTo>
                  <a:pt x="3780015" y="893025"/>
                </a:lnTo>
                <a:lnTo>
                  <a:pt x="3815524" y="870089"/>
                </a:lnTo>
                <a:lnTo>
                  <a:pt x="3845128" y="839990"/>
                </a:lnTo>
                <a:lnTo>
                  <a:pt x="3867696" y="803910"/>
                </a:lnTo>
                <a:lnTo>
                  <a:pt x="3882085" y="763016"/>
                </a:lnTo>
                <a:lnTo>
                  <a:pt x="3887127" y="718464"/>
                </a:lnTo>
                <a:close/>
              </a:path>
              <a:path w="4842509" h="4812030">
                <a:moveTo>
                  <a:pt x="4802949" y="2826423"/>
                </a:moveTo>
                <a:lnTo>
                  <a:pt x="4797895" y="2781871"/>
                </a:lnTo>
                <a:lnTo>
                  <a:pt x="4783518" y="2740977"/>
                </a:lnTo>
                <a:lnTo>
                  <a:pt x="4760950" y="2704896"/>
                </a:lnTo>
                <a:lnTo>
                  <a:pt x="4731334" y="2674810"/>
                </a:lnTo>
                <a:lnTo>
                  <a:pt x="4695837" y="2651874"/>
                </a:lnTo>
                <a:lnTo>
                  <a:pt x="4655591" y="2637256"/>
                </a:lnTo>
                <a:lnTo>
                  <a:pt x="4611751" y="2632113"/>
                </a:lnTo>
                <a:lnTo>
                  <a:pt x="4567910" y="2637256"/>
                </a:lnTo>
                <a:lnTo>
                  <a:pt x="4527664" y="2651874"/>
                </a:lnTo>
                <a:lnTo>
                  <a:pt x="4492168" y="2674810"/>
                </a:lnTo>
                <a:lnTo>
                  <a:pt x="4462551" y="2704896"/>
                </a:lnTo>
                <a:lnTo>
                  <a:pt x="4439983" y="2740977"/>
                </a:lnTo>
                <a:lnTo>
                  <a:pt x="4425607" y="2781871"/>
                </a:lnTo>
                <a:lnTo>
                  <a:pt x="4420552" y="2826423"/>
                </a:lnTo>
                <a:lnTo>
                  <a:pt x="4425607" y="2870987"/>
                </a:lnTo>
                <a:lnTo>
                  <a:pt x="4439983" y="2911881"/>
                </a:lnTo>
                <a:lnTo>
                  <a:pt x="4462551" y="2947962"/>
                </a:lnTo>
                <a:lnTo>
                  <a:pt x="4492168" y="2978048"/>
                </a:lnTo>
                <a:lnTo>
                  <a:pt x="4527664" y="3000984"/>
                </a:lnTo>
                <a:lnTo>
                  <a:pt x="4567910" y="3015602"/>
                </a:lnTo>
                <a:lnTo>
                  <a:pt x="4611751" y="3020733"/>
                </a:lnTo>
                <a:lnTo>
                  <a:pt x="4655591" y="3015602"/>
                </a:lnTo>
                <a:lnTo>
                  <a:pt x="4695837" y="3000984"/>
                </a:lnTo>
                <a:lnTo>
                  <a:pt x="4731334" y="2978048"/>
                </a:lnTo>
                <a:lnTo>
                  <a:pt x="4760950" y="2947962"/>
                </a:lnTo>
                <a:lnTo>
                  <a:pt x="4783518" y="2911881"/>
                </a:lnTo>
                <a:lnTo>
                  <a:pt x="4797895" y="2870987"/>
                </a:lnTo>
                <a:lnTo>
                  <a:pt x="4802949" y="2826423"/>
                </a:lnTo>
                <a:close/>
              </a:path>
              <a:path w="4842509" h="4812030">
                <a:moveTo>
                  <a:pt x="4841951" y="3211792"/>
                </a:moveTo>
                <a:lnTo>
                  <a:pt x="4773104" y="3214001"/>
                </a:lnTo>
                <a:lnTo>
                  <a:pt x="4732858" y="3228619"/>
                </a:lnTo>
                <a:lnTo>
                  <a:pt x="4697349" y="3251555"/>
                </a:lnTo>
                <a:lnTo>
                  <a:pt x="4667745" y="3281642"/>
                </a:lnTo>
                <a:lnTo>
                  <a:pt x="4645177" y="3317722"/>
                </a:lnTo>
                <a:lnTo>
                  <a:pt x="4630788" y="3358629"/>
                </a:lnTo>
                <a:lnTo>
                  <a:pt x="4625746" y="3403181"/>
                </a:lnTo>
                <a:lnTo>
                  <a:pt x="4630788" y="3447732"/>
                </a:lnTo>
                <a:lnTo>
                  <a:pt x="4645177" y="3488626"/>
                </a:lnTo>
                <a:lnTo>
                  <a:pt x="4667745" y="3524707"/>
                </a:lnTo>
                <a:lnTo>
                  <a:pt x="4697349" y="3554806"/>
                </a:lnTo>
                <a:lnTo>
                  <a:pt x="4732858" y="3577742"/>
                </a:lnTo>
                <a:lnTo>
                  <a:pt x="4773104" y="3592360"/>
                </a:lnTo>
                <a:lnTo>
                  <a:pt x="4816945" y="3597491"/>
                </a:lnTo>
                <a:lnTo>
                  <a:pt x="4841951" y="3594557"/>
                </a:lnTo>
                <a:lnTo>
                  <a:pt x="4841951" y="3211792"/>
                </a:lnTo>
                <a:close/>
              </a:path>
              <a:path w="4842509" h="4812030">
                <a:moveTo>
                  <a:pt x="4841951" y="1851342"/>
                </a:moveTo>
                <a:lnTo>
                  <a:pt x="4807712" y="1884832"/>
                </a:lnTo>
                <a:lnTo>
                  <a:pt x="4783315" y="1919909"/>
                </a:lnTo>
                <a:lnTo>
                  <a:pt x="4765014" y="1959063"/>
                </a:lnTo>
                <a:lnTo>
                  <a:pt x="4753534" y="2001583"/>
                </a:lnTo>
                <a:lnTo>
                  <a:pt x="4749546" y="2046757"/>
                </a:lnTo>
                <a:lnTo>
                  <a:pt x="4753534" y="2091944"/>
                </a:lnTo>
                <a:lnTo>
                  <a:pt x="4765014" y="2134463"/>
                </a:lnTo>
                <a:lnTo>
                  <a:pt x="4783315" y="2173617"/>
                </a:lnTo>
                <a:lnTo>
                  <a:pt x="4807712" y="2208695"/>
                </a:lnTo>
                <a:lnTo>
                  <a:pt x="4837519" y="2238997"/>
                </a:lnTo>
                <a:lnTo>
                  <a:pt x="4841951" y="2242185"/>
                </a:lnTo>
                <a:lnTo>
                  <a:pt x="4841951" y="1851342"/>
                </a:lnTo>
                <a:close/>
              </a:path>
              <a:path w="4842509" h="4812030">
                <a:moveTo>
                  <a:pt x="4841951" y="582485"/>
                </a:moveTo>
                <a:lnTo>
                  <a:pt x="4189387" y="582485"/>
                </a:lnTo>
                <a:lnTo>
                  <a:pt x="4140073" y="592455"/>
                </a:lnTo>
                <a:lnTo>
                  <a:pt x="4099814" y="619594"/>
                </a:lnTo>
                <a:lnTo>
                  <a:pt x="4072674" y="659866"/>
                </a:lnTo>
                <a:lnTo>
                  <a:pt x="4062730" y="709168"/>
                </a:lnTo>
                <a:lnTo>
                  <a:pt x="4072674" y="758482"/>
                </a:lnTo>
                <a:lnTo>
                  <a:pt x="4099814" y="798753"/>
                </a:lnTo>
                <a:lnTo>
                  <a:pt x="4140073" y="825906"/>
                </a:lnTo>
                <a:lnTo>
                  <a:pt x="4189387" y="835850"/>
                </a:lnTo>
                <a:lnTo>
                  <a:pt x="4767542" y="835850"/>
                </a:lnTo>
                <a:lnTo>
                  <a:pt x="4736668" y="873556"/>
                </a:lnTo>
                <a:lnTo>
                  <a:pt x="4705045" y="911199"/>
                </a:lnTo>
                <a:lnTo>
                  <a:pt x="4672723" y="948778"/>
                </a:lnTo>
                <a:lnTo>
                  <a:pt x="4639742" y="986294"/>
                </a:lnTo>
                <a:lnTo>
                  <a:pt x="4606137" y="1023747"/>
                </a:lnTo>
                <a:lnTo>
                  <a:pt x="4571949" y="1061110"/>
                </a:lnTo>
                <a:lnTo>
                  <a:pt x="4537214" y="1098384"/>
                </a:lnTo>
                <a:lnTo>
                  <a:pt x="4501985" y="1135583"/>
                </a:lnTo>
                <a:lnTo>
                  <a:pt x="4466285" y="1172667"/>
                </a:lnTo>
                <a:lnTo>
                  <a:pt x="4430166" y="1209662"/>
                </a:lnTo>
                <a:lnTo>
                  <a:pt x="4393654" y="1246543"/>
                </a:lnTo>
                <a:lnTo>
                  <a:pt x="4356811" y="1283309"/>
                </a:lnTo>
                <a:lnTo>
                  <a:pt x="4319663" y="1319961"/>
                </a:lnTo>
                <a:lnTo>
                  <a:pt x="4282249" y="1356474"/>
                </a:lnTo>
                <a:lnTo>
                  <a:pt x="4206786" y="1429118"/>
                </a:lnTo>
                <a:lnTo>
                  <a:pt x="4092625" y="1536966"/>
                </a:lnTo>
                <a:lnTo>
                  <a:pt x="3735552" y="1867319"/>
                </a:lnTo>
                <a:lnTo>
                  <a:pt x="3567468" y="2024532"/>
                </a:lnTo>
                <a:lnTo>
                  <a:pt x="3485985" y="2102446"/>
                </a:lnTo>
                <a:lnTo>
                  <a:pt x="3446056" y="2141245"/>
                </a:lnTo>
                <a:lnTo>
                  <a:pt x="3406711" y="2179929"/>
                </a:lnTo>
                <a:lnTo>
                  <a:pt x="3368014" y="2218512"/>
                </a:lnTo>
                <a:lnTo>
                  <a:pt x="3330003" y="2256993"/>
                </a:lnTo>
                <a:lnTo>
                  <a:pt x="3292716" y="2295372"/>
                </a:lnTo>
                <a:lnTo>
                  <a:pt x="3256216" y="2333663"/>
                </a:lnTo>
                <a:lnTo>
                  <a:pt x="3220529" y="2371852"/>
                </a:lnTo>
                <a:lnTo>
                  <a:pt x="3185718" y="2409952"/>
                </a:lnTo>
                <a:lnTo>
                  <a:pt x="3151809" y="2447963"/>
                </a:lnTo>
                <a:lnTo>
                  <a:pt x="3118866" y="2485885"/>
                </a:lnTo>
                <a:lnTo>
                  <a:pt x="3086925" y="2523731"/>
                </a:lnTo>
                <a:lnTo>
                  <a:pt x="3056039" y="2561488"/>
                </a:lnTo>
                <a:lnTo>
                  <a:pt x="3026245" y="2599169"/>
                </a:lnTo>
                <a:lnTo>
                  <a:pt x="2997581" y="2636761"/>
                </a:lnTo>
                <a:lnTo>
                  <a:pt x="2970111" y="2674289"/>
                </a:lnTo>
                <a:lnTo>
                  <a:pt x="2943860" y="2711742"/>
                </a:lnTo>
                <a:lnTo>
                  <a:pt x="2918904" y="2749118"/>
                </a:lnTo>
                <a:lnTo>
                  <a:pt x="2895257" y="2786430"/>
                </a:lnTo>
                <a:lnTo>
                  <a:pt x="2872981" y="2823680"/>
                </a:lnTo>
                <a:lnTo>
                  <a:pt x="2852102" y="2860865"/>
                </a:lnTo>
                <a:lnTo>
                  <a:pt x="2832697" y="2898000"/>
                </a:lnTo>
                <a:lnTo>
                  <a:pt x="2814790" y="2935059"/>
                </a:lnTo>
                <a:lnTo>
                  <a:pt x="2798432" y="2972066"/>
                </a:lnTo>
                <a:lnTo>
                  <a:pt x="2783662" y="3009023"/>
                </a:lnTo>
                <a:lnTo>
                  <a:pt x="2770543" y="3045930"/>
                </a:lnTo>
                <a:lnTo>
                  <a:pt x="2749334" y="3114700"/>
                </a:lnTo>
                <a:lnTo>
                  <a:pt x="2731732" y="3182582"/>
                </a:lnTo>
                <a:lnTo>
                  <a:pt x="2717584" y="3249536"/>
                </a:lnTo>
                <a:lnTo>
                  <a:pt x="2706751" y="3315551"/>
                </a:lnTo>
                <a:lnTo>
                  <a:pt x="2699054" y="3380562"/>
                </a:lnTo>
                <a:lnTo>
                  <a:pt x="2694368" y="3444557"/>
                </a:lnTo>
                <a:lnTo>
                  <a:pt x="2692539" y="3507486"/>
                </a:lnTo>
                <a:lnTo>
                  <a:pt x="2693416" y="3569322"/>
                </a:lnTo>
                <a:lnTo>
                  <a:pt x="2696845" y="3630015"/>
                </a:lnTo>
                <a:lnTo>
                  <a:pt x="2702687" y="3689553"/>
                </a:lnTo>
                <a:lnTo>
                  <a:pt x="2710777" y="3747884"/>
                </a:lnTo>
                <a:lnTo>
                  <a:pt x="2720975" y="3804970"/>
                </a:lnTo>
                <a:lnTo>
                  <a:pt x="2733116" y="3860787"/>
                </a:lnTo>
                <a:lnTo>
                  <a:pt x="2747073" y="3915295"/>
                </a:lnTo>
                <a:lnTo>
                  <a:pt x="2762681" y="3968458"/>
                </a:lnTo>
                <a:lnTo>
                  <a:pt x="2779801" y="4020235"/>
                </a:lnTo>
                <a:lnTo>
                  <a:pt x="2798267" y="4070591"/>
                </a:lnTo>
                <a:lnTo>
                  <a:pt x="2817952" y="4119499"/>
                </a:lnTo>
                <a:lnTo>
                  <a:pt x="2838678" y="4166908"/>
                </a:lnTo>
                <a:lnTo>
                  <a:pt x="2860319" y="4212806"/>
                </a:lnTo>
                <a:lnTo>
                  <a:pt x="2882709" y="4257129"/>
                </a:lnTo>
                <a:lnTo>
                  <a:pt x="2905709" y="4299864"/>
                </a:lnTo>
                <a:lnTo>
                  <a:pt x="2929166" y="4340974"/>
                </a:lnTo>
                <a:lnTo>
                  <a:pt x="2952927" y="4380408"/>
                </a:lnTo>
                <a:lnTo>
                  <a:pt x="2976854" y="4418139"/>
                </a:lnTo>
                <a:lnTo>
                  <a:pt x="3000768" y="4454131"/>
                </a:lnTo>
                <a:lnTo>
                  <a:pt x="3024555" y="4488345"/>
                </a:lnTo>
                <a:lnTo>
                  <a:pt x="3048038" y="4520755"/>
                </a:lnTo>
                <a:lnTo>
                  <a:pt x="3071076" y="4551324"/>
                </a:lnTo>
                <a:lnTo>
                  <a:pt x="3115233" y="4606772"/>
                </a:lnTo>
                <a:lnTo>
                  <a:pt x="3155810" y="4654410"/>
                </a:lnTo>
                <a:lnTo>
                  <a:pt x="3191624" y="4693945"/>
                </a:lnTo>
                <a:lnTo>
                  <a:pt x="3221456" y="4725098"/>
                </a:lnTo>
                <a:lnTo>
                  <a:pt x="3252393" y="4755489"/>
                </a:lnTo>
                <a:lnTo>
                  <a:pt x="3289871" y="4785195"/>
                </a:lnTo>
                <a:lnTo>
                  <a:pt x="3352101" y="4808791"/>
                </a:lnTo>
                <a:lnTo>
                  <a:pt x="3384816" y="4811725"/>
                </a:lnTo>
                <a:lnTo>
                  <a:pt x="3422065" y="4807928"/>
                </a:lnTo>
                <a:lnTo>
                  <a:pt x="3491369" y="4777714"/>
                </a:lnTo>
                <a:lnTo>
                  <a:pt x="3520922" y="4751438"/>
                </a:lnTo>
                <a:lnTo>
                  <a:pt x="3548837" y="4710963"/>
                </a:lnTo>
                <a:lnTo>
                  <a:pt x="3564598" y="4666081"/>
                </a:lnTo>
                <a:lnTo>
                  <a:pt x="3568331" y="4619295"/>
                </a:lnTo>
                <a:lnTo>
                  <a:pt x="3560165" y="4573067"/>
                </a:lnTo>
                <a:lnTo>
                  <a:pt x="3540239" y="4529861"/>
                </a:lnTo>
                <a:lnTo>
                  <a:pt x="3508654" y="4492129"/>
                </a:lnTo>
                <a:lnTo>
                  <a:pt x="3500399" y="4484382"/>
                </a:lnTo>
                <a:lnTo>
                  <a:pt x="3484295" y="4468546"/>
                </a:lnTo>
                <a:lnTo>
                  <a:pt x="3433026" y="4413796"/>
                </a:lnTo>
                <a:lnTo>
                  <a:pt x="3400107" y="4375455"/>
                </a:lnTo>
                <a:lnTo>
                  <a:pt x="3363798" y="4330217"/>
                </a:lnTo>
                <a:lnTo>
                  <a:pt x="3325253" y="4278363"/>
                </a:lnTo>
                <a:lnTo>
                  <a:pt x="3285566" y="4220172"/>
                </a:lnTo>
                <a:lnTo>
                  <a:pt x="3245878" y="4155960"/>
                </a:lnTo>
                <a:lnTo>
                  <a:pt x="3207283" y="4085996"/>
                </a:lnTo>
                <a:lnTo>
                  <a:pt x="3803065" y="4085996"/>
                </a:lnTo>
                <a:lnTo>
                  <a:pt x="3852380" y="4076039"/>
                </a:lnTo>
                <a:lnTo>
                  <a:pt x="3892639" y="4048887"/>
                </a:lnTo>
                <a:lnTo>
                  <a:pt x="3919766" y="4008628"/>
                </a:lnTo>
                <a:lnTo>
                  <a:pt x="3929723" y="3959314"/>
                </a:lnTo>
                <a:lnTo>
                  <a:pt x="3919766" y="3910012"/>
                </a:lnTo>
                <a:lnTo>
                  <a:pt x="3892639" y="3869740"/>
                </a:lnTo>
                <a:lnTo>
                  <a:pt x="3852380" y="3842588"/>
                </a:lnTo>
                <a:lnTo>
                  <a:pt x="3803065" y="3832631"/>
                </a:lnTo>
                <a:lnTo>
                  <a:pt x="3106051" y="3832631"/>
                </a:lnTo>
                <a:lnTo>
                  <a:pt x="3093821" y="3786289"/>
                </a:lnTo>
                <a:lnTo>
                  <a:pt x="3083318" y="3738765"/>
                </a:lnTo>
                <a:lnTo>
                  <a:pt x="3074657" y="3690099"/>
                </a:lnTo>
                <a:lnTo>
                  <a:pt x="3068002" y="3640340"/>
                </a:lnTo>
                <a:lnTo>
                  <a:pt x="3063494" y="3589528"/>
                </a:lnTo>
                <a:lnTo>
                  <a:pt x="3061284" y="3537686"/>
                </a:lnTo>
                <a:lnTo>
                  <a:pt x="4186415" y="3537686"/>
                </a:lnTo>
                <a:lnTo>
                  <a:pt x="4235729" y="3527742"/>
                </a:lnTo>
                <a:lnTo>
                  <a:pt x="4275988" y="3500590"/>
                </a:lnTo>
                <a:lnTo>
                  <a:pt x="4303128" y="3460318"/>
                </a:lnTo>
                <a:lnTo>
                  <a:pt x="4313072" y="3411004"/>
                </a:lnTo>
                <a:lnTo>
                  <a:pt x="4303128" y="3361702"/>
                </a:lnTo>
                <a:lnTo>
                  <a:pt x="4275988" y="3321431"/>
                </a:lnTo>
                <a:lnTo>
                  <a:pt x="4235729" y="3294291"/>
                </a:lnTo>
                <a:lnTo>
                  <a:pt x="4186415" y="3284321"/>
                </a:lnTo>
                <a:lnTo>
                  <a:pt x="3085935" y="3284321"/>
                </a:lnTo>
                <a:lnTo>
                  <a:pt x="3092831" y="3254083"/>
                </a:lnTo>
                <a:lnTo>
                  <a:pt x="3109315" y="3192983"/>
                </a:lnTo>
                <a:lnTo>
                  <a:pt x="3133902" y="3122079"/>
                </a:lnTo>
                <a:lnTo>
                  <a:pt x="3151809" y="3081401"/>
                </a:lnTo>
                <a:lnTo>
                  <a:pt x="3172637" y="3040075"/>
                </a:lnTo>
                <a:lnTo>
                  <a:pt x="3196209" y="2998165"/>
                </a:lnTo>
                <a:lnTo>
                  <a:pt x="3222371" y="2955658"/>
                </a:lnTo>
                <a:lnTo>
                  <a:pt x="3222929" y="2955658"/>
                </a:lnTo>
                <a:lnTo>
                  <a:pt x="3223450" y="2955823"/>
                </a:lnTo>
                <a:lnTo>
                  <a:pt x="4085818" y="2955823"/>
                </a:lnTo>
                <a:lnTo>
                  <a:pt x="4086631" y="2955658"/>
                </a:lnTo>
                <a:lnTo>
                  <a:pt x="4135132" y="2945866"/>
                </a:lnTo>
                <a:lnTo>
                  <a:pt x="4175391" y="2918714"/>
                </a:lnTo>
                <a:lnTo>
                  <a:pt x="4202519" y="2878455"/>
                </a:lnTo>
                <a:lnTo>
                  <a:pt x="4212475" y="2829141"/>
                </a:lnTo>
                <a:lnTo>
                  <a:pt x="4202519" y="2779839"/>
                </a:lnTo>
                <a:lnTo>
                  <a:pt x="4175391" y="2739567"/>
                </a:lnTo>
                <a:lnTo>
                  <a:pt x="4135132" y="2712415"/>
                </a:lnTo>
                <a:lnTo>
                  <a:pt x="4085818" y="2702458"/>
                </a:lnTo>
                <a:lnTo>
                  <a:pt x="3416541" y="2702458"/>
                </a:lnTo>
                <a:lnTo>
                  <a:pt x="3446754" y="2668371"/>
                </a:lnTo>
                <a:lnTo>
                  <a:pt x="3477958" y="2634030"/>
                </a:lnTo>
                <a:lnTo>
                  <a:pt x="3510102" y="2599436"/>
                </a:lnTo>
                <a:lnTo>
                  <a:pt x="3543135" y="2564612"/>
                </a:lnTo>
                <a:lnTo>
                  <a:pt x="3577018" y="2529548"/>
                </a:lnTo>
                <a:lnTo>
                  <a:pt x="3611702" y="2494267"/>
                </a:lnTo>
                <a:lnTo>
                  <a:pt x="3647122" y="2458758"/>
                </a:lnTo>
                <a:lnTo>
                  <a:pt x="3683254" y="2423045"/>
                </a:lnTo>
                <a:lnTo>
                  <a:pt x="3720046" y="2387117"/>
                </a:lnTo>
                <a:lnTo>
                  <a:pt x="3795395" y="2314702"/>
                </a:lnTo>
                <a:lnTo>
                  <a:pt x="3912184" y="2204707"/>
                </a:lnTo>
                <a:lnTo>
                  <a:pt x="4351325" y="1798180"/>
                </a:lnTo>
                <a:lnTo>
                  <a:pt x="4468863" y="1687245"/>
                </a:lnTo>
                <a:lnTo>
                  <a:pt x="4546206" y="1612912"/>
                </a:lnTo>
                <a:lnTo>
                  <a:pt x="4584484" y="1575625"/>
                </a:lnTo>
                <a:lnTo>
                  <a:pt x="4622444" y="1538236"/>
                </a:lnTo>
                <a:lnTo>
                  <a:pt x="4660087" y="1500771"/>
                </a:lnTo>
                <a:lnTo>
                  <a:pt x="4697361" y="1463205"/>
                </a:lnTo>
                <a:lnTo>
                  <a:pt x="4734242" y="1425549"/>
                </a:lnTo>
                <a:lnTo>
                  <a:pt x="4770691" y="1387792"/>
                </a:lnTo>
                <a:lnTo>
                  <a:pt x="4806696" y="1349933"/>
                </a:lnTo>
                <a:lnTo>
                  <a:pt x="4841951" y="1312240"/>
                </a:lnTo>
                <a:lnTo>
                  <a:pt x="4841951" y="582485"/>
                </a:lnTo>
                <a:close/>
              </a:path>
              <a:path w="4842509" h="4812030">
                <a:moveTo>
                  <a:pt x="4841951" y="7937"/>
                </a:moveTo>
                <a:lnTo>
                  <a:pt x="4133786" y="7937"/>
                </a:lnTo>
                <a:lnTo>
                  <a:pt x="4084472" y="17907"/>
                </a:lnTo>
                <a:lnTo>
                  <a:pt x="4044213" y="45046"/>
                </a:lnTo>
                <a:lnTo>
                  <a:pt x="4017073" y="85318"/>
                </a:lnTo>
                <a:lnTo>
                  <a:pt x="4007129" y="134620"/>
                </a:lnTo>
                <a:lnTo>
                  <a:pt x="4017073" y="183934"/>
                </a:lnTo>
                <a:lnTo>
                  <a:pt x="4044213" y="224205"/>
                </a:lnTo>
                <a:lnTo>
                  <a:pt x="4084472" y="251358"/>
                </a:lnTo>
                <a:lnTo>
                  <a:pt x="4133786" y="261315"/>
                </a:lnTo>
                <a:lnTo>
                  <a:pt x="4841951" y="261315"/>
                </a:lnTo>
                <a:lnTo>
                  <a:pt x="4841951" y="7937"/>
                </a:lnTo>
                <a:close/>
              </a:path>
            </a:pathLst>
          </a:custGeom>
          <a:solidFill>
            <a:srgbClr val="0E5C77">
              <a:alpha val="23999"/>
            </a:srgbClr>
          </a:solidFill>
        </p:spPr>
        <p:txBody>
          <a:bodyPr wrap="square" lIns="0" tIns="0" rIns="0" bIns="0" rtlCol="0"/>
          <a:lstStyle/>
          <a:p>
            <a:endParaRPr/>
          </a:p>
        </p:txBody>
      </p:sp>
      <p:grpSp>
        <p:nvGrpSpPr>
          <p:cNvPr id="21" name="Group 20">
            <a:extLst>
              <a:ext uri="{FF2B5EF4-FFF2-40B4-BE49-F238E27FC236}">
                <a16:creationId xmlns:a16="http://schemas.microsoft.com/office/drawing/2014/main" id="{59489945-D82B-16EA-87F9-4DB1AC09BCAB}"/>
              </a:ext>
            </a:extLst>
          </p:cNvPr>
          <p:cNvGrpSpPr/>
          <p:nvPr userDrawn="1"/>
        </p:nvGrpSpPr>
        <p:grpSpPr>
          <a:xfrm>
            <a:off x="9598" y="4557616"/>
            <a:ext cx="3097294" cy="2298207"/>
            <a:chOff x="9598" y="4557616"/>
            <a:chExt cx="3097294" cy="2298207"/>
          </a:xfrm>
        </p:grpSpPr>
        <p:sp>
          <p:nvSpPr>
            <p:cNvPr id="22" name="object 4">
              <a:extLst>
                <a:ext uri="{FF2B5EF4-FFF2-40B4-BE49-F238E27FC236}">
                  <a16:creationId xmlns:a16="http://schemas.microsoft.com/office/drawing/2014/main" id="{863EF05D-4F3C-2EAC-0BD4-17EC180015FD}"/>
                </a:ext>
              </a:extLst>
            </p:cNvPr>
            <p:cNvSpPr/>
            <p:nvPr/>
          </p:nvSpPr>
          <p:spPr>
            <a:xfrm>
              <a:off x="1316370" y="6327748"/>
              <a:ext cx="614398" cy="528026"/>
            </a:xfrm>
            <a:custGeom>
              <a:avLst/>
              <a:gdLst/>
              <a:ahLst/>
              <a:cxnLst/>
              <a:rect l="l" t="t" r="r" b="b"/>
              <a:pathLst>
                <a:path w="677544" h="582295">
                  <a:moveTo>
                    <a:pt x="166528" y="0"/>
                  </a:moveTo>
                  <a:lnTo>
                    <a:pt x="120868" y="10089"/>
                  </a:lnTo>
                  <a:lnTo>
                    <a:pt x="78669" y="31774"/>
                  </a:lnTo>
                  <a:lnTo>
                    <a:pt x="42356" y="64816"/>
                  </a:lnTo>
                  <a:lnTo>
                    <a:pt x="16032" y="106257"/>
                  </a:lnTo>
                  <a:lnTo>
                    <a:pt x="1987" y="151637"/>
                  </a:lnTo>
                  <a:lnTo>
                    <a:pt x="0" y="198494"/>
                  </a:lnTo>
                  <a:lnTo>
                    <a:pt x="9847" y="244368"/>
                  </a:lnTo>
                  <a:lnTo>
                    <a:pt x="31309" y="286798"/>
                  </a:lnTo>
                  <a:lnTo>
                    <a:pt x="64161" y="323324"/>
                  </a:lnTo>
                  <a:lnTo>
                    <a:pt x="72492" y="330740"/>
                  </a:lnTo>
                  <a:lnTo>
                    <a:pt x="89603" y="347032"/>
                  </a:lnTo>
                  <a:lnTo>
                    <a:pt x="143984" y="405507"/>
                  </a:lnTo>
                  <a:lnTo>
                    <a:pt x="178162" y="447320"/>
                  </a:lnTo>
                  <a:lnTo>
                    <a:pt x="214937" y="497272"/>
                  </a:lnTo>
                  <a:lnTo>
                    <a:pt x="252764" y="555177"/>
                  </a:lnTo>
                  <a:lnTo>
                    <a:pt x="267956" y="581905"/>
                  </a:lnTo>
                  <a:lnTo>
                    <a:pt x="676956" y="581905"/>
                  </a:lnTo>
                  <a:lnTo>
                    <a:pt x="654079" y="529010"/>
                  </a:lnTo>
                  <a:lnTo>
                    <a:pt x="630400" y="479497"/>
                  </a:lnTo>
                  <a:lnTo>
                    <a:pt x="605823" y="432480"/>
                  </a:lnTo>
                  <a:lnTo>
                    <a:pt x="580604" y="387985"/>
                  </a:lnTo>
                  <a:lnTo>
                    <a:pt x="555000" y="346039"/>
                  </a:lnTo>
                  <a:lnTo>
                    <a:pt x="529267" y="306670"/>
                  </a:lnTo>
                  <a:lnTo>
                    <a:pt x="503664" y="269906"/>
                  </a:lnTo>
                  <a:lnTo>
                    <a:pt x="478447" y="235772"/>
                  </a:lnTo>
                  <a:lnTo>
                    <a:pt x="453872" y="204296"/>
                  </a:lnTo>
                  <a:lnTo>
                    <a:pt x="407680" y="149427"/>
                  </a:lnTo>
                  <a:lnTo>
                    <a:pt x="367144" y="105516"/>
                  </a:lnTo>
                  <a:lnTo>
                    <a:pt x="334319" y="72781"/>
                  </a:lnTo>
                  <a:lnTo>
                    <a:pt x="300026" y="41702"/>
                  </a:lnTo>
                  <a:lnTo>
                    <a:pt x="258532" y="15566"/>
                  </a:lnTo>
                  <a:lnTo>
                    <a:pt x="213224" y="1745"/>
                  </a:lnTo>
                  <a:lnTo>
                    <a:pt x="166528" y="0"/>
                  </a:lnTo>
                  <a:close/>
                </a:path>
              </a:pathLst>
            </a:custGeom>
            <a:solidFill>
              <a:srgbClr val="0E5C77">
                <a:alpha val="23999"/>
              </a:srgbClr>
            </a:solidFill>
          </p:spPr>
          <p:txBody>
            <a:bodyPr wrap="square" lIns="0" tIns="0" rIns="0" bIns="0" rtlCol="0"/>
            <a:lstStyle/>
            <a:p>
              <a:endParaRPr/>
            </a:p>
          </p:txBody>
        </p:sp>
        <p:sp>
          <p:nvSpPr>
            <p:cNvPr id="23" name="object 5">
              <a:extLst>
                <a:ext uri="{FF2B5EF4-FFF2-40B4-BE49-F238E27FC236}">
                  <a16:creationId xmlns:a16="http://schemas.microsoft.com/office/drawing/2014/main" id="{CB05B7DE-D1A8-92D2-6742-E486186D58AC}"/>
                </a:ext>
              </a:extLst>
            </p:cNvPr>
            <p:cNvSpPr/>
            <p:nvPr/>
          </p:nvSpPr>
          <p:spPr>
            <a:xfrm>
              <a:off x="809301" y="6172078"/>
              <a:ext cx="347219" cy="352401"/>
            </a:xfrm>
            <a:custGeom>
              <a:avLst/>
              <a:gdLst/>
              <a:ahLst/>
              <a:cxnLst/>
              <a:rect l="l" t="t" r="r" b="b"/>
              <a:pathLst>
                <a:path w="382905" h="388620">
                  <a:moveTo>
                    <a:pt x="191198" y="0"/>
                  </a:moveTo>
                  <a:lnTo>
                    <a:pt x="147357" y="5131"/>
                  </a:lnTo>
                  <a:lnTo>
                    <a:pt x="107112" y="19749"/>
                  </a:lnTo>
                  <a:lnTo>
                    <a:pt x="71611" y="42686"/>
                  </a:lnTo>
                  <a:lnTo>
                    <a:pt x="42002" y="72776"/>
                  </a:lnTo>
                  <a:lnTo>
                    <a:pt x="19432" y="108852"/>
                  </a:lnTo>
                  <a:lnTo>
                    <a:pt x="5049" y="149748"/>
                  </a:lnTo>
                  <a:lnTo>
                    <a:pt x="0" y="194297"/>
                  </a:lnTo>
                  <a:lnTo>
                    <a:pt x="5049" y="238850"/>
                  </a:lnTo>
                  <a:lnTo>
                    <a:pt x="19432" y="279750"/>
                  </a:lnTo>
                  <a:lnTo>
                    <a:pt x="42002" y="315828"/>
                  </a:lnTo>
                  <a:lnTo>
                    <a:pt x="71611" y="345919"/>
                  </a:lnTo>
                  <a:lnTo>
                    <a:pt x="107112" y="368857"/>
                  </a:lnTo>
                  <a:lnTo>
                    <a:pt x="147357" y="383475"/>
                  </a:lnTo>
                  <a:lnTo>
                    <a:pt x="191198" y="388607"/>
                  </a:lnTo>
                  <a:lnTo>
                    <a:pt x="235039" y="383475"/>
                  </a:lnTo>
                  <a:lnTo>
                    <a:pt x="275284" y="368857"/>
                  </a:lnTo>
                  <a:lnTo>
                    <a:pt x="310785" y="345919"/>
                  </a:lnTo>
                  <a:lnTo>
                    <a:pt x="340394" y="315828"/>
                  </a:lnTo>
                  <a:lnTo>
                    <a:pt x="362964" y="279750"/>
                  </a:lnTo>
                  <a:lnTo>
                    <a:pt x="377347" y="238850"/>
                  </a:lnTo>
                  <a:lnTo>
                    <a:pt x="382397" y="194297"/>
                  </a:lnTo>
                  <a:lnTo>
                    <a:pt x="377347" y="149748"/>
                  </a:lnTo>
                  <a:lnTo>
                    <a:pt x="362964" y="108852"/>
                  </a:lnTo>
                  <a:lnTo>
                    <a:pt x="340394" y="72776"/>
                  </a:lnTo>
                  <a:lnTo>
                    <a:pt x="310785" y="42686"/>
                  </a:lnTo>
                  <a:lnTo>
                    <a:pt x="275284" y="19749"/>
                  </a:lnTo>
                  <a:lnTo>
                    <a:pt x="235039" y="5131"/>
                  </a:lnTo>
                  <a:lnTo>
                    <a:pt x="191198" y="0"/>
                  </a:lnTo>
                  <a:close/>
                </a:path>
              </a:pathLst>
            </a:custGeom>
            <a:solidFill>
              <a:srgbClr val="0E5C77">
                <a:alpha val="23999"/>
              </a:srgbClr>
            </a:solidFill>
          </p:spPr>
          <p:txBody>
            <a:bodyPr wrap="square" lIns="0" tIns="0" rIns="0" bIns="0" rtlCol="0"/>
            <a:lstStyle/>
            <a:p>
              <a:endParaRPr/>
            </a:p>
          </p:txBody>
        </p:sp>
        <p:sp>
          <p:nvSpPr>
            <p:cNvPr id="24" name="object 6">
              <a:extLst>
                <a:ext uri="{FF2B5EF4-FFF2-40B4-BE49-F238E27FC236}">
                  <a16:creationId xmlns:a16="http://schemas.microsoft.com/office/drawing/2014/main" id="{B42D0B40-8726-CFF6-45C8-D6DD9073ADC5}"/>
                </a:ext>
              </a:extLst>
            </p:cNvPr>
            <p:cNvSpPr/>
            <p:nvPr/>
          </p:nvSpPr>
          <p:spPr>
            <a:xfrm>
              <a:off x="1879928" y="6007961"/>
              <a:ext cx="347219" cy="352401"/>
            </a:xfrm>
            <a:custGeom>
              <a:avLst/>
              <a:gdLst/>
              <a:ahLst/>
              <a:cxnLst/>
              <a:rect l="l" t="t" r="r" b="b"/>
              <a:pathLst>
                <a:path w="382905" h="388620">
                  <a:moveTo>
                    <a:pt x="191198" y="0"/>
                  </a:moveTo>
                  <a:lnTo>
                    <a:pt x="147357" y="5131"/>
                  </a:lnTo>
                  <a:lnTo>
                    <a:pt x="107112" y="19749"/>
                  </a:lnTo>
                  <a:lnTo>
                    <a:pt x="71611" y="42687"/>
                  </a:lnTo>
                  <a:lnTo>
                    <a:pt x="42002" y="72778"/>
                  </a:lnTo>
                  <a:lnTo>
                    <a:pt x="19432" y="108857"/>
                  </a:lnTo>
                  <a:lnTo>
                    <a:pt x="5049" y="149756"/>
                  </a:lnTo>
                  <a:lnTo>
                    <a:pt x="0" y="194310"/>
                  </a:lnTo>
                  <a:lnTo>
                    <a:pt x="5049" y="238863"/>
                  </a:lnTo>
                  <a:lnTo>
                    <a:pt x="19432" y="279762"/>
                  </a:lnTo>
                  <a:lnTo>
                    <a:pt x="42002" y="315841"/>
                  </a:lnTo>
                  <a:lnTo>
                    <a:pt x="71611" y="345932"/>
                  </a:lnTo>
                  <a:lnTo>
                    <a:pt x="107112" y="368870"/>
                  </a:lnTo>
                  <a:lnTo>
                    <a:pt x="147357" y="383488"/>
                  </a:lnTo>
                  <a:lnTo>
                    <a:pt x="191198" y="388620"/>
                  </a:lnTo>
                  <a:lnTo>
                    <a:pt x="235035" y="383488"/>
                  </a:lnTo>
                  <a:lnTo>
                    <a:pt x="275279" y="368870"/>
                  </a:lnTo>
                  <a:lnTo>
                    <a:pt x="310779" y="345932"/>
                  </a:lnTo>
                  <a:lnTo>
                    <a:pt x="340390" y="315841"/>
                  </a:lnTo>
                  <a:lnTo>
                    <a:pt x="362961" y="279762"/>
                  </a:lnTo>
                  <a:lnTo>
                    <a:pt x="377346" y="238863"/>
                  </a:lnTo>
                  <a:lnTo>
                    <a:pt x="382397" y="194310"/>
                  </a:lnTo>
                  <a:lnTo>
                    <a:pt x="377346" y="149756"/>
                  </a:lnTo>
                  <a:lnTo>
                    <a:pt x="362961" y="108857"/>
                  </a:lnTo>
                  <a:lnTo>
                    <a:pt x="340390" y="72778"/>
                  </a:lnTo>
                  <a:lnTo>
                    <a:pt x="310779" y="42687"/>
                  </a:lnTo>
                  <a:lnTo>
                    <a:pt x="275279" y="19749"/>
                  </a:lnTo>
                  <a:lnTo>
                    <a:pt x="235035" y="5131"/>
                  </a:lnTo>
                  <a:lnTo>
                    <a:pt x="191198" y="0"/>
                  </a:lnTo>
                  <a:close/>
                </a:path>
              </a:pathLst>
            </a:custGeom>
            <a:solidFill>
              <a:srgbClr val="0E5C77">
                <a:alpha val="23999"/>
              </a:srgbClr>
            </a:solidFill>
          </p:spPr>
          <p:txBody>
            <a:bodyPr wrap="square" lIns="0" tIns="0" rIns="0" bIns="0" rtlCol="0"/>
            <a:lstStyle/>
            <a:p>
              <a:endParaRPr/>
            </a:p>
          </p:txBody>
        </p:sp>
        <p:sp>
          <p:nvSpPr>
            <p:cNvPr id="25" name="object 7">
              <a:extLst>
                <a:ext uri="{FF2B5EF4-FFF2-40B4-BE49-F238E27FC236}">
                  <a16:creationId xmlns:a16="http://schemas.microsoft.com/office/drawing/2014/main" id="{94932D03-1DB6-8192-A37F-9BC1EC4AD97E}"/>
                </a:ext>
              </a:extLst>
            </p:cNvPr>
            <p:cNvSpPr/>
            <p:nvPr/>
          </p:nvSpPr>
          <p:spPr>
            <a:xfrm>
              <a:off x="1755210" y="5407218"/>
              <a:ext cx="347219" cy="352401"/>
            </a:xfrm>
            <a:custGeom>
              <a:avLst/>
              <a:gdLst/>
              <a:ahLst/>
              <a:cxnLst/>
              <a:rect l="l" t="t" r="r" b="b"/>
              <a:pathLst>
                <a:path w="382905" h="388620">
                  <a:moveTo>
                    <a:pt x="191198" y="0"/>
                  </a:moveTo>
                  <a:lnTo>
                    <a:pt x="147357" y="5131"/>
                  </a:lnTo>
                  <a:lnTo>
                    <a:pt x="107112" y="19749"/>
                  </a:lnTo>
                  <a:lnTo>
                    <a:pt x="71611" y="42687"/>
                  </a:lnTo>
                  <a:lnTo>
                    <a:pt x="42002" y="72778"/>
                  </a:lnTo>
                  <a:lnTo>
                    <a:pt x="19432" y="108857"/>
                  </a:lnTo>
                  <a:lnTo>
                    <a:pt x="5049" y="149756"/>
                  </a:lnTo>
                  <a:lnTo>
                    <a:pt x="0" y="194309"/>
                  </a:lnTo>
                  <a:lnTo>
                    <a:pt x="5049" y="238863"/>
                  </a:lnTo>
                  <a:lnTo>
                    <a:pt x="19432" y="279762"/>
                  </a:lnTo>
                  <a:lnTo>
                    <a:pt x="42002" y="315841"/>
                  </a:lnTo>
                  <a:lnTo>
                    <a:pt x="71611" y="345932"/>
                  </a:lnTo>
                  <a:lnTo>
                    <a:pt x="107112" y="368870"/>
                  </a:lnTo>
                  <a:lnTo>
                    <a:pt x="147357" y="383488"/>
                  </a:lnTo>
                  <a:lnTo>
                    <a:pt x="191198" y="388619"/>
                  </a:lnTo>
                  <a:lnTo>
                    <a:pt x="235039" y="383488"/>
                  </a:lnTo>
                  <a:lnTo>
                    <a:pt x="275284" y="368870"/>
                  </a:lnTo>
                  <a:lnTo>
                    <a:pt x="310785" y="345932"/>
                  </a:lnTo>
                  <a:lnTo>
                    <a:pt x="340394" y="315841"/>
                  </a:lnTo>
                  <a:lnTo>
                    <a:pt x="362964" y="279762"/>
                  </a:lnTo>
                  <a:lnTo>
                    <a:pt x="377347" y="238863"/>
                  </a:lnTo>
                  <a:lnTo>
                    <a:pt x="382397" y="194309"/>
                  </a:lnTo>
                  <a:lnTo>
                    <a:pt x="377347" y="149756"/>
                  </a:lnTo>
                  <a:lnTo>
                    <a:pt x="362964" y="108857"/>
                  </a:lnTo>
                  <a:lnTo>
                    <a:pt x="340394" y="72778"/>
                  </a:lnTo>
                  <a:lnTo>
                    <a:pt x="310785" y="42687"/>
                  </a:lnTo>
                  <a:lnTo>
                    <a:pt x="275284" y="19749"/>
                  </a:lnTo>
                  <a:lnTo>
                    <a:pt x="235039" y="5131"/>
                  </a:lnTo>
                  <a:lnTo>
                    <a:pt x="191198" y="0"/>
                  </a:lnTo>
                  <a:close/>
                </a:path>
              </a:pathLst>
            </a:custGeom>
            <a:solidFill>
              <a:srgbClr val="0E5C77">
                <a:alpha val="23999"/>
              </a:srgbClr>
            </a:solidFill>
          </p:spPr>
          <p:txBody>
            <a:bodyPr wrap="square" lIns="0" tIns="0" rIns="0" bIns="0" rtlCol="0"/>
            <a:lstStyle/>
            <a:p>
              <a:endParaRPr/>
            </a:p>
          </p:txBody>
        </p:sp>
        <p:sp>
          <p:nvSpPr>
            <p:cNvPr id="26" name="object 8">
              <a:extLst>
                <a:ext uri="{FF2B5EF4-FFF2-40B4-BE49-F238E27FC236}">
                  <a16:creationId xmlns:a16="http://schemas.microsoft.com/office/drawing/2014/main" id="{870B1266-3B19-111C-D391-A0174B1E3628}"/>
                </a:ext>
              </a:extLst>
            </p:cNvPr>
            <p:cNvSpPr/>
            <p:nvPr/>
          </p:nvSpPr>
          <p:spPr>
            <a:xfrm>
              <a:off x="1088618" y="5550074"/>
              <a:ext cx="415741" cy="422651"/>
            </a:xfrm>
            <a:custGeom>
              <a:avLst/>
              <a:gdLst/>
              <a:ahLst/>
              <a:cxnLst/>
              <a:rect l="l" t="t" r="r" b="b"/>
              <a:pathLst>
                <a:path w="458469" h="466090">
                  <a:moveTo>
                    <a:pt x="229044" y="0"/>
                  </a:moveTo>
                  <a:lnTo>
                    <a:pt x="182885" y="4728"/>
                  </a:lnTo>
                  <a:lnTo>
                    <a:pt x="139892" y="18290"/>
                  </a:lnTo>
                  <a:lnTo>
                    <a:pt x="100986" y="39750"/>
                  </a:lnTo>
                  <a:lnTo>
                    <a:pt x="67087" y="68172"/>
                  </a:lnTo>
                  <a:lnTo>
                    <a:pt x="39118" y="102620"/>
                  </a:lnTo>
                  <a:lnTo>
                    <a:pt x="18000" y="142158"/>
                  </a:lnTo>
                  <a:lnTo>
                    <a:pt x="4653" y="185852"/>
                  </a:lnTo>
                  <a:lnTo>
                    <a:pt x="0" y="232765"/>
                  </a:lnTo>
                  <a:lnTo>
                    <a:pt x="4653" y="279679"/>
                  </a:lnTo>
                  <a:lnTo>
                    <a:pt x="18000" y="323374"/>
                  </a:lnTo>
                  <a:lnTo>
                    <a:pt x="39118" y="362915"/>
                  </a:lnTo>
                  <a:lnTo>
                    <a:pt x="67087" y="397365"/>
                  </a:lnTo>
                  <a:lnTo>
                    <a:pt x="100986" y="425789"/>
                  </a:lnTo>
                  <a:lnTo>
                    <a:pt x="139892" y="447251"/>
                  </a:lnTo>
                  <a:lnTo>
                    <a:pt x="182885" y="460814"/>
                  </a:lnTo>
                  <a:lnTo>
                    <a:pt x="229044" y="465543"/>
                  </a:lnTo>
                  <a:lnTo>
                    <a:pt x="275207" y="460814"/>
                  </a:lnTo>
                  <a:lnTo>
                    <a:pt x="318203" y="447251"/>
                  </a:lnTo>
                  <a:lnTo>
                    <a:pt x="357112" y="425789"/>
                  </a:lnTo>
                  <a:lnTo>
                    <a:pt x="391012" y="397365"/>
                  </a:lnTo>
                  <a:lnTo>
                    <a:pt x="418982" y="362915"/>
                  </a:lnTo>
                  <a:lnTo>
                    <a:pt x="440101" y="323374"/>
                  </a:lnTo>
                  <a:lnTo>
                    <a:pt x="453448" y="279679"/>
                  </a:lnTo>
                  <a:lnTo>
                    <a:pt x="458101" y="232765"/>
                  </a:lnTo>
                  <a:lnTo>
                    <a:pt x="453448" y="185852"/>
                  </a:lnTo>
                  <a:lnTo>
                    <a:pt x="440101" y="142158"/>
                  </a:lnTo>
                  <a:lnTo>
                    <a:pt x="418982" y="102620"/>
                  </a:lnTo>
                  <a:lnTo>
                    <a:pt x="391012" y="68172"/>
                  </a:lnTo>
                  <a:lnTo>
                    <a:pt x="357112" y="39750"/>
                  </a:lnTo>
                  <a:lnTo>
                    <a:pt x="318203" y="18290"/>
                  </a:lnTo>
                  <a:lnTo>
                    <a:pt x="275207" y="4728"/>
                  </a:lnTo>
                  <a:lnTo>
                    <a:pt x="229044" y="0"/>
                  </a:lnTo>
                  <a:close/>
                </a:path>
              </a:pathLst>
            </a:custGeom>
            <a:solidFill>
              <a:srgbClr val="0E5C77">
                <a:alpha val="23999"/>
              </a:srgbClr>
            </a:solidFill>
          </p:spPr>
          <p:txBody>
            <a:bodyPr wrap="square" lIns="0" tIns="0" rIns="0" bIns="0" rtlCol="0"/>
            <a:lstStyle/>
            <a:p>
              <a:endParaRPr/>
            </a:p>
          </p:txBody>
        </p:sp>
        <p:sp>
          <p:nvSpPr>
            <p:cNvPr id="27" name="object 9">
              <a:extLst>
                <a:ext uri="{FF2B5EF4-FFF2-40B4-BE49-F238E27FC236}">
                  <a16:creationId xmlns:a16="http://schemas.microsoft.com/office/drawing/2014/main" id="{A1B8B559-FDDD-3768-BE13-48E60B67B738}"/>
                </a:ext>
              </a:extLst>
            </p:cNvPr>
            <p:cNvSpPr/>
            <p:nvPr/>
          </p:nvSpPr>
          <p:spPr>
            <a:xfrm>
              <a:off x="2464854" y="6493633"/>
              <a:ext cx="642038" cy="362190"/>
            </a:xfrm>
            <a:custGeom>
              <a:avLst/>
              <a:gdLst/>
              <a:ahLst/>
              <a:cxnLst/>
              <a:rect l="l" t="t" r="r" b="b"/>
              <a:pathLst>
                <a:path w="708025" h="399415">
                  <a:moveTo>
                    <a:pt x="353898" y="0"/>
                  </a:moveTo>
                  <a:lnTo>
                    <a:pt x="305876" y="3283"/>
                  </a:lnTo>
                  <a:lnTo>
                    <a:pt x="259817" y="12847"/>
                  </a:lnTo>
                  <a:lnTo>
                    <a:pt x="216144" y="28263"/>
                  </a:lnTo>
                  <a:lnTo>
                    <a:pt x="175278" y="49103"/>
                  </a:lnTo>
                  <a:lnTo>
                    <a:pt x="137641" y="74938"/>
                  </a:lnTo>
                  <a:lnTo>
                    <a:pt x="103654" y="105340"/>
                  </a:lnTo>
                  <a:lnTo>
                    <a:pt x="73739" y="139879"/>
                  </a:lnTo>
                  <a:lnTo>
                    <a:pt x="48317" y="178129"/>
                  </a:lnTo>
                  <a:lnTo>
                    <a:pt x="27811" y="219659"/>
                  </a:lnTo>
                  <a:lnTo>
                    <a:pt x="12641" y="264042"/>
                  </a:lnTo>
                  <a:lnTo>
                    <a:pt x="3230" y="310849"/>
                  </a:lnTo>
                  <a:lnTo>
                    <a:pt x="0" y="359651"/>
                  </a:lnTo>
                  <a:lnTo>
                    <a:pt x="2602" y="398971"/>
                  </a:lnTo>
                  <a:lnTo>
                    <a:pt x="705193" y="398971"/>
                  </a:lnTo>
                  <a:lnTo>
                    <a:pt x="707796" y="359651"/>
                  </a:lnTo>
                  <a:lnTo>
                    <a:pt x="704565" y="310849"/>
                  </a:lnTo>
                  <a:lnTo>
                    <a:pt x="695154" y="264042"/>
                  </a:lnTo>
                  <a:lnTo>
                    <a:pt x="679985" y="219659"/>
                  </a:lnTo>
                  <a:lnTo>
                    <a:pt x="659479" y="178129"/>
                  </a:lnTo>
                  <a:lnTo>
                    <a:pt x="634057" y="139879"/>
                  </a:lnTo>
                  <a:lnTo>
                    <a:pt x="604142" y="105340"/>
                  </a:lnTo>
                  <a:lnTo>
                    <a:pt x="570155" y="74938"/>
                  </a:lnTo>
                  <a:lnTo>
                    <a:pt x="532517" y="49103"/>
                  </a:lnTo>
                  <a:lnTo>
                    <a:pt x="491651" y="28263"/>
                  </a:lnTo>
                  <a:lnTo>
                    <a:pt x="447978" y="12847"/>
                  </a:lnTo>
                  <a:lnTo>
                    <a:pt x="401920" y="3283"/>
                  </a:lnTo>
                  <a:lnTo>
                    <a:pt x="353898" y="0"/>
                  </a:lnTo>
                  <a:close/>
                </a:path>
              </a:pathLst>
            </a:custGeom>
            <a:solidFill>
              <a:srgbClr val="0E5C77">
                <a:alpha val="23999"/>
              </a:srgbClr>
            </a:solidFill>
          </p:spPr>
          <p:txBody>
            <a:bodyPr wrap="square" lIns="0" tIns="0" rIns="0" bIns="0" rtlCol="0"/>
            <a:lstStyle/>
            <a:p>
              <a:endParaRPr/>
            </a:p>
          </p:txBody>
        </p:sp>
        <p:sp>
          <p:nvSpPr>
            <p:cNvPr id="28" name="object 10">
              <a:extLst>
                <a:ext uri="{FF2B5EF4-FFF2-40B4-BE49-F238E27FC236}">
                  <a16:creationId xmlns:a16="http://schemas.microsoft.com/office/drawing/2014/main" id="{9412B5DB-583A-8967-5D35-7E8CFCA6F004}"/>
                </a:ext>
              </a:extLst>
            </p:cNvPr>
            <p:cNvSpPr/>
            <p:nvPr/>
          </p:nvSpPr>
          <p:spPr>
            <a:xfrm>
              <a:off x="871644" y="4706903"/>
              <a:ext cx="536087" cy="545300"/>
            </a:xfrm>
            <a:custGeom>
              <a:avLst/>
              <a:gdLst/>
              <a:ahLst/>
              <a:cxnLst/>
              <a:rect l="l" t="t" r="r" b="b"/>
              <a:pathLst>
                <a:path w="591185" h="601345">
                  <a:moveTo>
                    <a:pt x="295554" y="0"/>
                  </a:moveTo>
                  <a:lnTo>
                    <a:pt x="247613" y="3930"/>
                  </a:lnTo>
                  <a:lnTo>
                    <a:pt x="202135" y="15311"/>
                  </a:lnTo>
                  <a:lnTo>
                    <a:pt x="159728" y="33523"/>
                  </a:lnTo>
                  <a:lnTo>
                    <a:pt x="121002" y="57949"/>
                  </a:lnTo>
                  <a:lnTo>
                    <a:pt x="86564" y="87969"/>
                  </a:lnTo>
                  <a:lnTo>
                    <a:pt x="57024" y="122966"/>
                  </a:lnTo>
                  <a:lnTo>
                    <a:pt x="32988" y="162321"/>
                  </a:lnTo>
                  <a:lnTo>
                    <a:pt x="15067" y="205417"/>
                  </a:lnTo>
                  <a:lnTo>
                    <a:pt x="3868" y="251634"/>
                  </a:lnTo>
                  <a:lnTo>
                    <a:pt x="0" y="300354"/>
                  </a:lnTo>
                  <a:lnTo>
                    <a:pt x="3868" y="349075"/>
                  </a:lnTo>
                  <a:lnTo>
                    <a:pt x="15067" y="395294"/>
                  </a:lnTo>
                  <a:lnTo>
                    <a:pt x="32988" y="438390"/>
                  </a:lnTo>
                  <a:lnTo>
                    <a:pt x="57024" y="477747"/>
                  </a:lnTo>
                  <a:lnTo>
                    <a:pt x="86564" y="512746"/>
                  </a:lnTo>
                  <a:lnTo>
                    <a:pt x="121002" y="542768"/>
                  </a:lnTo>
                  <a:lnTo>
                    <a:pt x="159728" y="567195"/>
                  </a:lnTo>
                  <a:lnTo>
                    <a:pt x="202135" y="585409"/>
                  </a:lnTo>
                  <a:lnTo>
                    <a:pt x="247613" y="596791"/>
                  </a:lnTo>
                  <a:lnTo>
                    <a:pt x="295554" y="600722"/>
                  </a:lnTo>
                  <a:lnTo>
                    <a:pt x="343495" y="596791"/>
                  </a:lnTo>
                  <a:lnTo>
                    <a:pt x="388973" y="585409"/>
                  </a:lnTo>
                  <a:lnTo>
                    <a:pt x="431379" y="567195"/>
                  </a:lnTo>
                  <a:lnTo>
                    <a:pt x="470106" y="542768"/>
                  </a:lnTo>
                  <a:lnTo>
                    <a:pt x="504544" y="512746"/>
                  </a:lnTo>
                  <a:lnTo>
                    <a:pt x="534084" y="477747"/>
                  </a:lnTo>
                  <a:lnTo>
                    <a:pt x="558120" y="438390"/>
                  </a:lnTo>
                  <a:lnTo>
                    <a:pt x="576041" y="395294"/>
                  </a:lnTo>
                  <a:lnTo>
                    <a:pt x="587240" y="349075"/>
                  </a:lnTo>
                  <a:lnTo>
                    <a:pt x="591108" y="300354"/>
                  </a:lnTo>
                  <a:lnTo>
                    <a:pt x="587240" y="251634"/>
                  </a:lnTo>
                  <a:lnTo>
                    <a:pt x="576041" y="205417"/>
                  </a:lnTo>
                  <a:lnTo>
                    <a:pt x="558120" y="162321"/>
                  </a:lnTo>
                  <a:lnTo>
                    <a:pt x="534084" y="122966"/>
                  </a:lnTo>
                  <a:lnTo>
                    <a:pt x="504544" y="87969"/>
                  </a:lnTo>
                  <a:lnTo>
                    <a:pt x="470106" y="57949"/>
                  </a:lnTo>
                  <a:lnTo>
                    <a:pt x="431379" y="33523"/>
                  </a:lnTo>
                  <a:lnTo>
                    <a:pt x="388973" y="15311"/>
                  </a:lnTo>
                  <a:lnTo>
                    <a:pt x="343495" y="3930"/>
                  </a:lnTo>
                  <a:lnTo>
                    <a:pt x="295554" y="0"/>
                  </a:lnTo>
                  <a:close/>
                </a:path>
              </a:pathLst>
            </a:custGeom>
            <a:solidFill>
              <a:srgbClr val="0E5C77">
                <a:alpha val="23999"/>
              </a:srgbClr>
            </a:solidFill>
          </p:spPr>
          <p:txBody>
            <a:bodyPr wrap="square" lIns="0" tIns="0" rIns="0" bIns="0" rtlCol="0"/>
            <a:lstStyle/>
            <a:p>
              <a:endParaRPr/>
            </a:p>
          </p:txBody>
        </p:sp>
        <p:sp>
          <p:nvSpPr>
            <p:cNvPr id="29" name="object 11">
              <a:extLst>
                <a:ext uri="{FF2B5EF4-FFF2-40B4-BE49-F238E27FC236}">
                  <a16:creationId xmlns:a16="http://schemas.microsoft.com/office/drawing/2014/main" id="{357063B8-8F24-016B-ED8E-8A23E93B516A}"/>
                </a:ext>
              </a:extLst>
            </p:cNvPr>
            <p:cNvSpPr/>
            <p:nvPr/>
          </p:nvSpPr>
          <p:spPr>
            <a:xfrm>
              <a:off x="9598" y="4557616"/>
              <a:ext cx="660464" cy="2298092"/>
            </a:xfrm>
            <a:custGeom>
              <a:avLst/>
              <a:gdLst/>
              <a:ahLst/>
              <a:cxnLst/>
              <a:rect l="l" t="t" r="r" b="b"/>
              <a:pathLst>
                <a:path w="728345" h="2534284">
                  <a:moveTo>
                    <a:pt x="339378" y="1250138"/>
                  </a:moveTo>
                  <a:lnTo>
                    <a:pt x="0" y="1250138"/>
                  </a:lnTo>
                  <a:lnTo>
                    <a:pt x="0" y="1503516"/>
                  </a:lnTo>
                  <a:lnTo>
                    <a:pt x="293099" y="1503516"/>
                  </a:lnTo>
                  <a:lnTo>
                    <a:pt x="275124" y="1549292"/>
                  </a:lnTo>
                  <a:lnTo>
                    <a:pt x="255196" y="1595118"/>
                  </a:lnTo>
                  <a:lnTo>
                    <a:pt x="233381" y="1640986"/>
                  </a:lnTo>
                  <a:lnTo>
                    <a:pt x="209742" y="1686883"/>
                  </a:lnTo>
                  <a:lnTo>
                    <a:pt x="184347" y="1732802"/>
                  </a:lnTo>
                  <a:lnTo>
                    <a:pt x="157259" y="1778731"/>
                  </a:lnTo>
                  <a:lnTo>
                    <a:pt x="128545" y="1824661"/>
                  </a:lnTo>
                  <a:lnTo>
                    <a:pt x="0" y="1824661"/>
                  </a:lnTo>
                  <a:lnTo>
                    <a:pt x="0" y="2533969"/>
                  </a:lnTo>
                  <a:lnTo>
                    <a:pt x="37168" y="2533969"/>
                  </a:lnTo>
                  <a:lnTo>
                    <a:pt x="53615" y="2516081"/>
                  </a:lnTo>
                  <a:lnTo>
                    <a:pt x="88081" y="2477894"/>
                  </a:lnTo>
                  <a:lnTo>
                    <a:pt x="121975" y="2439592"/>
                  </a:lnTo>
                  <a:lnTo>
                    <a:pt x="155266" y="2401172"/>
                  </a:lnTo>
                  <a:lnTo>
                    <a:pt x="187926" y="2362631"/>
                  </a:lnTo>
                  <a:lnTo>
                    <a:pt x="219923" y="2323966"/>
                  </a:lnTo>
                  <a:lnTo>
                    <a:pt x="251229" y="2285174"/>
                  </a:lnTo>
                  <a:lnTo>
                    <a:pt x="281814" y="2246251"/>
                  </a:lnTo>
                  <a:lnTo>
                    <a:pt x="311647" y="2207195"/>
                  </a:lnTo>
                  <a:lnTo>
                    <a:pt x="340699" y="2168003"/>
                  </a:lnTo>
                  <a:lnTo>
                    <a:pt x="368940" y="2128671"/>
                  </a:lnTo>
                  <a:lnTo>
                    <a:pt x="396340" y="2089196"/>
                  </a:lnTo>
                  <a:lnTo>
                    <a:pt x="422870" y="2049575"/>
                  </a:lnTo>
                  <a:lnTo>
                    <a:pt x="448500" y="2009806"/>
                  </a:lnTo>
                  <a:lnTo>
                    <a:pt x="473199" y="1969884"/>
                  </a:lnTo>
                  <a:lnTo>
                    <a:pt x="496938" y="1929807"/>
                  </a:lnTo>
                  <a:lnTo>
                    <a:pt x="519688" y="1889572"/>
                  </a:lnTo>
                  <a:lnTo>
                    <a:pt x="541417" y="1849176"/>
                  </a:lnTo>
                  <a:lnTo>
                    <a:pt x="562098" y="1808615"/>
                  </a:lnTo>
                  <a:lnTo>
                    <a:pt x="581699" y="1767887"/>
                  </a:lnTo>
                  <a:lnTo>
                    <a:pt x="600190" y="1726988"/>
                  </a:lnTo>
                  <a:lnTo>
                    <a:pt x="617543" y="1685916"/>
                  </a:lnTo>
                  <a:lnTo>
                    <a:pt x="633727" y="1644667"/>
                  </a:lnTo>
                  <a:lnTo>
                    <a:pt x="648713" y="1603237"/>
                  </a:lnTo>
                  <a:lnTo>
                    <a:pt x="662470" y="1561625"/>
                  </a:lnTo>
                  <a:lnTo>
                    <a:pt x="674969" y="1519827"/>
                  </a:lnTo>
                  <a:lnTo>
                    <a:pt x="686180" y="1477840"/>
                  </a:lnTo>
                  <a:lnTo>
                    <a:pt x="696072" y="1435660"/>
                  </a:lnTo>
                  <a:lnTo>
                    <a:pt x="704618" y="1393285"/>
                  </a:lnTo>
                  <a:lnTo>
                    <a:pt x="711785" y="1350711"/>
                  </a:lnTo>
                  <a:lnTo>
                    <a:pt x="717546" y="1307936"/>
                  </a:lnTo>
                  <a:lnTo>
                    <a:pt x="722689" y="1252323"/>
                  </a:lnTo>
                  <a:lnTo>
                    <a:pt x="353602" y="1252323"/>
                  </a:lnTo>
                  <a:lnTo>
                    <a:pt x="346541" y="1251103"/>
                  </a:lnTo>
                  <a:lnTo>
                    <a:pt x="339378" y="1250138"/>
                  </a:lnTo>
                  <a:close/>
                </a:path>
                <a:path w="728345" h="2534284">
                  <a:moveTo>
                    <a:pt x="109487" y="0"/>
                  </a:moveTo>
                  <a:lnTo>
                    <a:pt x="63837" y="10091"/>
                  </a:lnTo>
                  <a:lnTo>
                    <a:pt x="21648" y="31783"/>
                  </a:lnTo>
                  <a:lnTo>
                    <a:pt x="37" y="51456"/>
                  </a:lnTo>
                  <a:lnTo>
                    <a:pt x="0" y="315397"/>
                  </a:lnTo>
                  <a:lnTo>
                    <a:pt x="7146" y="323343"/>
                  </a:lnTo>
                  <a:lnTo>
                    <a:pt x="15476" y="330759"/>
                  </a:lnTo>
                  <a:lnTo>
                    <a:pt x="32587" y="347051"/>
                  </a:lnTo>
                  <a:lnTo>
                    <a:pt x="86967" y="405526"/>
                  </a:lnTo>
                  <a:lnTo>
                    <a:pt x="121144" y="447339"/>
                  </a:lnTo>
                  <a:lnTo>
                    <a:pt x="157917" y="497291"/>
                  </a:lnTo>
                  <a:lnTo>
                    <a:pt x="195742" y="555196"/>
                  </a:lnTo>
                  <a:lnTo>
                    <a:pt x="233071" y="620872"/>
                  </a:lnTo>
                  <a:lnTo>
                    <a:pt x="268359" y="694132"/>
                  </a:lnTo>
                  <a:lnTo>
                    <a:pt x="0" y="694132"/>
                  </a:lnTo>
                  <a:lnTo>
                    <a:pt x="0" y="947497"/>
                  </a:lnTo>
                  <a:lnTo>
                    <a:pt x="344547" y="947497"/>
                  </a:lnTo>
                  <a:lnTo>
                    <a:pt x="351547" y="994539"/>
                  </a:lnTo>
                  <a:lnTo>
                    <a:pt x="356566" y="1043098"/>
                  </a:lnTo>
                  <a:lnTo>
                    <a:pt x="359442" y="1093166"/>
                  </a:lnTo>
                  <a:lnTo>
                    <a:pt x="360014" y="1144733"/>
                  </a:lnTo>
                  <a:lnTo>
                    <a:pt x="358121" y="1197788"/>
                  </a:lnTo>
                  <a:lnTo>
                    <a:pt x="353602" y="1252323"/>
                  </a:lnTo>
                  <a:lnTo>
                    <a:pt x="722689" y="1252323"/>
                  </a:lnTo>
                  <a:lnTo>
                    <a:pt x="724699" y="1230596"/>
                  </a:lnTo>
                  <a:lnTo>
                    <a:pt x="727870" y="1155425"/>
                  </a:lnTo>
                  <a:lnTo>
                    <a:pt x="727315" y="1082452"/>
                  </a:lnTo>
                  <a:lnTo>
                    <a:pt x="723292" y="1011702"/>
                  </a:lnTo>
                  <a:lnTo>
                    <a:pt x="716057" y="943204"/>
                  </a:lnTo>
                  <a:lnTo>
                    <a:pt x="705867" y="876984"/>
                  </a:lnTo>
                  <a:lnTo>
                    <a:pt x="692980" y="813069"/>
                  </a:lnTo>
                  <a:lnTo>
                    <a:pt x="677652" y="751487"/>
                  </a:lnTo>
                  <a:lnTo>
                    <a:pt x="660140" y="692264"/>
                  </a:lnTo>
                  <a:lnTo>
                    <a:pt x="640702" y="635429"/>
                  </a:lnTo>
                  <a:lnTo>
                    <a:pt x="619593" y="581007"/>
                  </a:lnTo>
                  <a:lnTo>
                    <a:pt x="597072" y="529026"/>
                  </a:lnTo>
                  <a:lnTo>
                    <a:pt x="573395" y="479514"/>
                  </a:lnTo>
                  <a:lnTo>
                    <a:pt x="548819" y="432497"/>
                  </a:lnTo>
                  <a:lnTo>
                    <a:pt x="523601" y="388002"/>
                  </a:lnTo>
                  <a:lnTo>
                    <a:pt x="497998" y="346057"/>
                  </a:lnTo>
                  <a:lnTo>
                    <a:pt x="472267" y="306688"/>
                  </a:lnTo>
                  <a:lnTo>
                    <a:pt x="446665" y="269924"/>
                  </a:lnTo>
                  <a:lnTo>
                    <a:pt x="421449" y="235790"/>
                  </a:lnTo>
                  <a:lnTo>
                    <a:pt x="396875" y="204314"/>
                  </a:lnTo>
                  <a:lnTo>
                    <a:pt x="350685" y="149446"/>
                  </a:lnTo>
                  <a:lnTo>
                    <a:pt x="310151" y="105535"/>
                  </a:lnTo>
                  <a:lnTo>
                    <a:pt x="277327" y="72800"/>
                  </a:lnTo>
                  <a:lnTo>
                    <a:pt x="247047" y="45123"/>
                  </a:lnTo>
                  <a:lnTo>
                    <a:pt x="201504" y="15575"/>
                  </a:lnTo>
                  <a:lnTo>
                    <a:pt x="156182" y="1748"/>
                  </a:lnTo>
                  <a:lnTo>
                    <a:pt x="109487" y="0"/>
                  </a:lnTo>
                  <a:close/>
                </a:path>
              </a:pathLst>
            </a:custGeom>
            <a:solidFill>
              <a:srgbClr val="0E5C77">
                <a:alpha val="23999"/>
              </a:srgbClr>
            </a:solidFill>
          </p:spPr>
          <p:txBody>
            <a:bodyPr wrap="square" lIns="0" tIns="0" rIns="0" bIns="0" rtlCol="0"/>
            <a:lstStyle/>
            <a:p>
              <a:endParaRPr/>
            </a:p>
          </p:txBody>
        </p:sp>
      </p:grpSp>
      <p:sp>
        <p:nvSpPr>
          <p:cNvPr id="2" name="Title 1">
            <a:extLst>
              <a:ext uri="{FF2B5EF4-FFF2-40B4-BE49-F238E27FC236}">
                <a16:creationId xmlns:a16="http://schemas.microsoft.com/office/drawing/2014/main" id="{E70AF5EC-C3A2-AE47-AC58-C795316B7127}"/>
              </a:ext>
            </a:extLst>
          </p:cNvPr>
          <p:cNvSpPr>
            <a:spLocks noGrp="1"/>
          </p:cNvSpPr>
          <p:nvPr>
            <p:ph type="title"/>
          </p:nvPr>
        </p:nvSpPr>
        <p:spPr>
          <a:xfrm>
            <a:off x="732346" y="593213"/>
            <a:ext cx="8915844" cy="752109"/>
          </a:xfrm>
        </p:spPr>
        <p:txBody>
          <a:bodyPr anchor="b">
            <a:normAutofit/>
          </a:bodyPr>
          <a:lstStyle>
            <a:lvl1pPr>
              <a:defRPr sz="4400">
                <a:solidFill>
                  <a:schemeClr val="bg1"/>
                </a:solidFill>
                <a:latin typeface="Quicksand" pitchFamily="2" charset="0"/>
              </a:defRPr>
            </a:lvl1pPr>
          </a:lstStyle>
          <a:p>
            <a:r>
              <a:rPr lang="en-GB"/>
              <a:t>Click to edit Master title style</a:t>
            </a:r>
            <a:endParaRPr lang="en-GB" dirty="0"/>
          </a:p>
        </p:txBody>
      </p:sp>
      <p:pic>
        <p:nvPicPr>
          <p:cNvPr id="19" name="Picture 18" descr="A picture containing text&#10;&#10;Description automatically generated">
            <a:extLst>
              <a:ext uri="{FF2B5EF4-FFF2-40B4-BE49-F238E27FC236}">
                <a16:creationId xmlns:a16="http://schemas.microsoft.com/office/drawing/2014/main" id="{912BFDD1-69DB-D848-4E1F-9342E314FF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58512" y="5755005"/>
            <a:ext cx="887325" cy="866809"/>
          </a:xfrm>
          <a:prstGeom prst="rect">
            <a:avLst/>
          </a:prstGeom>
        </p:spPr>
      </p:pic>
      <p:sp>
        <p:nvSpPr>
          <p:cNvPr id="30" name="Footer Placeholder 4">
            <a:extLst>
              <a:ext uri="{FF2B5EF4-FFF2-40B4-BE49-F238E27FC236}">
                <a16:creationId xmlns:a16="http://schemas.microsoft.com/office/drawing/2014/main" id="{02C401B5-B453-3BF0-01CE-3F0F63B03A02}"/>
              </a:ext>
            </a:extLst>
          </p:cNvPr>
          <p:cNvSpPr>
            <a:spLocks noGrp="1"/>
          </p:cNvSpPr>
          <p:nvPr>
            <p:ph type="ftr" sz="quarter" idx="3"/>
          </p:nvPr>
        </p:nvSpPr>
        <p:spPr>
          <a:xfrm>
            <a:off x="746162" y="6114954"/>
            <a:ext cx="8909745" cy="365125"/>
          </a:xfrm>
          <a:prstGeom prst="rect">
            <a:avLst/>
          </a:prstGeom>
        </p:spPr>
        <p:txBody>
          <a:bodyPr/>
          <a:lstStyle>
            <a:lvl1pPr>
              <a:defRPr sz="1400">
                <a:solidFill>
                  <a:schemeClr val="bg1"/>
                </a:solidFill>
              </a:defRPr>
            </a:lvl1pPr>
          </a:lstStyle>
          <a:p>
            <a:endParaRPr lang="en-GB" dirty="0"/>
          </a:p>
        </p:txBody>
      </p:sp>
      <p:sp>
        <p:nvSpPr>
          <p:cNvPr id="4" name="Content Placeholder 2">
            <a:extLst>
              <a:ext uri="{FF2B5EF4-FFF2-40B4-BE49-F238E27FC236}">
                <a16:creationId xmlns:a16="http://schemas.microsoft.com/office/drawing/2014/main" id="{3BC5C9EF-0409-B5D4-B719-F06C3A197CF6}"/>
              </a:ext>
            </a:extLst>
          </p:cNvPr>
          <p:cNvSpPr>
            <a:spLocks noGrp="1"/>
          </p:cNvSpPr>
          <p:nvPr>
            <p:ph idx="1"/>
          </p:nvPr>
        </p:nvSpPr>
        <p:spPr>
          <a:xfrm>
            <a:off x="751840" y="1825625"/>
            <a:ext cx="10703150" cy="3772535"/>
          </a:xfrm>
          <a:prstGeom prst="rect">
            <a:avLst/>
          </a:prstGeom>
        </p:spPr>
        <p:txBody>
          <a:bodyPr/>
          <a:lstStyle>
            <a:lvl1pPr>
              <a:defRPr sz="2800">
                <a:solidFill>
                  <a:schemeClr val="accent3"/>
                </a:solidFill>
                <a:latin typeface="Quicksand" pitchFamily="2" charset="0"/>
              </a:defRPr>
            </a:lvl1pPr>
            <a:lvl2pPr marL="182563" indent="-182563">
              <a:buClr>
                <a:schemeClr val="tx2"/>
              </a:buClr>
              <a:buFont typeface="Arial" panose="020B0604020202020204" pitchFamily="34" charset="0"/>
              <a:buChar char="•"/>
              <a:defRPr>
                <a:solidFill>
                  <a:schemeClr val="accent3"/>
                </a:solidFill>
                <a:latin typeface="Quicksand" pitchFamily="2" charset="0"/>
              </a:defRPr>
            </a:lvl2pPr>
            <a:lvl3pPr marL="684000" indent="-182563">
              <a:buClr>
                <a:schemeClr val="tx2"/>
              </a:buClr>
              <a:buFont typeface="System Font Regular"/>
              <a:buChar char="-"/>
              <a:defRPr>
                <a:solidFill>
                  <a:schemeClr val="accent3"/>
                </a:solidFill>
                <a:latin typeface="Quicksand" pitchFamily="2" charset="0"/>
              </a:defRPr>
            </a:lvl3pPr>
            <a:lvl4pPr marL="1368000" indent="-182563">
              <a:buClr>
                <a:schemeClr val="tx2"/>
              </a:buClr>
              <a:buFont typeface="Arial" panose="020B0604020202020204" pitchFamily="34" charset="0"/>
              <a:buChar char="•"/>
              <a:defRPr>
                <a:solidFill>
                  <a:schemeClr val="accent3"/>
                </a:solidFill>
                <a:latin typeface="Quicksand" pitchFamily="2" charset="0"/>
              </a:defRPr>
            </a:lvl4pPr>
            <a:lvl5pPr marL="2052000" indent="-182563">
              <a:buClr>
                <a:schemeClr val="tx2"/>
              </a:buClr>
              <a:buFont typeface="System Font Regular"/>
              <a:buChar char="-"/>
              <a:defRPr>
                <a:solidFill>
                  <a:schemeClr val="accent3"/>
                </a:solidFill>
                <a:latin typeface="Quicksand" pitchFamily="2" charset="0"/>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640515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 Green">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2D00DCAC-C40F-C3B9-F022-BCEE66A66A0B}"/>
              </a:ext>
            </a:extLst>
          </p:cNvPr>
          <p:cNvSpPr/>
          <p:nvPr userDrawn="1"/>
        </p:nvSpPr>
        <p:spPr>
          <a:xfrm>
            <a:off x="0" y="-4957"/>
            <a:ext cx="12197847" cy="6908925"/>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chemeClr val="accent1"/>
          </a:solidFill>
        </p:spPr>
        <p:txBody>
          <a:bodyPr wrap="square" lIns="0" tIns="0" rIns="0" bIns="0" rtlCol="0"/>
          <a:lstStyle/>
          <a:p>
            <a:endParaRPr sz="2000"/>
          </a:p>
        </p:txBody>
      </p:sp>
      <p:sp>
        <p:nvSpPr>
          <p:cNvPr id="16" name="object 9">
            <a:extLst>
              <a:ext uri="{FF2B5EF4-FFF2-40B4-BE49-F238E27FC236}">
                <a16:creationId xmlns:a16="http://schemas.microsoft.com/office/drawing/2014/main" id="{74EB452A-3F34-E4BC-36A1-B9E06407DD9D}"/>
              </a:ext>
            </a:extLst>
          </p:cNvPr>
          <p:cNvSpPr/>
          <p:nvPr/>
        </p:nvSpPr>
        <p:spPr>
          <a:xfrm rot="10800000">
            <a:off x="8177366" y="3758779"/>
            <a:ext cx="3694477" cy="4834083"/>
          </a:xfrm>
          <a:custGeom>
            <a:avLst/>
            <a:gdLst/>
            <a:ahLst/>
            <a:cxnLst/>
            <a:rect l="l" t="t" r="r" b="b"/>
            <a:pathLst>
              <a:path w="3693795" h="4721860">
                <a:moveTo>
                  <a:pt x="985329" y="60604"/>
                </a:moveTo>
                <a:lnTo>
                  <a:pt x="977315" y="10096"/>
                </a:lnTo>
                <a:lnTo>
                  <a:pt x="972172" y="0"/>
                </a:lnTo>
                <a:lnTo>
                  <a:pt x="684009" y="0"/>
                </a:lnTo>
                <a:lnTo>
                  <a:pt x="678865" y="10096"/>
                </a:lnTo>
                <a:lnTo>
                  <a:pt x="670852" y="60604"/>
                </a:lnTo>
                <a:lnTo>
                  <a:pt x="678865" y="111112"/>
                </a:lnTo>
                <a:lnTo>
                  <a:pt x="701192" y="154978"/>
                </a:lnTo>
                <a:lnTo>
                  <a:pt x="735228" y="189572"/>
                </a:lnTo>
                <a:lnTo>
                  <a:pt x="778395" y="212255"/>
                </a:lnTo>
                <a:lnTo>
                  <a:pt x="828090" y="220395"/>
                </a:lnTo>
                <a:lnTo>
                  <a:pt x="877785" y="212255"/>
                </a:lnTo>
                <a:lnTo>
                  <a:pt x="920953" y="189572"/>
                </a:lnTo>
                <a:lnTo>
                  <a:pt x="954989" y="154978"/>
                </a:lnTo>
                <a:lnTo>
                  <a:pt x="977315" y="111112"/>
                </a:lnTo>
                <a:lnTo>
                  <a:pt x="985329" y="60604"/>
                </a:lnTo>
                <a:close/>
              </a:path>
              <a:path w="3693795" h="4721860">
                <a:moveTo>
                  <a:pt x="1194587" y="628446"/>
                </a:moveTo>
                <a:lnTo>
                  <a:pt x="1189532" y="583895"/>
                </a:lnTo>
                <a:lnTo>
                  <a:pt x="1175143" y="543001"/>
                </a:lnTo>
                <a:lnTo>
                  <a:pt x="1152575" y="506920"/>
                </a:lnTo>
                <a:lnTo>
                  <a:pt x="1122972" y="476821"/>
                </a:lnTo>
                <a:lnTo>
                  <a:pt x="1087462" y="453885"/>
                </a:lnTo>
                <a:lnTo>
                  <a:pt x="1047229" y="439267"/>
                </a:lnTo>
                <a:lnTo>
                  <a:pt x="1003388" y="434136"/>
                </a:lnTo>
                <a:lnTo>
                  <a:pt x="959548" y="439267"/>
                </a:lnTo>
                <a:lnTo>
                  <a:pt x="919302" y="453885"/>
                </a:lnTo>
                <a:lnTo>
                  <a:pt x="883805" y="476821"/>
                </a:lnTo>
                <a:lnTo>
                  <a:pt x="854189" y="506920"/>
                </a:lnTo>
                <a:lnTo>
                  <a:pt x="831621" y="543001"/>
                </a:lnTo>
                <a:lnTo>
                  <a:pt x="817232" y="583895"/>
                </a:lnTo>
                <a:lnTo>
                  <a:pt x="812190" y="628446"/>
                </a:lnTo>
                <a:lnTo>
                  <a:pt x="817232" y="672998"/>
                </a:lnTo>
                <a:lnTo>
                  <a:pt x="831621" y="713905"/>
                </a:lnTo>
                <a:lnTo>
                  <a:pt x="854189" y="749973"/>
                </a:lnTo>
                <a:lnTo>
                  <a:pt x="883805" y="780072"/>
                </a:lnTo>
                <a:lnTo>
                  <a:pt x="919302" y="803008"/>
                </a:lnTo>
                <a:lnTo>
                  <a:pt x="959548" y="817626"/>
                </a:lnTo>
                <a:lnTo>
                  <a:pt x="1003388" y="822756"/>
                </a:lnTo>
                <a:lnTo>
                  <a:pt x="1047229" y="817626"/>
                </a:lnTo>
                <a:lnTo>
                  <a:pt x="1087462" y="803008"/>
                </a:lnTo>
                <a:lnTo>
                  <a:pt x="1122972" y="780072"/>
                </a:lnTo>
                <a:lnTo>
                  <a:pt x="1152575" y="749973"/>
                </a:lnTo>
                <a:lnTo>
                  <a:pt x="1175143" y="713905"/>
                </a:lnTo>
                <a:lnTo>
                  <a:pt x="1189532" y="672998"/>
                </a:lnTo>
                <a:lnTo>
                  <a:pt x="1194587" y="628446"/>
                </a:lnTo>
                <a:close/>
              </a:path>
              <a:path w="3693795" h="4721860">
                <a:moveTo>
                  <a:pt x="2110397" y="2736418"/>
                </a:moveTo>
                <a:lnTo>
                  <a:pt x="2105355" y="2691866"/>
                </a:lnTo>
                <a:lnTo>
                  <a:pt x="2090966" y="2650960"/>
                </a:lnTo>
                <a:lnTo>
                  <a:pt x="2068398" y="2614892"/>
                </a:lnTo>
                <a:lnTo>
                  <a:pt x="2038781" y="2584793"/>
                </a:lnTo>
                <a:lnTo>
                  <a:pt x="2003285" y="2561856"/>
                </a:lnTo>
                <a:lnTo>
                  <a:pt x="1963039" y="2547239"/>
                </a:lnTo>
                <a:lnTo>
                  <a:pt x="1919198" y="2542108"/>
                </a:lnTo>
                <a:lnTo>
                  <a:pt x="1875358" y="2547239"/>
                </a:lnTo>
                <a:lnTo>
                  <a:pt x="1835111" y="2561856"/>
                </a:lnTo>
                <a:lnTo>
                  <a:pt x="1799615" y="2584793"/>
                </a:lnTo>
                <a:lnTo>
                  <a:pt x="1770011" y="2614892"/>
                </a:lnTo>
                <a:lnTo>
                  <a:pt x="1747431" y="2650960"/>
                </a:lnTo>
                <a:lnTo>
                  <a:pt x="1733054" y="2691866"/>
                </a:lnTo>
                <a:lnTo>
                  <a:pt x="1728000" y="2736418"/>
                </a:lnTo>
                <a:lnTo>
                  <a:pt x="1733054" y="2780969"/>
                </a:lnTo>
                <a:lnTo>
                  <a:pt x="1747431" y="2821863"/>
                </a:lnTo>
                <a:lnTo>
                  <a:pt x="1770011" y="2857944"/>
                </a:lnTo>
                <a:lnTo>
                  <a:pt x="1799615" y="2888043"/>
                </a:lnTo>
                <a:lnTo>
                  <a:pt x="1835111" y="2910979"/>
                </a:lnTo>
                <a:lnTo>
                  <a:pt x="1875358" y="2925597"/>
                </a:lnTo>
                <a:lnTo>
                  <a:pt x="1919198" y="2930728"/>
                </a:lnTo>
                <a:lnTo>
                  <a:pt x="1963039" y="2925597"/>
                </a:lnTo>
                <a:lnTo>
                  <a:pt x="2003285" y="2910979"/>
                </a:lnTo>
                <a:lnTo>
                  <a:pt x="2038781" y="2888043"/>
                </a:lnTo>
                <a:lnTo>
                  <a:pt x="2068398" y="2857944"/>
                </a:lnTo>
                <a:lnTo>
                  <a:pt x="2090966" y="2821863"/>
                </a:lnTo>
                <a:lnTo>
                  <a:pt x="2105355" y="2780969"/>
                </a:lnTo>
                <a:lnTo>
                  <a:pt x="2110397" y="2736418"/>
                </a:lnTo>
                <a:close/>
              </a:path>
              <a:path w="3693795" h="4721860">
                <a:moveTo>
                  <a:pt x="2315591" y="3313163"/>
                </a:moveTo>
                <a:lnTo>
                  <a:pt x="2310536" y="3268611"/>
                </a:lnTo>
                <a:lnTo>
                  <a:pt x="2296160" y="3227717"/>
                </a:lnTo>
                <a:lnTo>
                  <a:pt x="2273592" y="3191637"/>
                </a:lnTo>
                <a:lnTo>
                  <a:pt x="2243975" y="3161538"/>
                </a:lnTo>
                <a:lnTo>
                  <a:pt x="2208479" y="3138601"/>
                </a:lnTo>
                <a:lnTo>
                  <a:pt x="2168233" y="3123984"/>
                </a:lnTo>
                <a:lnTo>
                  <a:pt x="2124392" y="3118853"/>
                </a:lnTo>
                <a:lnTo>
                  <a:pt x="2080552" y="3123984"/>
                </a:lnTo>
                <a:lnTo>
                  <a:pt x="2040305" y="3138601"/>
                </a:lnTo>
                <a:lnTo>
                  <a:pt x="2004809" y="3161538"/>
                </a:lnTo>
                <a:lnTo>
                  <a:pt x="1975192" y="3191637"/>
                </a:lnTo>
                <a:lnTo>
                  <a:pt x="1952625" y="3227717"/>
                </a:lnTo>
                <a:lnTo>
                  <a:pt x="1938235" y="3268611"/>
                </a:lnTo>
                <a:lnTo>
                  <a:pt x="1933194" y="3313163"/>
                </a:lnTo>
                <a:lnTo>
                  <a:pt x="1938235" y="3357715"/>
                </a:lnTo>
                <a:lnTo>
                  <a:pt x="1952625" y="3398621"/>
                </a:lnTo>
                <a:lnTo>
                  <a:pt x="1975192" y="3434689"/>
                </a:lnTo>
                <a:lnTo>
                  <a:pt x="2004809" y="3464788"/>
                </a:lnTo>
                <a:lnTo>
                  <a:pt x="2040305" y="3487724"/>
                </a:lnTo>
                <a:lnTo>
                  <a:pt x="2080552" y="3502342"/>
                </a:lnTo>
                <a:lnTo>
                  <a:pt x="2124392" y="3507473"/>
                </a:lnTo>
                <a:lnTo>
                  <a:pt x="2168233" y="3502342"/>
                </a:lnTo>
                <a:lnTo>
                  <a:pt x="2208479" y="3487724"/>
                </a:lnTo>
                <a:lnTo>
                  <a:pt x="2243975" y="3464788"/>
                </a:lnTo>
                <a:lnTo>
                  <a:pt x="2273592" y="3434689"/>
                </a:lnTo>
                <a:lnTo>
                  <a:pt x="2296160" y="3398621"/>
                </a:lnTo>
                <a:lnTo>
                  <a:pt x="2310536" y="3357715"/>
                </a:lnTo>
                <a:lnTo>
                  <a:pt x="2315591" y="3313163"/>
                </a:lnTo>
                <a:close/>
              </a:path>
              <a:path w="3693795" h="4721860">
                <a:moveTo>
                  <a:pt x="2551633" y="1956752"/>
                </a:moveTo>
                <a:lnTo>
                  <a:pt x="2547645" y="1911578"/>
                </a:lnTo>
                <a:lnTo>
                  <a:pt x="2536164" y="1869046"/>
                </a:lnTo>
                <a:lnTo>
                  <a:pt x="2517864" y="1829892"/>
                </a:lnTo>
                <a:lnTo>
                  <a:pt x="2493467" y="1794814"/>
                </a:lnTo>
                <a:lnTo>
                  <a:pt x="2463660" y="1764525"/>
                </a:lnTo>
                <a:lnTo>
                  <a:pt x="2429141" y="1739722"/>
                </a:lnTo>
                <a:lnTo>
                  <a:pt x="2390610" y="1721129"/>
                </a:lnTo>
                <a:lnTo>
                  <a:pt x="2348776" y="1709458"/>
                </a:lnTo>
                <a:lnTo>
                  <a:pt x="2304313" y="1705406"/>
                </a:lnTo>
                <a:lnTo>
                  <a:pt x="2259863" y="1709458"/>
                </a:lnTo>
                <a:lnTo>
                  <a:pt x="2218017" y="1721129"/>
                </a:lnTo>
                <a:lnTo>
                  <a:pt x="2179485" y="1739722"/>
                </a:lnTo>
                <a:lnTo>
                  <a:pt x="2144966" y="1764525"/>
                </a:lnTo>
                <a:lnTo>
                  <a:pt x="2115159" y="1794814"/>
                </a:lnTo>
                <a:lnTo>
                  <a:pt x="2090762" y="1829892"/>
                </a:lnTo>
                <a:lnTo>
                  <a:pt x="2072474" y="1869046"/>
                </a:lnTo>
                <a:lnTo>
                  <a:pt x="2060981" y="1911578"/>
                </a:lnTo>
                <a:lnTo>
                  <a:pt x="2056993" y="1956752"/>
                </a:lnTo>
                <a:lnTo>
                  <a:pt x="2060981" y="2001926"/>
                </a:lnTo>
                <a:lnTo>
                  <a:pt x="2072474" y="2044458"/>
                </a:lnTo>
                <a:lnTo>
                  <a:pt x="2090762" y="2083612"/>
                </a:lnTo>
                <a:lnTo>
                  <a:pt x="2115159" y="2118690"/>
                </a:lnTo>
                <a:lnTo>
                  <a:pt x="2144966" y="2148979"/>
                </a:lnTo>
                <a:lnTo>
                  <a:pt x="2179485" y="2173782"/>
                </a:lnTo>
                <a:lnTo>
                  <a:pt x="2218017" y="2192375"/>
                </a:lnTo>
                <a:lnTo>
                  <a:pt x="2259863" y="2204047"/>
                </a:lnTo>
                <a:lnTo>
                  <a:pt x="2304313" y="2208098"/>
                </a:lnTo>
                <a:lnTo>
                  <a:pt x="2348776" y="2204047"/>
                </a:lnTo>
                <a:lnTo>
                  <a:pt x="2390610" y="2192375"/>
                </a:lnTo>
                <a:lnTo>
                  <a:pt x="2429141" y="2173782"/>
                </a:lnTo>
                <a:lnTo>
                  <a:pt x="2463660" y="2148979"/>
                </a:lnTo>
                <a:lnTo>
                  <a:pt x="2493467" y="2118690"/>
                </a:lnTo>
                <a:lnTo>
                  <a:pt x="2517864" y="2083612"/>
                </a:lnTo>
                <a:lnTo>
                  <a:pt x="2536164" y="2044458"/>
                </a:lnTo>
                <a:lnTo>
                  <a:pt x="2547645" y="2001926"/>
                </a:lnTo>
                <a:lnTo>
                  <a:pt x="2551633" y="1956752"/>
                </a:lnTo>
                <a:close/>
              </a:path>
              <a:path w="3693795" h="4721860">
                <a:moveTo>
                  <a:pt x="2845346" y="10020"/>
                </a:moveTo>
                <a:lnTo>
                  <a:pt x="1323581" y="10020"/>
                </a:lnTo>
                <a:lnTo>
                  <a:pt x="1314577" y="48120"/>
                </a:lnTo>
                <a:lnTo>
                  <a:pt x="1324521" y="98920"/>
                </a:lnTo>
                <a:lnTo>
                  <a:pt x="1351661" y="137020"/>
                </a:lnTo>
                <a:lnTo>
                  <a:pt x="1391920" y="162420"/>
                </a:lnTo>
                <a:lnTo>
                  <a:pt x="1441234" y="175120"/>
                </a:lnTo>
                <a:lnTo>
                  <a:pt x="2424163" y="175120"/>
                </a:lnTo>
                <a:lnTo>
                  <a:pt x="2406192" y="225920"/>
                </a:lnTo>
                <a:lnTo>
                  <a:pt x="2386253" y="264020"/>
                </a:lnTo>
                <a:lnTo>
                  <a:pt x="2364435" y="314820"/>
                </a:lnTo>
                <a:lnTo>
                  <a:pt x="2340800" y="365620"/>
                </a:lnTo>
                <a:lnTo>
                  <a:pt x="2315400" y="403720"/>
                </a:lnTo>
                <a:lnTo>
                  <a:pt x="2288298" y="454520"/>
                </a:lnTo>
                <a:lnTo>
                  <a:pt x="2259584" y="492620"/>
                </a:lnTo>
                <a:lnTo>
                  <a:pt x="1496834" y="492620"/>
                </a:lnTo>
                <a:lnTo>
                  <a:pt x="1447520" y="505320"/>
                </a:lnTo>
                <a:lnTo>
                  <a:pt x="1407261" y="530720"/>
                </a:lnTo>
                <a:lnTo>
                  <a:pt x="1380121" y="581520"/>
                </a:lnTo>
                <a:lnTo>
                  <a:pt x="1370177" y="619620"/>
                </a:lnTo>
                <a:lnTo>
                  <a:pt x="1380121" y="670420"/>
                </a:lnTo>
                <a:lnTo>
                  <a:pt x="1407261" y="721220"/>
                </a:lnTo>
                <a:lnTo>
                  <a:pt x="1447520" y="746620"/>
                </a:lnTo>
                <a:lnTo>
                  <a:pt x="2074989" y="746620"/>
                </a:lnTo>
                <a:lnTo>
                  <a:pt x="2044115" y="784720"/>
                </a:lnTo>
                <a:lnTo>
                  <a:pt x="2012492" y="822820"/>
                </a:lnTo>
                <a:lnTo>
                  <a:pt x="1980171" y="860920"/>
                </a:lnTo>
                <a:lnTo>
                  <a:pt x="1947189" y="899020"/>
                </a:lnTo>
                <a:lnTo>
                  <a:pt x="1913585" y="937120"/>
                </a:lnTo>
                <a:lnTo>
                  <a:pt x="1879396" y="975220"/>
                </a:lnTo>
                <a:lnTo>
                  <a:pt x="1844662" y="1013320"/>
                </a:lnTo>
                <a:lnTo>
                  <a:pt x="1809432" y="1051420"/>
                </a:lnTo>
                <a:lnTo>
                  <a:pt x="1773732" y="1089520"/>
                </a:lnTo>
                <a:lnTo>
                  <a:pt x="1737614" y="1127620"/>
                </a:lnTo>
                <a:lnTo>
                  <a:pt x="1701114" y="1165720"/>
                </a:lnTo>
                <a:lnTo>
                  <a:pt x="1627111" y="1241920"/>
                </a:lnTo>
                <a:lnTo>
                  <a:pt x="1589697" y="1267320"/>
                </a:lnTo>
                <a:lnTo>
                  <a:pt x="1400073" y="1457820"/>
                </a:lnTo>
                <a:lnTo>
                  <a:pt x="1361909" y="1483220"/>
                </a:lnTo>
                <a:lnTo>
                  <a:pt x="1247686" y="1597520"/>
                </a:lnTo>
                <a:lnTo>
                  <a:pt x="1128903" y="1699120"/>
                </a:lnTo>
                <a:lnTo>
                  <a:pt x="1085837" y="1749920"/>
                </a:lnTo>
                <a:lnTo>
                  <a:pt x="958227" y="1864220"/>
                </a:lnTo>
                <a:lnTo>
                  <a:pt x="874915" y="1940420"/>
                </a:lnTo>
                <a:lnTo>
                  <a:pt x="833920" y="1978520"/>
                </a:lnTo>
                <a:lnTo>
                  <a:pt x="793445" y="2016620"/>
                </a:lnTo>
                <a:lnTo>
                  <a:pt x="753503" y="2054720"/>
                </a:lnTo>
                <a:lnTo>
                  <a:pt x="714159" y="2092820"/>
                </a:lnTo>
                <a:lnTo>
                  <a:pt x="675462" y="2130920"/>
                </a:lnTo>
                <a:lnTo>
                  <a:pt x="637451" y="2169020"/>
                </a:lnTo>
                <a:lnTo>
                  <a:pt x="600176" y="2207120"/>
                </a:lnTo>
                <a:lnTo>
                  <a:pt x="563664" y="2245220"/>
                </a:lnTo>
                <a:lnTo>
                  <a:pt x="527977" y="2283320"/>
                </a:lnTo>
                <a:lnTo>
                  <a:pt x="493166" y="2321420"/>
                </a:lnTo>
                <a:lnTo>
                  <a:pt x="459270" y="2359520"/>
                </a:lnTo>
                <a:lnTo>
                  <a:pt x="426326" y="2397620"/>
                </a:lnTo>
                <a:lnTo>
                  <a:pt x="394373" y="2435720"/>
                </a:lnTo>
                <a:lnTo>
                  <a:pt x="363486" y="2473820"/>
                </a:lnTo>
                <a:lnTo>
                  <a:pt x="333692" y="2511920"/>
                </a:lnTo>
                <a:lnTo>
                  <a:pt x="305028" y="2550020"/>
                </a:lnTo>
                <a:lnTo>
                  <a:pt x="277558" y="2588120"/>
                </a:lnTo>
                <a:lnTo>
                  <a:pt x="251320" y="2626220"/>
                </a:lnTo>
                <a:lnTo>
                  <a:pt x="226352" y="2664320"/>
                </a:lnTo>
                <a:lnTo>
                  <a:pt x="202704" y="2702420"/>
                </a:lnTo>
                <a:lnTo>
                  <a:pt x="180428" y="2740520"/>
                </a:lnTo>
                <a:lnTo>
                  <a:pt x="159562" y="2778620"/>
                </a:lnTo>
                <a:lnTo>
                  <a:pt x="140144" y="2816720"/>
                </a:lnTo>
                <a:lnTo>
                  <a:pt x="122237" y="2854820"/>
                </a:lnTo>
                <a:lnTo>
                  <a:pt x="105879" y="2892920"/>
                </a:lnTo>
                <a:lnTo>
                  <a:pt x="91122" y="2931020"/>
                </a:lnTo>
                <a:lnTo>
                  <a:pt x="77990" y="2956420"/>
                </a:lnTo>
                <a:lnTo>
                  <a:pt x="56781" y="3032620"/>
                </a:lnTo>
                <a:lnTo>
                  <a:pt x="39179" y="3096120"/>
                </a:lnTo>
                <a:lnTo>
                  <a:pt x="25031" y="3159620"/>
                </a:lnTo>
                <a:lnTo>
                  <a:pt x="14198" y="3235820"/>
                </a:lnTo>
                <a:lnTo>
                  <a:pt x="6502" y="3299320"/>
                </a:lnTo>
                <a:lnTo>
                  <a:pt x="1828" y="3362820"/>
                </a:lnTo>
                <a:lnTo>
                  <a:pt x="0" y="3426320"/>
                </a:lnTo>
                <a:lnTo>
                  <a:pt x="863" y="3489820"/>
                </a:lnTo>
                <a:lnTo>
                  <a:pt x="4305" y="3540620"/>
                </a:lnTo>
                <a:lnTo>
                  <a:pt x="10134" y="3604120"/>
                </a:lnTo>
                <a:lnTo>
                  <a:pt x="18224" y="3667620"/>
                </a:lnTo>
                <a:lnTo>
                  <a:pt x="28422" y="3718420"/>
                </a:lnTo>
                <a:lnTo>
                  <a:pt x="40576" y="3781920"/>
                </a:lnTo>
                <a:lnTo>
                  <a:pt x="54521" y="3832720"/>
                </a:lnTo>
                <a:lnTo>
                  <a:pt x="70142" y="3883520"/>
                </a:lnTo>
                <a:lnTo>
                  <a:pt x="87249" y="3934320"/>
                </a:lnTo>
                <a:lnTo>
                  <a:pt x="105727" y="3985120"/>
                </a:lnTo>
                <a:lnTo>
                  <a:pt x="125399" y="4035920"/>
                </a:lnTo>
                <a:lnTo>
                  <a:pt x="146138" y="4086720"/>
                </a:lnTo>
                <a:lnTo>
                  <a:pt x="167767" y="4124820"/>
                </a:lnTo>
                <a:lnTo>
                  <a:pt x="190169" y="4175620"/>
                </a:lnTo>
                <a:lnTo>
                  <a:pt x="213169" y="4213720"/>
                </a:lnTo>
                <a:lnTo>
                  <a:pt x="236613" y="4251820"/>
                </a:lnTo>
                <a:lnTo>
                  <a:pt x="260375" y="4302620"/>
                </a:lnTo>
                <a:lnTo>
                  <a:pt x="284302" y="4340720"/>
                </a:lnTo>
                <a:lnTo>
                  <a:pt x="308216" y="4366120"/>
                </a:lnTo>
                <a:lnTo>
                  <a:pt x="332003" y="4404220"/>
                </a:lnTo>
                <a:lnTo>
                  <a:pt x="355485" y="4442320"/>
                </a:lnTo>
                <a:lnTo>
                  <a:pt x="378536" y="4467720"/>
                </a:lnTo>
                <a:lnTo>
                  <a:pt x="400977" y="4493120"/>
                </a:lnTo>
                <a:lnTo>
                  <a:pt x="422681" y="4518520"/>
                </a:lnTo>
                <a:lnTo>
                  <a:pt x="443496" y="4543920"/>
                </a:lnTo>
                <a:lnTo>
                  <a:pt x="463270" y="4569320"/>
                </a:lnTo>
                <a:lnTo>
                  <a:pt x="481838" y="4594720"/>
                </a:lnTo>
                <a:lnTo>
                  <a:pt x="499071" y="4607420"/>
                </a:lnTo>
                <a:lnTo>
                  <a:pt x="514807" y="4632820"/>
                </a:lnTo>
                <a:lnTo>
                  <a:pt x="528904" y="4645520"/>
                </a:lnTo>
                <a:lnTo>
                  <a:pt x="541210" y="4658220"/>
                </a:lnTo>
                <a:lnTo>
                  <a:pt x="551573" y="4658220"/>
                </a:lnTo>
                <a:lnTo>
                  <a:pt x="559841" y="4670920"/>
                </a:lnTo>
                <a:lnTo>
                  <a:pt x="565861" y="4683620"/>
                </a:lnTo>
                <a:lnTo>
                  <a:pt x="569493" y="4683620"/>
                </a:lnTo>
                <a:lnTo>
                  <a:pt x="597319" y="4696320"/>
                </a:lnTo>
                <a:lnTo>
                  <a:pt x="627621" y="4721720"/>
                </a:lnTo>
                <a:lnTo>
                  <a:pt x="729513" y="4721720"/>
                </a:lnTo>
                <a:lnTo>
                  <a:pt x="765454" y="4709020"/>
                </a:lnTo>
                <a:lnTo>
                  <a:pt x="828370" y="4670920"/>
                </a:lnTo>
                <a:lnTo>
                  <a:pt x="856284" y="4632820"/>
                </a:lnTo>
                <a:lnTo>
                  <a:pt x="872045" y="4582020"/>
                </a:lnTo>
                <a:lnTo>
                  <a:pt x="875779" y="4531220"/>
                </a:lnTo>
                <a:lnTo>
                  <a:pt x="867625" y="4493120"/>
                </a:lnTo>
                <a:lnTo>
                  <a:pt x="847686" y="4442320"/>
                </a:lnTo>
                <a:lnTo>
                  <a:pt x="816102" y="4404220"/>
                </a:lnTo>
                <a:lnTo>
                  <a:pt x="807847" y="4404220"/>
                </a:lnTo>
                <a:lnTo>
                  <a:pt x="791743" y="4378820"/>
                </a:lnTo>
                <a:lnTo>
                  <a:pt x="768921" y="4366120"/>
                </a:lnTo>
                <a:lnTo>
                  <a:pt x="740473" y="4328020"/>
                </a:lnTo>
                <a:lnTo>
                  <a:pt x="707555" y="4289920"/>
                </a:lnTo>
                <a:lnTo>
                  <a:pt x="671258" y="4251820"/>
                </a:lnTo>
                <a:lnTo>
                  <a:pt x="632701" y="4201020"/>
                </a:lnTo>
                <a:lnTo>
                  <a:pt x="553326" y="4074020"/>
                </a:lnTo>
                <a:lnTo>
                  <a:pt x="514731" y="3997820"/>
                </a:lnTo>
                <a:lnTo>
                  <a:pt x="1159827" y="3997820"/>
                </a:lnTo>
                <a:lnTo>
                  <a:pt x="1200086" y="3959720"/>
                </a:lnTo>
                <a:lnTo>
                  <a:pt x="1227226" y="3921620"/>
                </a:lnTo>
                <a:lnTo>
                  <a:pt x="1237170" y="3870820"/>
                </a:lnTo>
                <a:lnTo>
                  <a:pt x="1227226" y="3820020"/>
                </a:lnTo>
                <a:lnTo>
                  <a:pt x="1200086" y="3781920"/>
                </a:lnTo>
                <a:lnTo>
                  <a:pt x="1159827" y="3756520"/>
                </a:lnTo>
                <a:lnTo>
                  <a:pt x="1110513" y="3743820"/>
                </a:lnTo>
                <a:lnTo>
                  <a:pt x="413499" y="3743820"/>
                </a:lnTo>
                <a:lnTo>
                  <a:pt x="401281" y="3705720"/>
                </a:lnTo>
                <a:lnTo>
                  <a:pt x="390766" y="3654920"/>
                </a:lnTo>
                <a:lnTo>
                  <a:pt x="382104" y="3604120"/>
                </a:lnTo>
                <a:lnTo>
                  <a:pt x="375450" y="3553320"/>
                </a:lnTo>
                <a:lnTo>
                  <a:pt x="370941" y="3502520"/>
                </a:lnTo>
                <a:lnTo>
                  <a:pt x="368731" y="3451720"/>
                </a:lnTo>
                <a:lnTo>
                  <a:pt x="1493862" y="3451720"/>
                </a:lnTo>
                <a:lnTo>
                  <a:pt x="1543177" y="3439020"/>
                </a:lnTo>
                <a:lnTo>
                  <a:pt x="1583436" y="3413620"/>
                </a:lnTo>
                <a:lnTo>
                  <a:pt x="1610575" y="3375520"/>
                </a:lnTo>
                <a:lnTo>
                  <a:pt x="1620520" y="3324720"/>
                </a:lnTo>
                <a:lnTo>
                  <a:pt x="1610575" y="3273920"/>
                </a:lnTo>
                <a:lnTo>
                  <a:pt x="1583436" y="3235820"/>
                </a:lnTo>
                <a:lnTo>
                  <a:pt x="1543177" y="3210420"/>
                </a:lnTo>
                <a:lnTo>
                  <a:pt x="1493862" y="3197720"/>
                </a:lnTo>
                <a:lnTo>
                  <a:pt x="393382" y="3197720"/>
                </a:lnTo>
                <a:lnTo>
                  <a:pt x="400278" y="3172320"/>
                </a:lnTo>
                <a:lnTo>
                  <a:pt x="408038" y="3134220"/>
                </a:lnTo>
                <a:lnTo>
                  <a:pt x="416763" y="3108820"/>
                </a:lnTo>
                <a:lnTo>
                  <a:pt x="426529" y="3083420"/>
                </a:lnTo>
                <a:lnTo>
                  <a:pt x="441350" y="3032620"/>
                </a:lnTo>
                <a:lnTo>
                  <a:pt x="459257" y="2994520"/>
                </a:lnTo>
                <a:lnTo>
                  <a:pt x="480085" y="2956420"/>
                </a:lnTo>
                <a:lnTo>
                  <a:pt x="503656" y="2918320"/>
                </a:lnTo>
                <a:lnTo>
                  <a:pt x="529818" y="2867520"/>
                </a:lnTo>
                <a:lnTo>
                  <a:pt x="1442580" y="2867520"/>
                </a:lnTo>
                <a:lnTo>
                  <a:pt x="1482839" y="2829420"/>
                </a:lnTo>
                <a:lnTo>
                  <a:pt x="1509979" y="2791320"/>
                </a:lnTo>
                <a:lnTo>
                  <a:pt x="1519923" y="2740520"/>
                </a:lnTo>
                <a:lnTo>
                  <a:pt x="1509979" y="2702420"/>
                </a:lnTo>
                <a:lnTo>
                  <a:pt x="1482839" y="2651620"/>
                </a:lnTo>
                <a:lnTo>
                  <a:pt x="1442580" y="2626220"/>
                </a:lnTo>
                <a:lnTo>
                  <a:pt x="1393266" y="2613520"/>
                </a:lnTo>
                <a:lnTo>
                  <a:pt x="723988" y="2613520"/>
                </a:lnTo>
                <a:lnTo>
                  <a:pt x="754214" y="2588120"/>
                </a:lnTo>
                <a:lnTo>
                  <a:pt x="785418" y="2550020"/>
                </a:lnTo>
                <a:lnTo>
                  <a:pt x="817549" y="2511920"/>
                </a:lnTo>
                <a:lnTo>
                  <a:pt x="850595" y="2486520"/>
                </a:lnTo>
                <a:lnTo>
                  <a:pt x="884466" y="2448420"/>
                </a:lnTo>
                <a:lnTo>
                  <a:pt x="919149" y="2410320"/>
                </a:lnTo>
                <a:lnTo>
                  <a:pt x="954570" y="2372220"/>
                </a:lnTo>
                <a:lnTo>
                  <a:pt x="990701" y="2334120"/>
                </a:lnTo>
                <a:lnTo>
                  <a:pt x="1027493" y="2308720"/>
                </a:lnTo>
                <a:lnTo>
                  <a:pt x="1064895" y="2270620"/>
                </a:lnTo>
                <a:lnTo>
                  <a:pt x="1102842" y="2232520"/>
                </a:lnTo>
                <a:lnTo>
                  <a:pt x="1141323" y="2194420"/>
                </a:lnTo>
                <a:lnTo>
                  <a:pt x="1180261" y="2156320"/>
                </a:lnTo>
                <a:lnTo>
                  <a:pt x="1259370" y="2080120"/>
                </a:lnTo>
                <a:lnTo>
                  <a:pt x="1339773" y="2003920"/>
                </a:lnTo>
                <a:lnTo>
                  <a:pt x="1380350" y="1978520"/>
                </a:lnTo>
                <a:lnTo>
                  <a:pt x="1460766" y="1902320"/>
                </a:lnTo>
                <a:lnTo>
                  <a:pt x="1737309" y="1635620"/>
                </a:lnTo>
                <a:lnTo>
                  <a:pt x="1776310" y="1597520"/>
                </a:lnTo>
                <a:lnTo>
                  <a:pt x="1815109" y="1572120"/>
                </a:lnTo>
                <a:lnTo>
                  <a:pt x="1891931" y="1495920"/>
                </a:lnTo>
                <a:lnTo>
                  <a:pt x="1967534" y="1419720"/>
                </a:lnTo>
                <a:lnTo>
                  <a:pt x="2004809" y="1381620"/>
                </a:lnTo>
                <a:lnTo>
                  <a:pt x="2041690" y="1343520"/>
                </a:lnTo>
                <a:lnTo>
                  <a:pt x="2078139" y="1305420"/>
                </a:lnTo>
                <a:lnTo>
                  <a:pt x="2114143" y="1267320"/>
                </a:lnTo>
                <a:lnTo>
                  <a:pt x="2149665" y="1229220"/>
                </a:lnTo>
                <a:lnTo>
                  <a:pt x="2184679" y="1191120"/>
                </a:lnTo>
                <a:lnTo>
                  <a:pt x="2219147" y="1153020"/>
                </a:lnTo>
                <a:lnTo>
                  <a:pt x="2253030" y="1114920"/>
                </a:lnTo>
                <a:lnTo>
                  <a:pt x="2286330" y="1076820"/>
                </a:lnTo>
                <a:lnTo>
                  <a:pt x="2318982" y="1038720"/>
                </a:lnTo>
                <a:lnTo>
                  <a:pt x="2350986" y="1000620"/>
                </a:lnTo>
                <a:lnTo>
                  <a:pt x="2382291" y="962520"/>
                </a:lnTo>
                <a:lnTo>
                  <a:pt x="2412873" y="924420"/>
                </a:lnTo>
                <a:lnTo>
                  <a:pt x="2442705" y="886320"/>
                </a:lnTo>
                <a:lnTo>
                  <a:pt x="2471763" y="848220"/>
                </a:lnTo>
                <a:lnTo>
                  <a:pt x="2499995" y="797420"/>
                </a:lnTo>
                <a:lnTo>
                  <a:pt x="2527401" y="759320"/>
                </a:lnTo>
                <a:lnTo>
                  <a:pt x="2553932" y="721220"/>
                </a:lnTo>
                <a:lnTo>
                  <a:pt x="2579560" y="683120"/>
                </a:lnTo>
                <a:lnTo>
                  <a:pt x="2604262" y="645020"/>
                </a:lnTo>
                <a:lnTo>
                  <a:pt x="2627998" y="606920"/>
                </a:lnTo>
                <a:lnTo>
                  <a:pt x="2650744" y="568820"/>
                </a:lnTo>
                <a:lnTo>
                  <a:pt x="2672473" y="518020"/>
                </a:lnTo>
                <a:lnTo>
                  <a:pt x="2693162" y="479920"/>
                </a:lnTo>
                <a:lnTo>
                  <a:pt x="2712758" y="441820"/>
                </a:lnTo>
                <a:lnTo>
                  <a:pt x="2731249" y="403720"/>
                </a:lnTo>
                <a:lnTo>
                  <a:pt x="2748610" y="365620"/>
                </a:lnTo>
                <a:lnTo>
                  <a:pt x="2764790" y="314820"/>
                </a:lnTo>
                <a:lnTo>
                  <a:pt x="2779776" y="276720"/>
                </a:lnTo>
                <a:lnTo>
                  <a:pt x="2793530" y="238620"/>
                </a:lnTo>
                <a:lnTo>
                  <a:pt x="2806039" y="187820"/>
                </a:lnTo>
                <a:lnTo>
                  <a:pt x="2817241" y="149720"/>
                </a:lnTo>
                <a:lnTo>
                  <a:pt x="2827134" y="111620"/>
                </a:lnTo>
                <a:lnTo>
                  <a:pt x="2835681" y="73520"/>
                </a:lnTo>
                <a:lnTo>
                  <a:pt x="2842857" y="22720"/>
                </a:lnTo>
                <a:lnTo>
                  <a:pt x="2845346" y="10020"/>
                </a:lnTo>
                <a:close/>
              </a:path>
              <a:path w="3693795" h="4721860">
                <a:moveTo>
                  <a:pt x="3506774" y="1344333"/>
                </a:moveTo>
                <a:lnTo>
                  <a:pt x="3503396" y="1297622"/>
                </a:lnTo>
                <a:lnTo>
                  <a:pt x="3493605" y="1253045"/>
                </a:lnTo>
                <a:lnTo>
                  <a:pt x="3477857" y="1211084"/>
                </a:lnTo>
                <a:lnTo>
                  <a:pt x="3456660" y="1172222"/>
                </a:lnTo>
                <a:lnTo>
                  <a:pt x="3430473" y="1136954"/>
                </a:lnTo>
                <a:lnTo>
                  <a:pt x="3399790" y="1105776"/>
                </a:lnTo>
                <a:lnTo>
                  <a:pt x="3365093" y="1079169"/>
                </a:lnTo>
                <a:lnTo>
                  <a:pt x="3326854" y="1057630"/>
                </a:lnTo>
                <a:lnTo>
                  <a:pt x="3285566" y="1041628"/>
                </a:lnTo>
                <a:lnTo>
                  <a:pt x="3241700" y="1031671"/>
                </a:lnTo>
                <a:lnTo>
                  <a:pt x="3195739" y="1028242"/>
                </a:lnTo>
                <a:lnTo>
                  <a:pt x="3149777" y="1031671"/>
                </a:lnTo>
                <a:lnTo>
                  <a:pt x="3105899" y="1041628"/>
                </a:lnTo>
                <a:lnTo>
                  <a:pt x="3064611" y="1057630"/>
                </a:lnTo>
                <a:lnTo>
                  <a:pt x="3026372" y="1079169"/>
                </a:lnTo>
                <a:lnTo>
                  <a:pt x="2991675" y="1105776"/>
                </a:lnTo>
                <a:lnTo>
                  <a:pt x="2960992" y="1136954"/>
                </a:lnTo>
                <a:lnTo>
                  <a:pt x="2934805" y="1172222"/>
                </a:lnTo>
                <a:lnTo>
                  <a:pt x="2913608" y="1211084"/>
                </a:lnTo>
                <a:lnTo>
                  <a:pt x="2897873" y="1253045"/>
                </a:lnTo>
                <a:lnTo>
                  <a:pt x="2888069" y="1297622"/>
                </a:lnTo>
                <a:lnTo>
                  <a:pt x="2884703" y="1344333"/>
                </a:lnTo>
                <a:lnTo>
                  <a:pt x="2888069" y="1391043"/>
                </a:lnTo>
                <a:lnTo>
                  <a:pt x="2897873" y="1435633"/>
                </a:lnTo>
                <a:lnTo>
                  <a:pt x="2913608" y="1477594"/>
                </a:lnTo>
                <a:lnTo>
                  <a:pt x="2934805" y="1516456"/>
                </a:lnTo>
                <a:lnTo>
                  <a:pt x="2960992" y="1551711"/>
                </a:lnTo>
                <a:lnTo>
                  <a:pt x="2991675" y="1582902"/>
                </a:lnTo>
                <a:lnTo>
                  <a:pt x="3026372" y="1609509"/>
                </a:lnTo>
                <a:lnTo>
                  <a:pt x="3064611" y="1631048"/>
                </a:lnTo>
                <a:lnTo>
                  <a:pt x="3105899" y="1647050"/>
                </a:lnTo>
                <a:lnTo>
                  <a:pt x="3149777" y="1657007"/>
                </a:lnTo>
                <a:lnTo>
                  <a:pt x="3195739" y="1660423"/>
                </a:lnTo>
                <a:lnTo>
                  <a:pt x="3241700" y="1657007"/>
                </a:lnTo>
                <a:lnTo>
                  <a:pt x="3285566" y="1647050"/>
                </a:lnTo>
                <a:lnTo>
                  <a:pt x="3326854" y="1631048"/>
                </a:lnTo>
                <a:lnTo>
                  <a:pt x="3365093" y="1609509"/>
                </a:lnTo>
                <a:lnTo>
                  <a:pt x="3399790" y="1582902"/>
                </a:lnTo>
                <a:lnTo>
                  <a:pt x="3430473" y="1551711"/>
                </a:lnTo>
                <a:lnTo>
                  <a:pt x="3456660" y="1516456"/>
                </a:lnTo>
                <a:lnTo>
                  <a:pt x="3477857" y="1477594"/>
                </a:lnTo>
                <a:lnTo>
                  <a:pt x="3493605" y="1435633"/>
                </a:lnTo>
                <a:lnTo>
                  <a:pt x="3503396" y="1391043"/>
                </a:lnTo>
                <a:lnTo>
                  <a:pt x="3506774" y="1344333"/>
                </a:lnTo>
                <a:close/>
              </a:path>
              <a:path w="3693795" h="4721860">
                <a:moveTo>
                  <a:pt x="3508527" y="2550566"/>
                </a:moveTo>
                <a:lnTo>
                  <a:pt x="3505873" y="2503855"/>
                </a:lnTo>
                <a:lnTo>
                  <a:pt x="3498113" y="2458732"/>
                </a:lnTo>
                <a:lnTo>
                  <a:pt x="3485540" y="2415476"/>
                </a:lnTo>
                <a:lnTo>
                  <a:pt x="3468459" y="2374417"/>
                </a:lnTo>
                <a:lnTo>
                  <a:pt x="3447161" y="2335834"/>
                </a:lnTo>
                <a:lnTo>
                  <a:pt x="3421938" y="2300046"/>
                </a:lnTo>
                <a:lnTo>
                  <a:pt x="3393084" y="2267331"/>
                </a:lnTo>
                <a:lnTo>
                  <a:pt x="3360890" y="2238006"/>
                </a:lnTo>
                <a:lnTo>
                  <a:pt x="3325672" y="2212378"/>
                </a:lnTo>
                <a:lnTo>
                  <a:pt x="3287712" y="2190724"/>
                </a:lnTo>
                <a:lnTo>
                  <a:pt x="3247301" y="2173363"/>
                </a:lnTo>
                <a:lnTo>
                  <a:pt x="3204756" y="2160587"/>
                </a:lnTo>
                <a:lnTo>
                  <a:pt x="3160344" y="2152713"/>
                </a:lnTo>
                <a:lnTo>
                  <a:pt x="3114383" y="2150008"/>
                </a:lnTo>
                <a:lnTo>
                  <a:pt x="3068409" y="2152713"/>
                </a:lnTo>
                <a:lnTo>
                  <a:pt x="3024009" y="2160587"/>
                </a:lnTo>
                <a:lnTo>
                  <a:pt x="2981452" y="2173363"/>
                </a:lnTo>
                <a:lnTo>
                  <a:pt x="2941040" y="2190724"/>
                </a:lnTo>
                <a:lnTo>
                  <a:pt x="2903080" y="2212378"/>
                </a:lnTo>
                <a:lnTo>
                  <a:pt x="2867863" y="2238006"/>
                </a:lnTo>
                <a:lnTo>
                  <a:pt x="2835681" y="2267331"/>
                </a:lnTo>
                <a:lnTo>
                  <a:pt x="2806827" y="2300046"/>
                </a:lnTo>
                <a:lnTo>
                  <a:pt x="2781604" y="2335834"/>
                </a:lnTo>
                <a:lnTo>
                  <a:pt x="2760294" y="2374417"/>
                </a:lnTo>
                <a:lnTo>
                  <a:pt x="2743212" y="2415476"/>
                </a:lnTo>
                <a:lnTo>
                  <a:pt x="2730639" y="2458732"/>
                </a:lnTo>
                <a:lnTo>
                  <a:pt x="2722880" y="2503855"/>
                </a:lnTo>
                <a:lnTo>
                  <a:pt x="2720238" y="2550566"/>
                </a:lnTo>
                <a:lnTo>
                  <a:pt x="2722880" y="2597289"/>
                </a:lnTo>
                <a:lnTo>
                  <a:pt x="2730639" y="2642412"/>
                </a:lnTo>
                <a:lnTo>
                  <a:pt x="2743212" y="2685669"/>
                </a:lnTo>
                <a:lnTo>
                  <a:pt x="2760294" y="2726728"/>
                </a:lnTo>
                <a:lnTo>
                  <a:pt x="2781604" y="2765310"/>
                </a:lnTo>
                <a:lnTo>
                  <a:pt x="2806827" y="2801099"/>
                </a:lnTo>
                <a:lnTo>
                  <a:pt x="2835681" y="2833814"/>
                </a:lnTo>
                <a:lnTo>
                  <a:pt x="2867863" y="2863126"/>
                </a:lnTo>
                <a:lnTo>
                  <a:pt x="2903080" y="2888767"/>
                </a:lnTo>
                <a:lnTo>
                  <a:pt x="2941040" y="2910421"/>
                </a:lnTo>
                <a:lnTo>
                  <a:pt x="2981452" y="2927781"/>
                </a:lnTo>
                <a:lnTo>
                  <a:pt x="3024009" y="2940545"/>
                </a:lnTo>
                <a:lnTo>
                  <a:pt x="3068409" y="2948432"/>
                </a:lnTo>
                <a:lnTo>
                  <a:pt x="3114383" y="2951124"/>
                </a:lnTo>
                <a:lnTo>
                  <a:pt x="3160344" y="2948432"/>
                </a:lnTo>
                <a:lnTo>
                  <a:pt x="3204756" y="2940545"/>
                </a:lnTo>
                <a:lnTo>
                  <a:pt x="3247301" y="2927781"/>
                </a:lnTo>
                <a:lnTo>
                  <a:pt x="3287712" y="2910421"/>
                </a:lnTo>
                <a:lnTo>
                  <a:pt x="3325672" y="2888767"/>
                </a:lnTo>
                <a:lnTo>
                  <a:pt x="3360890" y="2863126"/>
                </a:lnTo>
                <a:lnTo>
                  <a:pt x="3393084" y="2833814"/>
                </a:lnTo>
                <a:lnTo>
                  <a:pt x="3421938" y="2801099"/>
                </a:lnTo>
                <a:lnTo>
                  <a:pt x="3447161" y="2765310"/>
                </a:lnTo>
                <a:lnTo>
                  <a:pt x="3468459" y="2726728"/>
                </a:lnTo>
                <a:lnTo>
                  <a:pt x="3485540" y="2685669"/>
                </a:lnTo>
                <a:lnTo>
                  <a:pt x="3498113" y="2642412"/>
                </a:lnTo>
                <a:lnTo>
                  <a:pt x="3505873" y="2597289"/>
                </a:lnTo>
                <a:lnTo>
                  <a:pt x="3508527" y="2550566"/>
                </a:lnTo>
                <a:close/>
              </a:path>
              <a:path w="3693795" h="4721860">
                <a:moveTo>
                  <a:pt x="3693350" y="317944"/>
                </a:moveTo>
                <a:lnTo>
                  <a:pt x="3689007" y="268770"/>
                </a:lnTo>
                <a:lnTo>
                  <a:pt x="3676510" y="222491"/>
                </a:lnTo>
                <a:lnTo>
                  <a:pt x="3656596" y="179870"/>
                </a:lnTo>
                <a:lnTo>
                  <a:pt x="3630041" y="141693"/>
                </a:lnTo>
                <a:lnTo>
                  <a:pt x="3597592" y="108724"/>
                </a:lnTo>
                <a:lnTo>
                  <a:pt x="3560026" y="81737"/>
                </a:lnTo>
                <a:lnTo>
                  <a:pt x="3518090" y="61506"/>
                </a:lnTo>
                <a:lnTo>
                  <a:pt x="3472548" y="48793"/>
                </a:lnTo>
                <a:lnTo>
                  <a:pt x="3424161" y="44386"/>
                </a:lnTo>
                <a:lnTo>
                  <a:pt x="3375774" y="48793"/>
                </a:lnTo>
                <a:lnTo>
                  <a:pt x="3330232" y="61506"/>
                </a:lnTo>
                <a:lnTo>
                  <a:pt x="3288296" y="81737"/>
                </a:lnTo>
                <a:lnTo>
                  <a:pt x="3250730" y="108724"/>
                </a:lnTo>
                <a:lnTo>
                  <a:pt x="3218281" y="141693"/>
                </a:lnTo>
                <a:lnTo>
                  <a:pt x="3191726" y="179870"/>
                </a:lnTo>
                <a:lnTo>
                  <a:pt x="3171812" y="222491"/>
                </a:lnTo>
                <a:lnTo>
                  <a:pt x="3159315" y="268770"/>
                </a:lnTo>
                <a:lnTo>
                  <a:pt x="3154972" y="317944"/>
                </a:lnTo>
                <a:lnTo>
                  <a:pt x="3159315" y="367118"/>
                </a:lnTo>
                <a:lnTo>
                  <a:pt x="3171812" y="413397"/>
                </a:lnTo>
                <a:lnTo>
                  <a:pt x="3191726" y="456018"/>
                </a:lnTo>
                <a:lnTo>
                  <a:pt x="3218281" y="494207"/>
                </a:lnTo>
                <a:lnTo>
                  <a:pt x="3250730" y="527177"/>
                </a:lnTo>
                <a:lnTo>
                  <a:pt x="3288296" y="554164"/>
                </a:lnTo>
                <a:lnTo>
                  <a:pt x="3330232" y="574395"/>
                </a:lnTo>
                <a:lnTo>
                  <a:pt x="3375774" y="587108"/>
                </a:lnTo>
                <a:lnTo>
                  <a:pt x="3424161" y="591515"/>
                </a:lnTo>
                <a:lnTo>
                  <a:pt x="3472548" y="587108"/>
                </a:lnTo>
                <a:lnTo>
                  <a:pt x="3518090" y="574395"/>
                </a:lnTo>
                <a:lnTo>
                  <a:pt x="3560026" y="554164"/>
                </a:lnTo>
                <a:lnTo>
                  <a:pt x="3597592" y="527177"/>
                </a:lnTo>
                <a:lnTo>
                  <a:pt x="3630041" y="494207"/>
                </a:lnTo>
                <a:lnTo>
                  <a:pt x="3656596" y="456018"/>
                </a:lnTo>
                <a:lnTo>
                  <a:pt x="3676510" y="413397"/>
                </a:lnTo>
                <a:lnTo>
                  <a:pt x="3689007" y="367118"/>
                </a:lnTo>
                <a:lnTo>
                  <a:pt x="3693350" y="317944"/>
                </a:lnTo>
                <a:close/>
              </a:path>
            </a:pathLst>
          </a:custGeom>
          <a:solidFill>
            <a:srgbClr val="0E5C77">
              <a:alpha val="19999"/>
            </a:srgbClr>
          </a:solidFill>
        </p:spPr>
        <p:txBody>
          <a:bodyPr wrap="square" lIns="0" tIns="0" rIns="0" bIns="0" rtlCol="0"/>
          <a:lstStyle/>
          <a:p>
            <a:endParaRPr dirty="0"/>
          </a:p>
        </p:txBody>
      </p:sp>
      <p:sp>
        <p:nvSpPr>
          <p:cNvPr id="17" name="object 10">
            <a:extLst>
              <a:ext uri="{FF2B5EF4-FFF2-40B4-BE49-F238E27FC236}">
                <a16:creationId xmlns:a16="http://schemas.microsoft.com/office/drawing/2014/main" id="{2691EC91-92A9-2DFD-4EDA-F8644AAFDF47}"/>
              </a:ext>
            </a:extLst>
          </p:cNvPr>
          <p:cNvSpPr/>
          <p:nvPr/>
        </p:nvSpPr>
        <p:spPr>
          <a:xfrm rot="10800000">
            <a:off x="7677415" y="6480079"/>
            <a:ext cx="765566" cy="796245"/>
          </a:xfrm>
          <a:custGeom>
            <a:avLst/>
            <a:gdLst/>
            <a:ahLst/>
            <a:cxnLst/>
            <a:rect l="l" t="t" r="r" b="b"/>
            <a:pathLst>
              <a:path w="788035" h="800735">
                <a:moveTo>
                  <a:pt x="393953" y="0"/>
                </a:moveTo>
                <a:lnTo>
                  <a:pt x="348010" y="2693"/>
                </a:lnTo>
                <a:lnTo>
                  <a:pt x="303623" y="10573"/>
                </a:lnTo>
                <a:lnTo>
                  <a:pt x="261088" y="23340"/>
                </a:lnTo>
                <a:lnTo>
                  <a:pt x="220702" y="40693"/>
                </a:lnTo>
                <a:lnTo>
                  <a:pt x="182759" y="62331"/>
                </a:lnTo>
                <a:lnTo>
                  <a:pt x="147555" y="87955"/>
                </a:lnTo>
                <a:lnTo>
                  <a:pt x="115385" y="117263"/>
                </a:lnTo>
                <a:lnTo>
                  <a:pt x="86546" y="149956"/>
                </a:lnTo>
                <a:lnTo>
                  <a:pt x="61333" y="185733"/>
                </a:lnTo>
                <a:lnTo>
                  <a:pt x="40041" y="224294"/>
                </a:lnTo>
                <a:lnTo>
                  <a:pt x="22966" y="265338"/>
                </a:lnTo>
                <a:lnTo>
                  <a:pt x="10404" y="308566"/>
                </a:lnTo>
                <a:lnTo>
                  <a:pt x="2650" y="353675"/>
                </a:lnTo>
                <a:lnTo>
                  <a:pt x="0" y="400367"/>
                </a:lnTo>
                <a:lnTo>
                  <a:pt x="2650" y="447056"/>
                </a:lnTo>
                <a:lnTo>
                  <a:pt x="10404" y="492164"/>
                </a:lnTo>
                <a:lnTo>
                  <a:pt x="22966" y="535389"/>
                </a:lnTo>
                <a:lnTo>
                  <a:pt x="40041" y="576432"/>
                </a:lnTo>
                <a:lnTo>
                  <a:pt x="61333" y="614991"/>
                </a:lnTo>
                <a:lnTo>
                  <a:pt x="86546" y="650767"/>
                </a:lnTo>
                <a:lnTo>
                  <a:pt x="115385" y="683460"/>
                </a:lnTo>
                <a:lnTo>
                  <a:pt x="147555" y="712767"/>
                </a:lnTo>
                <a:lnTo>
                  <a:pt x="182759" y="738391"/>
                </a:lnTo>
                <a:lnTo>
                  <a:pt x="220702" y="760029"/>
                </a:lnTo>
                <a:lnTo>
                  <a:pt x="261088" y="777381"/>
                </a:lnTo>
                <a:lnTo>
                  <a:pt x="303623" y="790148"/>
                </a:lnTo>
                <a:lnTo>
                  <a:pt x="348010" y="798028"/>
                </a:lnTo>
                <a:lnTo>
                  <a:pt x="393953" y="800722"/>
                </a:lnTo>
                <a:lnTo>
                  <a:pt x="439897" y="798028"/>
                </a:lnTo>
                <a:lnTo>
                  <a:pt x="484284" y="790148"/>
                </a:lnTo>
                <a:lnTo>
                  <a:pt x="526819" y="777381"/>
                </a:lnTo>
                <a:lnTo>
                  <a:pt x="567205" y="760029"/>
                </a:lnTo>
                <a:lnTo>
                  <a:pt x="605148" y="738391"/>
                </a:lnTo>
                <a:lnTo>
                  <a:pt x="640352" y="712767"/>
                </a:lnTo>
                <a:lnTo>
                  <a:pt x="672522" y="683460"/>
                </a:lnTo>
                <a:lnTo>
                  <a:pt x="701361" y="650767"/>
                </a:lnTo>
                <a:lnTo>
                  <a:pt x="726574" y="614991"/>
                </a:lnTo>
                <a:lnTo>
                  <a:pt x="747866" y="576432"/>
                </a:lnTo>
                <a:lnTo>
                  <a:pt x="764941" y="535389"/>
                </a:lnTo>
                <a:lnTo>
                  <a:pt x="777503" y="492164"/>
                </a:lnTo>
                <a:lnTo>
                  <a:pt x="785257" y="447056"/>
                </a:lnTo>
                <a:lnTo>
                  <a:pt x="787907" y="400367"/>
                </a:lnTo>
                <a:lnTo>
                  <a:pt x="785257" y="353675"/>
                </a:lnTo>
                <a:lnTo>
                  <a:pt x="777503" y="308566"/>
                </a:lnTo>
                <a:lnTo>
                  <a:pt x="764941" y="265338"/>
                </a:lnTo>
                <a:lnTo>
                  <a:pt x="747866" y="224294"/>
                </a:lnTo>
                <a:lnTo>
                  <a:pt x="726574" y="185733"/>
                </a:lnTo>
                <a:lnTo>
                  <a:pt x="701361" y="149956"/>
                </a:lnTo>
                <a:lnTo>
                  <a:pt x="672522" y="117263"/>
                </a:lnTo>
                <a:lnTo>
                  <a:pt x="640352" y="87955"/>
                </a:lnTo>
                <a:lnTo>
                  <a:pt x="605148" y="62331"/>
                </a:lnTo>
                <a:lnTo>
                  <a:pt x="567205" y="40693"/>
                </a:lnTo>
                <a:lnTo>
                  <a:pt x="526819" y="23340"/>
                </a:lnTo>
                <a:lnTo>
                  <a:pt x="484284" y="10573"/>
                </a:lnTo>
                <a:lnTo>
                  <a:pt x="439897" y="2693"/>
                </a:lnTo>
                <a:lnTo>
                  <a:pt x="393953" y="0"/>
                </a:lnTo>
                <a:close/>
              </a:path>
            </a:pathLst>
          </a:custGeom>
          <a:solidFill>
            <a:srgbClr val="0E5C77">
              <a:alpha val="19999"/>
            </a:srgbClr>
          </a:solidFill>
        </p:spPr>
        <p:txBody>
          <a:bodyPr wrap="square" lIns="0" tIns="0" rIns="0" bIns="0" rtlCol="0"/>
          <a:lstStyle/>
          <a:p>
            <a:endParaRPr dirty="0"/>
          </a:p>
        </p:txBody>
      </p:sp>
      <p:sp>
        <p:nvSpPr>
          <p:cNvPr id="32" name="object 12">
            <a:extLst>
              <a:ext uri="{FF2B5EF4-FFF2-40B4-BE49-F238E27FC236}">
                <a16:creationId xmlns:a16="http://schemas.microsoft.com/office/drawing/2014/main" id="{4849155B-A9DE-EE8A-9AF8-81425A554348}"/>
              </a:ext>
            </a:extLst>
          </p:cNvPr>
          <p:cNvSpPr/>
          <p:nvPr/>
        </p:nvSpPr>
        <p:spPr>
          <a:xfrm rot="10800000">
            <a:off x="11530830" y="6395080"/>
            <a:ext cx="638498" cy="334033"/>
          </a:xfrm>
          <a:custGeom>
            <a:avLst/>
            <a:gdLst/>
            <a:ahLst/>
            <a:cxnLst/>
            <a:rect l="l" t="t" r="r" b="b"/>
            <a:pathLst>
              <a:path w="440055" h="253364">
                <a:moveTo>
                  <a:pt x="312827" y="0"/>
                </a:moveTo>
                <a:lnTo>
                  <a:pt x="0" y="0"/>
                </a:lnTo>
                <a:lnTo>
                  <a:pt x="0" y="253365"/>
                </a:lnTo>
                <a:lnTo>
                  <a:pt x="312827" y="253365"/>
                </a:lnTo>
                <a:lnTo>
                  <a:pt x="362132" y="243409"/>
                </a:lnTo>
                <a:lnTo>
                  <a:pt x="402400" y="216260"/>
                </a:lnTo>
                <a:lnTo>
                  <a:pt x="429552" y="175992"/>
                </a:lnTo>
                <a:lnTo>
                  <a:pt x="439510" y="126682"/>
                </a:lnTo>
                <a:lnTo>
                  <a:pt x="429552" y="77372"/>
                </a:lnTo>
                <a:lnTo>
                  <a:pt x="402400" y="37104"/>
                </a:lnTo>
                <a:lnTo>
                  <a:pt x="362132" y="9955"/>
                </a:lnTo>
                <a:lnTo>
                  <a:pt x="312827" y="0"/>
                </a:lnTo>
                <a:close/>
              </a:path>
            </a:pathLst>
          </a:custGeom>
          <a:solidFill>
            <a:srgbClr val="0E5C77">
              <a:alpha val="19999"/>
            </a:srgbClr>
          </a:solidFill>
        </p:spPr>
        <p:txBody>
          <a:bodyPr wrap="square" lIns="0" tIns="0" rIns="0" bIns="0" rtlCol="0"/>
          <a:lstStyle/>
          <a:p>
            <a:endParaRPr/>
          </a:p>
        </p:txBody>
      </p:sp>
      <p:sp>
        <p:nvSpPr>
          <p:cNvPr id="33" name="object 13">
            <a:extLst>
              <a:ext uri="{FF2B5EF4-FFF2-40B4-BE49-F238E27FC236}">
                <a16:creationId xmlns:a16="http://schemas.microsoft.com/office/drawing/2014/main" id="{A0C82D7B-43A0-E7DA-A947-D2D94D26026C}"/>
              </a:ext>
            </a:extLst>
          </p:cNvPr>
          <p:cNvSpPr/>
          <p:nvPr/>
        </p:nvSpPr>
        <p:spPr>
          <a:xfrm rot="10800000">
            <a:off x="11287374" y="7555196"/>
            <a:ext cx="371988" cy="386441"/>
          </a:xfrm>
          <a:custGeom>
            <a:avLst/>
            <a:gdLst/>
            <a:ahLst/>
            <a:cxnLst/>
            <a:rect l="l" t="t" r="r" b="b"/>
            <a:pathLst>
              <a:path w="382905" h="388619">
                <a:moveTo>
                  <a:pt x="191198" y="0"/>
                </a:moveTo>
                <a:lnTo>
                  <a:pt x="147361" y="5131"/>
                </a:lnTo>
                <a:lnTo>
                  <a:pt x="107117" y="19747"/>
                </a:lnTo>
                <a:lnTo>
                  <a:pt x="71617" y="42682"/>
                </a:lnTo>
                <a:lnTo>
                  <a:pt x="42006" y="72771"/>
                </a:lnTo>
                <a:lnTo>
                  <a:pt x="19435" y="108846"/>
                </a:lnTo>
                <a:lnTo>
                  <a:pt x="5050" y="149744"/>
                </a:lnTo>
                <a:lnTo>
                  <a:pt x="0" y="194297"/>
                </a:lnTo>
                <a:lnTo>
                  <a:pt x="5050" y="238850"/>
                </a:lnTo>
                <a:lnTo>
                  <a:pt x="19435" y="279750"/>
                </a:lnTo>
                <a:lnTo>
                  <a:pt x="42006" y="315828"/>
                </a:lnTo>
                <a:lnTo>
                  <a:pt x="71617" y="345919"/>
                </a:lnTo>
                <a:lnTo>
                  <a:pt x="107117" y="368857"/>
                </a:lnTo>
                <a:lnTo>
                  <a:pt x="147361" y="383475"/>
                </a:lnTo>
                <a:lnTo>
                  <a:pt x="191198" y="388607"/>
                </a:lnTo>
                <a:lnTo>
                  <a:pt x="235039" y="383475"/>
                </a:lnTo>
                <a:lnTo>
                  <a:pt x="275284" y="368857"/>
                </a:lnTo>
                <a:lnTo>
                  <a:pt x="310785" y="345919"/>
                </a:lnTo>
                <a:lnTo>
                  <a:pt x="340394" y="315828"/>
                </a:lnTo>
                <a:lnTo>
                  <a:pt x="362964" y="279750"/>
                </a:lnTo>
                <a:lnTo>
                  <a:pt x="377347" y="238850"/>
                </a:lnTo>
                <a:lnTo>
                  <a:pt x="382397" y="194297"/>
                </a:lnTo>
                <a:lnTo>
                  <a:pt x="377347" y="149744"/>
                </a:lnTo>
                <a:lnTo>
                  <a:pt x="362964" y="108846"/>
                </a:lnTo>
                <a:lnTo>
                  <a:pt x="340394" y="72771"/>
                </a:lnTo>
                <a:lnTo>
                  <a:pt x="310785" y="42682"/>
                </a:lnTo>
                <a:lnTo>
                  <a:pt x="275284" y="19747"/>
                </a:lnTo>
                <a:lnTo>
                  <a:pt x="235039" y="5131"/>
                </a:lnTo>
                <a:lnTo>
                  <a:pt x="191198" y="0"/>
                </a:lnTo>
                <a:close/>
              </a:path>
            </a:pathLst>
          </a:custGeom>
          <a:solidFill>
            <a:srgbClr val="0E5C77">
              <a:alpha val="19999"/>
            </a:srgbClr>
          </a:solidFill>
        </p:spPr>
        <p:txBody>
          <a:bodyPr wrap="square" lIns="0" tIns="0" rIns="0" bIns="0" rtlCol="0"/>
          <a:lstStyle/>
          <a:p>
            <a:endParaRPr/>
          </a:p>
        </p:txBody>
      </p:sp>
      <p:sp>
        <p:nvSpPr>
          <p:cNvPr id="34" name="object 14">
            <a:extLst>
              <a:ext uri="{FF2B5EF4-FFF2-40B4-BE49-F238E27FC236}">
                <a16:creationId xmlns:a16="http://schemas.microsoft.com/office/drawing/2014/main" id="{BA238379-38B4-1ED0-2EBC-33F28CE277AE}"/>
              </a:ext>
            </a:extLst>
          </p:cNvPr>
          <p:cNvSpPr/>
          <p:nvPr/>
        </p:nvSpPr>
        <p:spPr>
          <a:xfrm rot="10800000">
            <a:off x="11127502" y="7012374"/>
            <a:ext cx="313382" cy="325822"/>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sp>
        <p:nvSpPr>
          <p:cNvPr id="3" name="Text Placeholder 2">
            <a:extLst>
              <a:ext uri="{FF2B5EF4-FFF2-40B4-BE49-F238E27FC236}">
                <a16:creationId xmlns:a16="http://schemas.microsoft.com/office/drawing/2014/main" id="{5ADC4885-E653-9F9B-1C72-2AA34FCB44D8}"/>
              </a:ext>
            </a:extLst>
          </p:cNvPr>
          <p:cNvSpPr>
            <a:spLocks noGrp="1"/>
          </p:cNvSpPr>
          <p:nvPr userDrawn="1">
            <p:ph type="body" idx="1"/>
          </p:nvPr>
        </p:nvSpPr>
        <p:spPr>
          <a:xfrm>
            <a:off x="2042757" y="1766139"/>
            <a:ext cx="9282430" cy="3337640"/>
          </a:xfrm>
          <a:prstGeom prst="rect">
            <a:avLst/>
          </a:prstGeom>
        </p:spPr>
        <p:txBody>
          <a:bodyPr>
            <a:normAutofit/>
          </a:bodyPr>
          <a:lstStyle>
            <a:lvl1pPr marL="0" indent="0" algn="r">
              <a:buNone/>
              <a:defRPr sz="2800">
                <a:solidFill>
                  <a:schemeClr val="bg1"/>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19" name="Picture 18" descr="A picture containing text&#10;&#10;Description automatically generated">
            <a:extLst>
              <a:ext uri="{FF2B5EF4-FFF2-40B4-BE49-F238E27FC236}">
                <a16:creationId xmlns:a16="http://schemas.microsoft.com/office/drawing/2014/main" id="{912BFDD1-69DB-D848-4E1F-9342E314FF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58512" y="5755005"/>
            <a:ext cx="887325" cy="866809"/>
          </a:xfrm>
          <a:prstGeom prst="rect">
            <a:avLst/>
          </a:prstGeom>
        </p:spPr>
      </p:pic>
      <p:sp>
        <p:nvSpPr>
          <p:cNvPr id="30" name="Footer Placeholder 4">
            <a:extLst>
              <a:ext uri="{FF2B5EF4-FFF2-40B4-BE49-F238E27FC236}">
                <a16:creationId xmlns:a16="http://schemas.microsoft.com/office/drawing/2014/main" id="{02C401B5-B453-3BF0-01CE-3F0F63B03A02}"/>
              </a:ext>
            </a:extLst>
          </p:cNvPr>
          <p:cNvSpPr>
            <a:spLocks noGrp="1"/>
          </p:cNvSpPr>
          <p:nvPr userDrawn="1">
            <p:ph type="ftr" sz="quarter" idx="3"/>
          </p:nvPr>
        </p:nvSpPr>
        <p:spPr>
          <a:xfrm>
            <a:off x="746162" y="6114954"/>
            <a:ext cx="8909745" cy="365125"/>
          </a:xfrm>
          <a:prstGeom prst="rect">
            <a:avLst/>
          </a:prstGeom>
        </p:spPr>
        <p:txBody>
          <a:bodyPr/>
          <a:lstStyle>
            <a:lvl1pPr>
              <a:defRPr sz="1400">
                <a:solidFill>
                  <a:schemeClr val="bg1"/>
                </a:solidFill>
              </a:defRPr>
            </a:lvl1pPr>
          </a:lstStyle>
          <a:p>
            <a:endParaRPr lang="en-GB" dirty="0"/>
          </a:p>
        </p:txBody>
      </p:sp>
      <p:grpSp>
        <p:nvGrpSpPr>
          <p:cNvPr id="8" name="Group 7">
            <a:extLst>
              <a:ext uri="{FF2B5EF4-FFF2-40B4-BE49-F238E27FC236}">
                <a16:creationId xmlns:a16="http://schemas.microsoft.com/office/drawing/2014/main" id="{CE177F1D-8B04-881D-29E5-088E64B385E9}"/>
              </a:ext>
            </a:extLst>
          </p:cNvPr>
          <p:cNvGrpSpPr/>
          <p:nvPr userDrawn="1"/>
        </p:nvGrpSpPr>
        <p:grpSpPr>
          <a:xfrm>
            <a:off x="9597" y="0"/>
            <a:ext cx="4329657" cy="4281798"/>
            <a:chOff x="9597" y="0"/>
            <a:chExt cx="4329657" cy="4281798"/>
          </a:xfrm>
        </p:grpSpPr>
        <p:sp>
          <p:nvSpPr>
            <p:cNvPr id="9" name="object 9">
              <a:extLst>
                <a:ext uri="{FF2B5EF4-FFF2-40B4-BE49-F238E27FC236}">
                  <a16:creationId xmlns:a16="http://schemas.microsoft.com/office/drawing/2014/main" id="{D7A29DDB-840F-FC84-9103-E3E5B573BF40}"/>
                </a:ext>
              </a:extLst>
            </p:cNvPr>
            <p:cNvSpPr/>
            <p:nvPr/>
          </p:nvSpPr>
          <p:spPr>
            <a:xfrm>
              <a:off x="108938" y="11"/>
              <a:ext cx="3349537" cy="4281787"/>
            </a:xfrm>
            <a:custGeom>
              <a:avLst/>
              <a:gdLst/>
              <a:ahLst/>
              <a:cxnLst/>
              <a:rect l="l" t="t" r="r" b="b"/>
              <a:pathLst>
                <a:path w="3693795" h="4721860">
                  <a:moveTo>
                    <a:pt x="985329" y="60604"/>
                  </a:moveTo>
                  <a:lnTo>
                    <a:pt x="977315" y="10096"/>
                  </a:lnTo>
                  <a:lnTo>
                    <a:pt x="972172" y="0"/>
                  </a:lnTo>
                  <a:lnTo>
                    <a:pt x="684009" y="0"/>
                  </a:lnTo>
                  <a:lnTo>
                    <a:pt x="678865" y="10096"/>
                  </a:lnTo>
                  <a:lnTo>
                    <a:pt x="670852" y="60604"/>
                  </a:lnTo>
                  <a:lnTo>
                    <a:pt x="678865" y="111112"/>
                  </a:lnTo>
                  <a:lnTo>
                    <a:pt x="701192" y="154978"/>
                  </a:lnTo>
                  <a:lnTo>
                    <a:pt x="735228" y="189572"/>
                  </a:lnTo>
                  <a:lnTo>
                    <a:pt x="778395" y="212255"/>
                  </a:lnTo>
                  <a:lnTo>
                    <a:pt x="828090" y="220395"/>
                  </a:lnTo>
                  <a:lnTo>
                    <a:pt x="877785" y="212255"/>
                  </a:lnTo>
                  <a:lnTo>
                    <a:pt x="920953" y="189572"/>
                  </a:lnTo>
                  <a:lnTo>
                    <a:pt x="954989" y="154978"/>
                  </a:lnTo>
                  <a:lnTo>
                    <a:pt x="977315" y="111112"/>
                  </a:lnTo>
                  <a:lnTo>
                    <a:pt x="985329" y="60604"/>
                  </a:lnTo>
                  <a:close/>
                </a:path>
                <a:path w="3693795" h="4721860">
                  <a:moveTo>
                    <a:pt x="1194587" y="628446"/>
                  </a:moveTo>
                  <a:lnTo>
                    <a:pt x="1189532" y="583895"/>
                  </a:lnTo>
                  <a:lnTo>
                    <a:pt x="1175143" y="543001"/>
                  </a:lnTo>
                  <a:lnTo>
                    <a:pt x="1152575" y="506920"/>
                  </a:lnTo>
                  <a:lnTo>
                    <a:pt x="1122972" y="476821"/>
                  </a:lnTo>
                  <a:lnTo>
                    <a:pt x="1087462" y="453885"/>
                  </a:lnTo>
                  <a:lnTo>
                    <a:pt x="1047229" y="439267"/>
                  </a:lnTo>
                  <a:lnTo>
                    <a:pt x="1003388" y="434136"/>
                  </a:lnTo>
                  <a:lnTo>
                    <a:pt x="959548" y="439267"/>
                  </a:lnTo>
                  <a:lnTo>
                    <a:pt x="919302" y="453885"/>
                  </a:lnTo>
                  <a:lnTo>
                    <a:pt x="883805" y="476821"/>
                  </a:lnTo>
                  <a:lnTo>
                    <a:pt x="854189" y="506920"/>
                  </a:lnTo>
                  <a:lnTo>
                    <a:pt x="831621" y="543001"/>
                  </a:lnTo>
                  <a:lnTo>
                    <a:pt x="817232" y="583895"/>
                  </a:lnTo>
                  <a:lnTo>
                    <a:pt x="812190" y="628446"/>
                  </a:lnTo>
                  <a:lnTo>
                    <a:pt x="817232" y="672998"/>
                  </a:lnTo>
                  <a:lnTo>
                    <a:pt x="831621" y="713905"/>
                  </a:lnTo>
                  <a:lnTo>
                    <a:pt x="854189" y="749973"/>
                  </a:lnTo>
                  <a:lnTo>
                    <a:pt x="883805" y="780072"/>
                  </a:lnTo>
                  <a:lnTo>
                    <a:pt x="919302" y="803008"/>
                  </a:lnTo>
                  <a:lnTo>
                    <a:pt x="959548" y="817626"/>
                  </a:lnTo>
                  <a:lnTo>
                    <a:pt x="1003388" y="822756"/>
                  </a:lnTo>
                  <a:lnTo>
                    <a:pt x="1047229" y="817626"/>
                  </a:lnTo>
                  <a:lnTo>
                    <a:pt x="1087462" y="803008"/>
                  </a:lnTo>
                  <a:lnTo>
                    <a:pt x="1122972" y="780072"/>
                  </a:lnTo>
                  <a:lnTo>
                    <a:pt x="1152575" y="749973"/>
                  </a:lnTo>
                  <a:lnTo>
                    <a:pt x="1175143" y="713905"/>
                  </a:lnTo>
                  <a:lnTo>
                    <a:pt x="1189532" y="672998"/>
                  </a:lnTo>
                  <a:lnTo>
                    <a:pt x="1194587" y="628446"/>
                  </a:lnTo>
                  <a:close/>
                </a:path>
                <a:path w="3693795" h="4721860">
                  <a:moveTo>
                    <a:pt x="2110397" y="2736418"/>
                  </a:moveTo>
                  <a:lnTo>
                    <a:pt x="2105355" y="2691866"/>
                  </a:lnTo>
                  <a:lnTo>
                    <a:pt x="2090966" y="2650960"/>
                  </a:lnTo>
                  <a:lnTo>
                    <a:pt x="2068398" y="2614892"/>
                  </a:lnTo>
                  <a:lnTo>
                    <a:pt x="2038781" y="2584793"/>
                  </a:lnTo>
                  <a:lnTo>
                    <a:pt x="2003285" y="2561856"/>
                  </a:lnTo>
                  <a:lnTo>
                    <a:pt x="1963039" y="2547239"/>
                  </a:lnTo>
                  <a:lnTo>
                    <a:pt x="1919198" y="2542108"/>
                  </a:lnTo>
                  <a:lnTo>
                    <a:pt x="1875358" y="2547239"/>
                  </a:lnTo>
                  <a:lnTo>
                    <a:pt x="1835111" y="2561856"/>
                  </a:lnTo>
                  <a:lnTo>
                    <a:pt x="1799615" y="2584793"/>
                  </a:lnTo>
                  <a:lnTo>
                    <a:pt x="1770011" y="2614892"/>
                  </a:lnTo>
                  <a:lnTo>
                    <a:pt x="1747431" y="2650960"/>
                  </a:lnTo>
                  <a:lnTo>
                    <a:pt x="1733054" y="2691866"/>
                  </a:lnTo>
                  <a:lnTo>
                    <a:pt x="1728000" y="2736418"/>
                  </a:lnTo>
                  <a:lnTo>
                    <a:pt x="1733054" y="2780969"/>
                  </a:lnTo>
                  <a:lnTo>
                    <a:pt x="1747431" y="2821863"/>
                  </a:lnTo>
                  <a:lnTo>
                    <a:pt x="1770011" y="2857944"/>
                  </a:lnTo>
                  <a:lnTo>
                    <a:pt x="1799615" y="2888043"/>
                  </a:lnTo>
                  <a:lnTo>
                    <a:pt x="1835111" y="2910979"/>
                  </a:lnTo>
                  <a:lnTo>
                    <a:pt x="1875358" y="2925597"/>
                  </a:lnTo>
                  <a:lnTo>
                    <a:pt x="1919198" y="2930728"/>
                  </a:lnTo>
                  <a:lnTo>
                    <a:pt x="1963039" y="2925597"/>
                  </a:lnTo>
                  <a:lnTo>
                    <a:pt x="2003285" y="2910979"/>
                  </a:lnTo>
                  <a:lnTo>
                    <a:pt x="2038781" y="2888043"/>
                  </a:lnTo>
                  <a:lnTo>
                    <a:pt x="2068398" y="2857944"/>
                  </a:lnTo>
                  <a:lnTo>
                    <a:pt x="2090966" y="2821863"/>
                  </a:lnTo>
                  <a:lnTo>
                    <a:pt x="2105355" y="2780969"/>
                  </a:lnTo>
                  <a:lnTo>
                    <a:pt x="2110397" y="2736418"/>
                  </a:lnTo>
                  <a:close/>
                </a:path>
                <a:path w="3693795" h="4721860">
                  <a:moveTo>
                    <a:pt x="2315591" y="3313163"/>
                  </a:moveTo>
                  <a:lnTo>
                    <a:pt x="2310536" y="3268611"/>
                  </a:lnTo>
                  <a:lnTo>
                    <a:pt x="2296160" y="3227717"/>
                  </a:lnTo>
                  <a:lnTo>
                    <a:pt x="2273592" y="3191637"/>
                  </a:lnTo>
                  <a:lnTo>
                    <a:pt x="2243975" y="3161538"/>
                  </a:lnTo>
                  <a:lnTo>
                    <a:pt x="2208479" y="3138601"/>
                  </a:lnTo>
                  <a:lnTo>
                    <a:pt x="2168233" y="3123984"/>
                  </a:lnTo>
                  <a:lnTo>
                    <a:pt x="2124392" y="3118853"/>
                  </a:lnTo>
                  <a:lnTo>
                    <a:pt x="2080552" y="3123984"/>
                  </a:lnTo>
                  <a:lnTo>
                    <a:pt x="2040305" y="3138601"/>
                  </a:lnTo>
                  <a:lnTo>
                    <a:pt x="2004809" y="3161538"/>
                  </a:lnTo>
                  <a:lnTo>
                    <a:pt x="1975192" y="3191637"/>
                  </a:lnTo>
                  <a:lnTo>
                    <a:pt x="1952625" y="3227717"/>
                  </a:lnTo>
                  <a:lnTo>
                    <a:pt x="1938235" y="3268611"/>
                  </a:lnTo>
                  <a:lnTo>
                    <a:pt x="1933194" y="3313163"/>
                  </a:lnTo>
                  <a:lnTo>
                    <a:pt x="1938235" y="3357715"/>
                  </a:lnTo>
                  <a:lnTo>
                    <a:pt x="1952625" y="3398621"/>
                  </a:lnTo>
                  <a:lnTo>
                    <a:pt x="1975192" y="3434689"/>
                  </a:lnTo>
                  <a:lnTo>
                    <a:pt x="2004809" y="3464788"/>
                  </a:lnTo>
                  <a:lnTo>
                    <a:pt x="2040305" y="3487724"/>
                  </a:lnTo>
                  <a:lnTo>
                    <a:pt x="2080552" y="3502342"/>
                  </a:lnTo>
                  <a:lnTo>
                    <a:pt x="2124392" y="3507473"/>
                  </a:lnTo>
                  <a:lnTo>
                    <a:pt x="2168233" y="3502342"/>
                  </a:lnTo>
                  <a:lnTo>
                    <a:pt x="2208479" y="3487724"/>
                  </a:lnTo>
                  <a:lnTo>
                    <a:pt x="2243975" y="3464788"/>
                  </a:lnTo>
                  <a:lnTo>
                    <a:pt x="2273592" y="3434689"/>
                  </a:lnTo>
                  <a:lnTo>
                    <a:pt x="2296160" y="3398621"/>
                  </a:lnTo>
                  <a:lnTo>
                    <a:pt x="2310536" y="3357715"/>
                  </a:lnTo>
                  <a:lnTo>
                    <a:pt x="2315591" y="3313163"/>
                  </a:lnTo>
                  <a:close/>
                </a:path>
                <a:path w="3693795" h="4721860">
                  <a:moveTo>
                    <a:pt x="2551633" y="1956752"/>
                  </a:moveTo>
                  <a:lnTo>
                    <a:pt x="2547645" y="1911578"/>
                  </a:lnTo>
                  <a:lnTo>
                    <a:pt x="2536164" y="1869046"/>
                  </a:lnTo>
                  <a:lnTo>
                    <a:pt x="2517864" y="1829892"/>
                  </a:lnTo>
                  <a:lnTo>
                    <a:pt x="2493467" y="1794814"/>
                  </a:lnTo>
                  <a:lnTo>
                    <a:pt x="2463660" y="1764525"/>
                  </a:lnTo>
                  <a:lnTo>
                    <a:pt x="2429141" y="1739722"/>
                  </a:lnTo>
                  <a:lnTo>
                    <a:pt x="2390610" y="1721129"/>
                  </a:lnTo>
                  <a:lnTo>
                    <a:pt x="2348776" y="1709458"/>
                  </a:lnTo>
                  <a:lnTo>
                    <a:pt x="2304313" y="1705406"/>
                  </a:lnTo>
                  <a:lnTo>
                    <a:pt x="2259863" y="1709458"/>
                  </a:lnTo>
                  <a:lnTo>
                    <a:pt x="2218017" y="1721129"/>
                  </a:lnTo>
                  <a:lnTo>
                    <a:pt x="2179485" y="1739722"/>
                  </a:lnTo>
                  <a:lnTo>
                    <a:pt x="2144966" y="1764525"/>
                  </a:lnTo>
                  <a:lnTo>
                    <a:pt x="2115159" y="1794814"/>
                  </a:lnTo>
                  <a:lnTo>
                    <a:pt x="2090762" y="1829892"/>
                  </a:lnTo>
                  <a:lnTo>
                    <a:pt x="2072474" y="1869046"/>
                  </a:lnTo>
                  <a:lnTo>
                    <a:pt x="2060981" y="1911578"/>
                  </a:lnTo>
                  <a:lnTo>
                    <a:pt x="2056993" y="1956752"/>
                  </a:lnTo>
                  <a:lnTo>
                    <a:pt x="2060981" y="2001926"/>
                  </a:lnTo>
                  <a:lnTo>
                    <a:pt x="2072474" y="2044458"/>
                  </a:lnTo>
                  <a:lnTo>
                    <a:pt x="2090762" y="2083612"/>
                  </a:lnTo>
                  <a:lnTo>
                    <a:pt x="2115159" y="2118690"/>
                  </a:lnTo>
                  <a:lnTo>
                    <a:pt x="2144966" y="2148979"/>
                  </a:lnTo>
                  <a:lnTo>
                    <a:pt x="2179485" y="2173782"/>
                  </a:lnTo>
                  <a:lnTo>
                    <a:pt x="2218017" y="2192375"/>
                  </a:lnTo>
                  <a:lnTo>
                    <a:pt x="2259863" y="2204047"/>
                  </a:lnTo>
                  <a:lnTo>
                    <a:pt x="2304313" y="2208098"/>
                  </a:lnTo>
                  <a:lnTo>
                    <a:pt x="2348776" y="2204047"/>
                  </a:lnTo>
                  <a:lnTo>
                    <a:pt x="2390610" y="2192375"/>
                  </a:lnTo>
                  <a:lnTo>
                    <a:pt x="2429141" y="2173782"/>
                  </a:lnTo>
                  <a:lnTo>
                    <a:pt x="2463660" y="2148979"/>
                  </a:lnTo>
                  <a:lnTo>
                    <a:pt x="2493467" y="2118690"/>
                  </a:lnTo>
                  <a:lnTo>
                    <a:pt x="2517864" y="2083612"/>
                  </a:lnTo>
                  <a:lnTo>
                    <a:pt x="2536164" y="2044458"/>
                  </a:lnTo>
                  <a:lnTo>
                    <a:pt x="2547645" y="2001926"/>
                  </a:lnTo>
                  <a:lnTo>
                    <a:pt x="2551633" y="1956752"/>
                  </a:lnTo>
                  <a:close/>
                </a:path>
                <a:path w="3693795" h="4721860">
                  <a:moveTo>
                    <a:pt x="2845346" y="10020"/>
                  </a:moveTo>
                  <a:lnTo>
                    <a:pt x="1323581" y="10020"/>
                  </a:lnTo>
                  <a:lnTo>
                    <a:pt x="1314577" y="48120"/>
                  </a:lnTo>
                  <a:lnTo>
                    <a:pt x="1324521" y="98920"/>
                  </a:lnTo>
                  <a:lnTo>
                    <a:pt x="1351661" y="137020"/>
                  </a:lnTo>
                  <a:lnTo>
                    <a:pt x="1391920" y="162420"/>
                  </a:lnTo>
                  <a:lnTo>
                    <a:pt x="1441234" y="175120"/>
                  </a:lnTo>
                  <a:lnTo>
                    <a:pt x="2424163" y="175120"/>
                  </a:lnTo>
                  <a:lnTo>
                    <a:pt x="2406192" y="225920"/>
                  </a:lnTo>
                  <a:lnTo>
                    <a:pt x="2386253" y="264020"/>
                  </a:lnTo>
                  <a:lnTo>
                    <a:pt x="2364435" y="314820"/>
                  </a:lnTo>
                  <a:lnTo>
                    <a:pt x="2340800" y="365620"/>
                  </a:lnTo>
                  <a:lnTo>
                    <a:pt x="2315400" y="403720"/>
                  </a:lnTo>
                  <a:lnTo>
                    <a:pt x="2288298" y="454520"/>
                  </a:lnTo>
                  <a:lnTo>
                    <a:pt x="2259584" y="492620"/>
                  </a:lnTo>
                  <a:lnTo>
                    <a:pt x="1496834" y="492620"/>
                  </a:lnTo>
                  <a:lnTo>
                    <a:pt x="1447520" y="505320"/>
                  </a:lnTo>
                  <a:lnTo>
                    <a:pt x="1407261" y="530720"/>
                  </a:lnTo>
                  <a:lnTo>
                    <a:pt x="1380121" y="581520"/>
                  </a:lnTo>
                  <a:lnTo>
                    <a:pt x="1370177" y="619620"/>
                  </a:lnTo>
                  <a:lnTo>
                    <a:pt x="1380121" y="670420"/>
                  </a:lnTo>
                  <a:lnTo>
                    <a:pt x="1407261" y="721220"/>
                  </a:lnTo>
                  <a:lnTo>
                    <a:pt x="1447520" y="746620"/>
                  </a:lnTo>
                  <a:lnTo>
                    <a:pt x="2074989" y="746620"/>
                  </a:lnTo>
                  <a:lnTo>
                    <a:pt x="2044115" y="784720"/>
                  </a:lnTo>
                  <a:lnTo>
                    <a:pt x="2012492" y="822820"/>
                  </a:lnTo>
                  <a:lnTo>
                    <a:pt x="1980171" y="860920"/>
                  </a:lnTo>
                  <a:lnTo>
                    <a:pt x="1947189" y="899020"/>
                  </a:lnTo>
                  <a:lnTo>
                    <a:pt x="1913585" y="937120"/>
                  </a:lnTo>
                  <a:lnTo>
                    <a:pt x="1879396" y="975220"/>
                  </a:lnTo>
                  <a:lnTo>
                    <a:pt x="1844662" y="1013320"/>
                  </a:lnTo>
                  <a:lnTo>
                    <a:pt x="1809432" y="1051420"/>
                  </a:lnTo>
                  <a:lnTo>
                    <a:pt x="1773732" y="1089520"/>
                  </a:lnTo>
                  <a:lnTo>
                    <a:pt x="1737614" y="1127620"/>
                  </a:lnTo>
                  <a:lnTo>
                    <a:pt x="1701114" y="1165720"/>
                  </a:lnTo>
                  <a:lnTo>
                    <a:pt x="1627111" y="1241920"/>
                  </a:lnTo>
                  <a:lnTo>
                    <a:pt x="1589697" y="1267320"/>
                  </a:lnTo>
                  <a:lnTo>
                    <a:pt x="1400073" y="1457820"/>
                  </a:lnTo>
                  <a:lnTo>
                    <a:pt x="1361909" y="1483220"/>
                  </a:lnTo>
                  <a:lnTo>
                    <a:pt x="1247686" y="1597520"/>
                  </a:lnTo>
                  <a:lnTo>
                    <a:pt x="1128903" y="1699120"/>
                  </a:lnTo>
                  <a:lnTo>
                    <a:pt x="1085837" y="1749920"/>
                  </a:lnTo>
                  <a:lnTo>
                    <a:pt x="958227" y="1864220"/>
                  </a:lnTo>
                  <a:lnTo>
                    <a:pt x="874915" y="1940420"/>
                  </a:lnTo>
                  <a:lnTo>
                    <a:pt x="833920" y="1978520"/>
                  </a:lnTo>
                  <a:lnTo>
                    <a:pt x="793445" y="2016620"/>
                  </a:lnTo>
                  <a:lnTo>
                    <a:pt x="753503" y="2054720"/>
                  </a:lnTo>
                  <a:lnTo>
                    <a:pt x="714159" y="2092820"/>
                  </a:lnTo>
                  <a:lnTo>
                    <a:pt x="675462" y="2130920"/>
                  </a:lnTo>
                  <a:lnTo>
                    <a:pt x="637451" y="2169020"/>
                  </a:lnTo>
                  <a:lnTo>
                    <a:pt x="600176" y="2207120"/>
                  </a:lnTo>
                  <a:lnTo>
                    <a:pt x="563664" y="2245220"/>
                  </a:lnTo>
                  <a:lnTo>
                    <a:pt x="527977" y="2283320"/>
                  </a:lnTo>
                  <a:lnTo>
                    <a:pt x="493166" y="2321420"/>
                  </a:lnTo>
                  <a:lnTo>
                    <a:pt x="459270" y="2359520"/>
                  </a:lnTo>
                  <a:lnTo>
                    <a:pt x="426326" y="2397620"/>
                  </a:lnTo>
                  <a:lnTo>
                    <a:pt x="394373" y="2435720"/>
                  </a:lnTo>
                  <a:lnTo>
                    <a:pt x="363486" y="2473820"/>
                  </a:lnTo>
                  <a:lnTo>
                    <a:pt x="333692" y="2511920"/>
                  </a:lnTo>
                  <a:lnTo>
                    <a:pt x="305028" y="2550020"/>
                  </a:lnTo>
                  <a:lnTo>
                    <a:pt x="277558" y="2588120"/>
                  </a:lnTo>
                  <a:lnTo>
                    <a:pt x="251320" y="2626220"/>
                  </a:lnTo>
                  <a:lnTo>
                    <a:pt x="226352" y="2664320"/>
                  </a:lnTo>
                  <a:lnTo>
                    <a:pt x="202704" y="2702420"/>
                  </a:lnTo>
                  <a:lnTo>
                    <a:pt x="180428" y="2740520"/>
                  </a:lnTo>
                  <a:lnTo>
                    <a:pt x="159562" y="2778620"/>
                  </a:lnTo>
                  <a:lnTo>
                    <a:pt x="140144" y="2816720"/>
                  </a:lnTo>
                  <a:lnTo>
                    <a:pt x="122237" y="2854820"/>
                  </a:lnTo>
                  <a:lnTo>
                    <a:pt x="105879" y="2892920"/>
                  </a:lnTo>
                  <a:lnTo>
                    <a:pt x="91122" y="2931020"/>
                  </a:lnTo>
                  <a:lnTo>
                    <a:pt x="77990" y="2956420"/>
                  </a:lnTo>
                  <a:lnTo>
                    <a:pt x="56781" y="3032620"/>
                  </a:lnTo>
                  <a:lnTo>
                    <a:pt x="39179" y="3096120"/>
                  </a:lnTo>
                  <a:lnTo>
                    <a:pt x="25031" y="3159620"/>
                  </a:lnTo>
                  <a:lnTo>
                    <a:pt x="14198" y="3235820"/>
                  </a:lnTo>
                  <a:lnTo>
                    <a:pt x="6502" y="3299320"/>
                  </a:lnTo>
                  <a:lnTo>
                    <a:pt x="1828" y="3362820"/>
                  </a:lnTo>
                  <a:lnTo>
                    <a:pt x="0" y="3426320"/>
                  </a:lnTo>
                  <a:lnTo>
                    <a:pt x="863" y="3489820"/>
                  </a:lnTo>
                  <a:lnTo>
                    <a:pt x="4305" y="3540620"/>
                  </a:lnTo>
                  <a:lnTo>
                    <a:pt x="10134" y="3604120"/>
                  </a:lnTo>
                  <a:lnTo>
                    <a:pt x="18224" y="3667620"/>
                  </a:lnTo>
                  <a:lnTo>
                    <a:pt x="28422" y="3718420"/>
                  </a:lnTo>
                  <a:lnTo>
                    <a:pt x="40576" y="3781920"/>
                  </a:lnTo>
                  <a:lnTo>
                    <a:pt x="54521" y="3832720"/>
                  </a:lnTo>
                  <a:lnTo>
                    <a:pt x="70142" y="3883520"/>
                  </a:lnTo>
                  <a:lnTo>
                    <a:pt x="87249" y="3934320"/>
                  </a:lnTo>
                  <a:lnTo>
                    <a:pt x="105727" y="3985120"/>
                  </a:lnTo>
                  <a:lnTo>
                    <a:pt x="125399" y="4035920"/>
                  </a:lnTo>
                  <a:lnTo>
                    <a:pt x="146138" y="4086720"/>
                  </a:lnTo>
                  <a:lnTo>
                    <a:pt x="167767" y="4124820"/>
                  </a:lnTo>
                  <a:lnTo>
                    <a:pt x="190169" y="4175620"/>
                  </a:lnTo>
                  <a:lnTo>
                    <a:pt x="213169" y="4213720"/>
                  </a:lnTo>
                  <a:lnTo>
                    <a:pt x="236613" y="4251820"/>
                  </a:lnTo>
                  <a:lnTo>
                    <a:pt x="260375" y="4302620"/>
                  </a:lnTo>
                  <a:lnTo>
                    <a:pt x="284302" y="4340720"/>
                  </a:lnTo>
                  <a:lnTo>
                    <a:pt x="308216" y="4366120"/>
                  </a:lnTo>
                  <a:lnTo>
                    <a:pt x="332003" y="4404220"/>
                  </a:lnTo>
                  <a:lnTo>
                    <a:pt x="355485" y="4442320"/>
                  </a:lnTo>
                  <a:lnTo>
                    <a:pt x="378536" y="4467720"/>
                  </a:lnTo>
                  <a:lnTo>
                    <a:pt x="400977" y="4493120"/>
                  </a:lnTo>
                  <a:lnTo>
                    <a:pt x="422681" y="4518520"/>
                  </a:lnTo>
                  <a:lnTo>
                    <a:pt x="443496" y="4543920"/>
                  </a:lnTo>
                  <a:lnTo>
                    <a:pt x="463270" y="4569320"/>
                  </a:lnTo>
                  <a:lnTo>
                    <a:pt x="481838" y="4594720"/>
                  </a:lnTo>
                  <a:lnTo>
                    <a:pt x="499071" y="4607420"/>
                  </a:lnTo>
                  <a:lnTo>
                    <a:pt x="514807" y="4632820"/>
                  </a:lnTo>
                  <a:lnTo>
                    <a:pt x="528904" y="4645520"/>
                  </a:lnTo>
                  <a:lnTo>
                    <a:pt x="541210" y="4658220"/>
                  </a:lnTo>
                  <a:lnTo>
                    <a:pt x="551573" y="4658220"/>
                  </a:lnTo>
                  <a:lnTo>
                    <a:pt x="559841" y="4670920"/>
                  </a:lnTo>
                  <a:lnTo>
                    <a:pt x="565861" y="4683620"/>
                  </a:lnTo>
                  <a:lnTo>
                    <a:pt x="569493" y="4683620"/>
                  </a:lnTo>
                  <a:lnTo>
                    <a:pt x="597319" y="4696320"/>
                  </a:lnTo>
                  <a:lnTo>
                    <a:pt x="627621" y="4721720"/>
                  </a:lnTo>
                  <a:lnTo>
                    <a:pt x="729513" y="4721720"/>
                  </a:lnTo>
                  <a:lnTo>
                    <a:pt x="765454" y="4709020"/>
                  </a:lnTo>
                  <a:lnTo>
                    <a:pt x="828370" y="4670920"/>
                  </a:lnTo>
                  <a:lnTo>
                    <a:pt x="856284" y="4632820"/>
                  </a:lnTo>
                  <a:lnTo>
                    <a:pt x="872045" y="4582020"/>
                  </a:lnTo>
                  <a:lnTo>
                    <a:pt x="875779" y="4531220"/>
                  </a:lnTo>
                  <a:lnTo>
                    <a:pt x="867625" y="4493120"/>
                  </a:lnTo>
                  <a:lnTo>
                    <a:pt x="847686" y="4442320"/>
                  </a:lnTo>
                  <a:lnTo>
                    <a:pt x="816102" y="4404220"/>
                  </a:lnTo>
                  <a:lnTo>
                    <a:pt x="807847" y="4404220"/>
                  </a:lnTo>
                  <a:lnTo>
                    <a:pt x="791743" y="4378820"/>
                  </a:lnTo>
                  <a:lnTo>
                    <a:pt x="768921" y="4366120"/>
                  </a:lnTo>
                  <a:lnTo>
                    <a:pt x="740473" y="4328020"/>
                  </a:lnTo>
                  <a:lnTo>
                    <a:pt x="707555" y="4289920"/>
                  </a:lnTo>
                  <a:lnTo>
                    <a:pt x="671258" y="4251820"/>
                  </a:lnTo>
                  <a:lnTo>
                    <a:pt x="632701" y="4201020"/>
                  </a:lnTo>
                  <a:lnTo>
                    <a:pt x="553326" y="4074020"/>
                  </a:lnTo>
                  <a:lnTo>
                    <a:pt x="514731" y="3997820"/>
                  </a:lnTo>
                  <a:lnTo>
                    <a:pt x="1159827" y="3997820"/>
                  </a:lnTo>
                  <a:lnTo>
                    <a:pt x="1200086" y="3959720"/>
                  </a:lnTo>
                  <a:lnTo>
                    <a:pt x="1227226" y="3921620"/>
                  </a:lnTo>
                  <a:lnTo>
                    <a:pt x="1237170" y="3870820"/>
                  </a:lnTo>
                  <a:lnTo>
                    <a:pt x="1227226" y="3820020"/>
                  </a:lnTo>
                  <a:lnTo>
                    <a:pt x="1200086" y="3781920"/>
                  </a:lnTo>
                  <a:lnTo>
                    <a:pt x="1159827" y="3756520"/>
                  </a:lnTo>
                  <a:lnTo>
                    <a:pt x="1110513" y="3743820"/>
                  </a:lnTo>
                  <a:lnTo>
                    <a:pt x="413499" y="3743820"/>
                  </a:lnTo>
                  <a:lnTo>
                    <a:pt x="401281" y="3705720"/>
                  </a:lnTo>
                  <a:lnTo>
                    <a:pt x="390766" y="3654920"/>
                  </a:lnTo>
                  <a:lnTo>
                    <a:pt x="382104" y="3604120"/>
                  </a:lnTo>
                  <a:lnTo>
                    <a:pt x="375450" y="3553320"/>
                  </a:lnTo>
                  <a:lnTo>
                    <a:pt x="370941" y="3502520"/>
                  </a:lnTo>
                  <a:lnTo>
                    <a:pt x="368731" y="3451720"/>
                  </a:lnTo>
                  <a:lnTo>
                    <a:pt x="1493862" y="3451720"/>
                  </a:lnTo>
                  <a:lnTo>
                    <a:pt x="1543177" y="3439020"/>
                  </a:lnTo>
                  <a:lnTo>
                    <a:pt x="1583436" y="3413620"/>
                  </a:lnTo>
                  <a:lnTo>
                    <a:pt x="1610575" y="3375520"/>
                  </a:lnTo>
                  <a:lnTo>
                    <a:pt x="1620520" y="3324720"/>
                  </a:lnTo>
                  <a:lnTo>
                    <a:pt x="1610575" y="3273920"/>
                  </a:lnTo>
                  <a:lnTo>
                    <a:pt x="1583436" y="3235820"/>
                  </a:lnTo>
                  <a:lnTo>
                    <a:pt x="1543177" y="3210420"/>
                  </a:lnTo>
                  <a:lnTo>
                    <a:pt x="1493862" y="3197720"/>
                  </a:lnTo>
                  <a:lnTo>
                    <a:pt x="393382" y="3197720"/>
                  </a:lnTo>
                  <a:lnTo>
                    <a:pt x="400278" y="3172320"/>
                  </a:lnTo>
                  <a:lnTo>
                    <a:pt x="408038" y="3134220"/>
                  </a:lnTo>
                  <a:lnTo>
                    <a:pt x="416763" y="3108820"/>
                  </a:lnTo>
                  <a:lnTo>
                    <a:pt x="426529" y="3083420"/>
                  </a:lnTo>
                  <a:lnTo>
                    <a:pt x="441350" y="3032620"/>
                  </a:lnTo>
                  <a:lnTo>
                    <a:pt x="459257" y="2994520"/>
                  </a:lnTo>
                  <a:lnTo>
                    <a:pt x="480085" y="2956420"/>
                  </a:lnTo>
                  <a:lnTo>
                    <a:pt x="503656" y="2918320"/>
                  </a:lnTo>
                  <a:lnTo>
                    <a:pt x="529818" y="2867520"/>
                  </a:lnTo>
                  <a:lnTo>
                    <a:pt x="1442580" y="2867520"/>
                  </a:lnTo>
                  <a:lnTo>
                    <a:pt x="1482839" y="2829420"/>
                  </a:lnTo>
                  <a:lnTo>
                    <a:pt x="1509979" y="2791320"/>
                  </a:lnTo>
                  <a:lnTo>
                    <a:pt x="1519923" y="2740520"/>
                  </a:lnTo>
                  <a:lnTo>
                    <a:pt x="1509979" y="2702420"/>
                  </a:lnTo>
                  <a:lnTo>
                    <a:pt x="1482839" y="2651620"/>
                  </a:lnTo>
                  <a:lnTo>
                    <a:pt x="1442580" y="2626220"/>
                  </a:lnTo>
                  <a:lnTo>
                    <a:pt x="1393266" y="2613520"/>
                  </a:lnTo>
                  <a:lnTo>
                    <a:pt x="723988" y="2613520"/>
                  </a:lnTo>
                  <a:lnTo>
                    <a:pt x="754214" y="2588120"/>
                  </a:lnTo>
                  <a:lnTo>
                    <a:pt x="785418" y="2550020"/>
                  </a:lnTo>
                  <a:lnTo>
                    <a:pt x="817549" y="2511920"/>
                  </a:lnTo>
                  <a:lnTo>
                    <a:pt x="850595" y="2486520"/>
                  </a:lnTo>
                  <a:lnTo>
                    <a:pt x="884466" y="2448420"/>
                  </a:lnTo>
                  <a:lnTo>
                    <a:pt x="919149" y="2410320"/>
                  </a:lnTo>
                  <a:lnTo>
                    <a:pt x="954570" y="2372220"/>
                  </a:lnTo>
                  <a:lnTo>
                    <a:pt x="990701" y="2334120"/>
                  </a:lnTo>
                  <a:lnTo>
                    <a:pt x="1027493" y="2308720"/>
                  </a:lnTo>
                  <a:lnTo>
                    <a:pt x="1064895" y="2270620"/>
                  </a:lnTo>
                  <a:lnTo>
                    <a:pt x="1102842" y="2232520"/>
                  </a:lnTo>
                  <a:lnTo>
                    <a:pt x="1141323" y="2194420"/>
                  </a:lnTo>
                  <a:lnTo>
                    <a:pt x="1180261" y="2156320"/>
                  </a:lnTo>
                  <a:lnTo>
                    <a:pt x="1259370" y="2080120"/>
                  </a:lnTo>
                  <a:lnTo>
                    <a:pt x="1339773" y="2003920"/>
                  </a:lnTo>
                  <a:lnTo>
                    <a:pt x="1380350" y="1978520"/>
                  </a:lnTo>
                  <a:lnTo>
                    <a:pt x="1460766" y="1902320"/>
                  </a:lnTo>
                  <a:lnTo>
                    <a:pt x="1737309" y="1635620"/>
                  </a:lnTo>
                  <a:lnTo>
                    <a:pt x="1776310" y="1597520"/>
                  </a:lnTo>
                  <a:lnTo>
                    <a:pt x="1815109" y="1572120"/>
                  </a:lnTo>
                  <a:lnTo>
                    <a:pt x="1891931" y="1495920"/>
                  </a:lnTo>
                  <a:lnTo>
                    <a:pt x="1967534" y="1419720"/>
                  </a:lnTo>
                  <a:lnTo>
                    <a:pt x="2004809" y="1381620"/>
                  </a:lnTo>
                  <a:lnTo>
                    <a:pt x="2041690" y="1343520"/>
                  </a:lnTo>
                  <a:lnTo>
                    <a:pt x="2078139" y="1305420"/>
                  </a:lnTo>
                  <a:lnTo>
                    <a:pt x="2114143" y="1267320"/>
                  </a:lnTo>
                  <a:lnTo>
                    <a:pt x="2149665" y="1229220"/>
                  </a:lnTo>
                  <a:lnTo>
                    <a:pt x="2184679" y="1191120"/>
                  </a:lnTo>
                  <a:lnTo>
                    <a:pt x="2219147" y="1153020"/>
                  </a:lnTo>
                  <a:lnTo>
                    <a:pt x="2253030" y="1114920"/>
                  </a:lnTo>
                  <a:lnTo>
                    <a:pt x="2286330" y="1076820"/>
                  </a:lnTo>
                  <a:lnTo>
                    <a:pt x="2318982" y="1038720"/>
                  </a:lnTo>
                  <a:lnTo>
                    <a:pt x="2350986" y="1000620"/>
                  </a:lnTo>
                  <a:lnTo>
                    <a:pt x="2382291" y="962520"/>
                  </a:lnTo>
                  <a:lnTo>
                    <a:pt x="2412873" y="924420"/>
                  </a:lnTo>
                  <a:lnTo>
                    <a:pt x="2442705" y="886320"/>
                  </a:lnTo>
                  <a:lnTo>
                    <a:pt x="2471763" y="848220"/>
                  </a:lnTo>
                  <a:lnTo>
                    <a:pt x="2499995" y="797420"/>
                  </a:lnTo>
                  <a:lnTo>
                    <a:pt x="2527401" y="759320"/>
                  </a:lnTo>
                  <a:lnTo>
                    <a:pt x="2553932" y="721220"/>
                  </a:lnTo>
                  <a:lnTo>
                    <a:pt x="2579560" y="683120"/>
                  </a:lnTo>
                  <a:lnTo>
                    <a:pt x="2604262" y="645020"/>
                  </a:lnTo>
                  <a:lnTo>
                    <a:pt x="2627998" y="606920"/>
                  </a:lnTo>
                  <a:lnTo>
                    <a:pt x="2650744" y="568820"/>
                  </a:lnTo>
                  <a:lnTo>
                    <a:pt x="2672473" y="518020"/>
                  </a:lnTo>
                  <a:lnTo>
                    <a:pt x="2693162" y="479920"/>
                  </a:lnTo>
                  <a:lnTo>
                    <a:pt x="2712758" y="441820"/>
                  </a:lnTo>
                  <a:lnTo>
                    <a:pt x="2731249" y="403720"/>
                  </a:lnTo>
                  <a:lnTo>
                    <a:pt x="2748610" y="365620"/>
                  </a:lnTo>
                  <a:lnTo>
                    <a:pt x="2764790" y="314820"/>
                  </a:lnTo>
                  <a:lnTo>
                    <a:pt x="2779776" y="276720"/>
                  </a:lnTo>
                  <a:lnTo>
                    <a:pt x="2793530" y="238620"/>
                  </a:lnTo>
                  <a:lnTo>
                    <a:pt x="2806039" y="187820"/>
                  </a:lnTo>
                  <a:lnTo>
                    <a:pt x="2817241" y="149720"/>
                  </a:lnTo>
                  <a:lnTo>
                    <a:pt x="2827134" y="111620"/>
                  </a:lnTo>
                  <a:lnTo>
                    <a:pt x="2835681" y="73520"/>
                  </a:lnTo>
                  <a:lnTo>
                    <a:pt x="2842857" y="22720"/>
                  </a:lnTo>
                  <a:lnTo>
                    <a:pt x="2845346" y="10020"/>
                  </a:lnTo>
                  <a:close/>
                </a:path>
                <a:path w="3693795" h="4721860">
                  <a:moveTo>
                    <a:pt x="3506774" y="1344333"/>
                  </a:moveTo>
                  <a:lnTo>
                    <a:pt x="3503396" y="1297622"/>
                  </a:lnTo>
                  <a:lnTo>
                    <a:pt x="3493605" y="1253045"/>
                  </a:lnTo>
                  <a:lnTo>
                    <a:pt x="3477857" y="1211084"/>
                  </a:lnTo>
                  <a:lnTo>
                    <a:pt x="3456660" y="1172222"/>
                  </a:lnTo>
                  <a:lnTo>
                    <a:pt x="3430473" y="1136954"/>
                  </a:lnTo>
                  <a:lnTo>
                    <a:pt x="3399790" y="1105776"/>
                  </a:lnTo>
                  <a:lnTo>
                    <a:pt x="3365093" y="1079169"/>
                  </a:lnTo>
                  <a:lnTo>
                    <a:pt x="3326854" y="1057630"/>
                  </a:lnTo>
                  <a:lnTo>
                    <a:pt x="3285566" y="1041628"/>
                  </a:lnTo>
                  <a:lnTo>
                    <a:pt x="3241700" y="1031671"/>
                  </a:lnTo>
                  <a:lnTo>
                    <a:pt x="3195739" y="1028242"/>
                  </a:lnTo>
                  <a:lnTo>
                    <a:pt x="3149777" y="1031671"/>
                  </a:lnTo>
                  <a:lnTo>
                    <a:pt x="3105899" y="1041628"/>
                  </a:lnTo>
                  <a:lnTo>
                    <a:pt x="3064611" y="1057630"/>
                  </a:lnTo>
                  <a:lnTo>
                    <a:pt x="3026372" y="1079169"/>
                  </a:lnTo>
                  <a:lnTo>
                    <a:pt x="2991675" y="1105776"/>
                  </a:lnTo>
                  <a:lnTo>
                    <a:pt x="2960992" y="1136954"/>
                  </a:lnTo>
                  <a:lnTo>
                    <a:pt x="2934805" y="1172222"/>
                  </a:lnTo>
                  <a:lnTo>
                    <a:pt x="2913608" y="1211084"/>
                  </a:lnTo>
                  <a:lnTo>
                    <a:pt x="2897873" y="1253045"/>
                  </a:lnTo>
                  <a:lnTo>
                    <a:pt x="2888069" y="1297622"/>
                  </a:lnTo>
                  <a:lnTo>
                    <a:pt x="2884703" y="1344333"/>
                  </a:lnTo>
                  <a:lnTo>
                    <a:pt x="2888069" y="1391043"/>
                  </a:lnTo>
                  <a:lnTo>
                    <a:pt x="2897873" y="1435633"/>
                  </a:lnTo>
                  <a:lnTo>
                    <a:pt x="2913608" y="1477594"/>
                  </a:lnTo>
                  <a:lnTo>
                    <a:pt x="2934805" y="1516456"/>
                  </a:lnTo>
                  <a:lnTo>
                    <a:pt x="2960992" y="1551711"/>
                  </a:lnTo>
                  <a:lnTo>
                    <a:pt x="2991675" y="1582902"/>
                  </a:lnTo>
                  <a:lnTo>
                    <a:pt x="3026372" y="1609509"/>
                  </a:lnTo>
                  <a:lnTo>
                    <a:pt x="3064611" y="1631048"/>
                  </a:lnTo>
                  <a:lnTo>
                    <a:pt x="3105899" y="1647050"/>
                  </a:lnTo>
                  <a:lnTo>
                    <a:pt x="3149777" y="1657007"/>
                  </a:lnTo>
                  <a:lnTo>
                    <a:pt x="3195739" y="1660423"/>
                  </a:lnTo>
                  <a:lnTo>
                    <a:pt x="3241700" y="1657007"/>
                  </a:lnTo>
                  <a:lnTo>
                    <a:pt x="3285566" y="1647050"/>
                  </a:lnTo>
                  <a:lnTo>
                    <a:pt x="3326854" y="1631048"/>
                  </a:lnTo>
                  <a:lnTo>
                    <a:pt x="3365093" y="1609509"/>
                  </a:lnTo>
                  <a:lnTo>
                    <a:pt x="3399790" y="1582902"/>
                  </a:lnTo>
                  <a:lnTo>
                    <a:pt x="3430473" y="1551711"/>
                  </a:lnTo>
                  <a:lnTo>
                    <a:pt x="3456660" y="1516456"/>
                  </a:lnTo>
                  <a:lnTo>
                    <a:pt x="3477857" y="1477594"/>
                  </a:lnTo>
                  <a:lnTo>
                    <a:pt x="3493605" y="1435633"/>
                  </a:lnTo>
                  <a:lnTo>
                    <a:pt x="3503396" y="1391043"/>
                  </a:lnTo>
                  <a:lnTo>
                    <a:pt x="3506774" y="1344333"/>
                  </a:lnTo>
                  <a:close/>
                </a:path>
                <a:path w="3693795" h="4721860">
                  <a:moveTo>
                    <a:pt x="3508527" y="2550566"/>
                  </a:moveTo>
                  <a:lnTo>
                    <a:pt x="3505873" y="2503855"/>
                  </a:lnTo>
                  <a:lnTo>
                    <a:pt x="3498113" y="2458732"/>
                  </a:lnTo>
                  <a:lnTo>
                    <a:pt x="3485540" y="2415476"/>
                  </a:lnTo>
                  <a:lnTo>
                    <a:pt x="3468459" y="2374417"/>
                  </a:lnTo>
                  <a:lnTo>
                    <a:pt x="3447161" y="2335834"/>
                  </a:lnTo>
                  <a:lnTo>
                    <a:pt x="3421938" y="2300046"/>
                  </a:lnTo>
                  <a:lnTo>
                    <a:pt x="3393084" y="2267331"/>
                  </a:lnTo>
                  <a:lnTo>
                    <a:pt x="3360890" y="2238006"/>
                  </a:lnTo>
                  <a:lnTo>
                    <a:pt x="3325672" y="2212378"/>
                  </a:lnTo>
                  <a:lnTo>
                    <a:pt x="3287712" y="2190724"/>
                  </a:lnTo>
                  <a:lnTo>
                    <a:pt x="3247301" y="2173363"/>
                  </a:lnTo>
                  <a:lnTo>
                    <a:pt x="3204756" y="2160587"/>
                  </a:lnTo>
                  <a:lnTo>
                    <a:pt x="3160344" y="2152713"/>
                  </a:lnTo>
                  <a:lnTo>
                    <a:pt x="3114383" y="2150008"/>
                  </a:lnTo>
                  <a:lnTo>
                    <a:pt x="3068409" y="2152713"/>
                  </a:lnTo>
                  <a:lnTo>
                    <a:pt x="3024009" y="2160587"/>
                  </a:lnTo>
                  <a:lnTo>
                    <a:pt x="2981452" y="2173363"/>
                  </a:lnTo>
                  <a:lnTo>
                    <a:pt x="2941040" y="2190724"/>
                  </a:lnTo>
                  <a:lnTo>
                    <a:pt x="2903080" y="2212378"/>
                  </a:lnTo>
                  <a:lnTo>
                    <a:pt x="2867863" y="2238006"/>
                  </a:lnTo>
                  <a:lnTo>
                    <a:pt x="2835681" y="2267331"/>
                  </a:lnTo>
                  <a:lnTo>
                    <a:pt x="2806827" y="2300046"/>
                  </a:lnTo>
                  <a:lnTo>
                    <a:pt x="2781604" y="2335834"/>
                  </a:lnTo>
                  <a:lnTo>
                    <a:pt x="2760294" y="2374417"/>
                  </a:lnTo>
                  <a:lnTo>
                    <a:pt x="2743212" y="2415476"/>
                  </a:lnTo>
                  <a:lnTo>
                    <a:pt x="2730639" y="2458732"/>
                  </a:lnTo>
                  <a:lnTo>
                    <a:pt x="2722880" y="2503855"/>
                  </a:lnTo>
                  <a:lnTo>
                    <a:pt x="2720238" y="2550566"/>
                  </a:lnTo>
                  <a:lnTo>
                    <a:pt x="2722880" y="2597289"/>
                  </a:lnTo>
                  <a:lnTo>
                    <a:pt x="2730639" y="2642412"/>
                  </a:lnTo>
                  <a:lnTo>
                    <a:pt x="2743212" y="2685669"/>
                  </a:lnTo>
                  <a:lnTo>
                    <a:pt x="2760294" y="2726728"/>
                  </a:lnTo>
                  <a:lnTo>
                    <a:pt x="2781604" y="2765310"/>
                  </a:lnTo>
                  <a:lnTo>
                    <a:pt x="2806827" y="2801099"/>
                  </a:lnTo>
                  <a:lnTo>
                    <a:pt x="2835681" y="2833814"/>
                  </a:lnTo>
                  <a:lnTo>
                    <a:pt x="2867863" y="2863126"/>
                  </a:lnTo>
                  <a:lnTo>
                    <a:pt x="2903080" y="2888767"/>
                  </a:lnTo>
                  <a:lnTo>
                    <a:pt x="2941040" y="2910421"/>
                  </a:lnTo>
                  <a:lnTo>
                    <a:pt x="2981452" y="2927781"/>
                  </a:lnTo>
                  <a:lnTo>
                    <a:pt x="3024009" y="2940545"/>
                  </a:lnTo>
                  <a:lnTo>
                    <a:pt x="3068409" y="2948432"/>
                  </a:lnTo>
                  <a:lnTo>
                    <a:pt x="3114383" y="2951124"/>
                  </a:lnTo>
                  <a:lnTo>
                    <a:pt x="3160344" y="2948432"/>
                  </a:lnTo>
                  <a:lnTo>
                    <a:pt x="3204756" y="2940545"/>
                  </a:lnTo>
                  <a:lnTo>
                    <a:pt x="3247301" y="2927781"/>
                  </a:lnTo>
                  <a:lnTo>
                    <a:pt x="3287712" y="2910421"/>
                  </a:lnTo>
                  <a:lnTo>
                    <a:pt x="3325672" y="2888767"/>
                  </a:lnTo>
                  <a:lnTo>
                    <a:pt x="3360890" y="2863126"/>
                  </a:lnTo>
                  <a:lnTo>
                    <a:pt x="3393084" y="2833814"/>
                  </a:lnTo>
                  <a:lnTo>
                    <a:pt x="3421938" y="2801099"/>
                  </a:lnTo>
                  <a:lnTo>
                    <a:pt x="3447161" y="2765310"/>
                  </a:lnTo>
                  <a:lnTo>
                    <a:pt x="3468459" y="2726728"/>
                  </a:lnTo>
                  <a:lnTo>
                    <a:pt x="3485540" y="2685669"/>
                  </a:lnTo>
                  <a:lnTo>
                    <a:pt x="3498113" y="2642412"/>
                  </a:lnTo>
                  <a:lnTo>
                    <a:pt x="3505873" y="2597289"/>
                  </a:lnTo>
                  <a:lnTo>
                    <a:pt x="3508527" y="2550566"/>
                  </a:lnTo>
                  <a:close/>
                </a:path>
                <a:path w="3693795" h="4721860">
                  <a:moveTo>
                    <a:pt x="3693350" y="317944"/>
                  </a:moveTo>
                  <a:lnTo>
                    <a:pt x="3689007" y="268770"/>
                  </a:lnTo>
                  <a:lnTo>
                    <a:pt x="3676510" y="222491"/>
                  </a:lnTo>
                  <a:lnTo>
                    <a:pt x="3656596" y="179870"/>
                  </a:lnTo>
                  <a:lnTo>
                    <a:pt x="3630041" y="141693"/>
                  </a:lnTo>
                  <a:lnTo>
                    <a:pt x="3597592" y="108724"/>
                  </a:lnTo>
                  <a:lnTo>
                    <a:pt x="3560026" y="81737"/>
                  </a:lnTo>
                  <a:lnTo>
                    <a:pt x="3518090" y="61506"/>
                  </a:lnTo>
                  <a:lnTo>
                    <a:pt x="3472548" y="48793"/>
                  </a:lnTo>
                  <a:lnTo>
                    <a:pt x="3424161" y="44386"/>
                  </a:lnTo>
                  <a:lnTo>
                    <a:pt x="3375774" y="48793"/>
                  </a:lnTo>
                  <a:lnTo>
                    <a:pt x="3330232" y="61506"/>
                  </a:lnTo>
                  <a:lnTo>
                    <a:pt x="3288296" y="81737"/>
                  </a:lnTo>
                  <a:lnTo>
                    <a:pt x="3250730" y="108724"/>
                  </a:lnTo>
                  <a:lnTo>
                    <a:pt x="3218281" y="141693"/>
                  </a:lnTo>
                  <a:lnTo>
                    <a:pt x="3191726" y="179870"/>
                  </a:lnTo>
                  <a:lnTo>
                    <a:pt x="3171812" y="222491"/>
                  </a:lnTo>
                  <a:lnTo>
                    <a:pt x="3159315" y="268770"/>
                  </a:lnTo>
                  <a:lnTo>
                    <a:pt x="3154972" y="317944"/>
                  </a:lnTo>
                  <a:lnTo>
                    <a:pt x="3159315" y="367118"/>
                  </a:lnTo>
                  <a:lnTo>
                    <a:pt x="3171812" y="413397"/>
                  </a:lnTo>
                  <a:lnTo>
                    <a:pt x="3191726" y="456018"/>
                  </a:lnTo>
                  <a:lnTo>
                    <a:pt x="3218281" y="494207"/>
                  </a:lnTo>
                  <a:lnTo>
                    <a:pt x="3250730" y="527177"/>
                  </a:lnTo>
                  <a:lnTo>
                    <a:pt x="3288296" y="554164"/>
                  </a:lnTo>
                  <a:lnTo>
                    <a:pt x="3330232" y="574395"/>
                  </a:lnTo>
                  <a:lnTo>
                    <a:pt x="3375774" y="587108"/>
                  </a:lnTo>
                  <a:lnTo>
                    <a:pt x="3424161" y="591515"/>
                  </a:lnTo>
                  <a:lnTo>
                    <a:pt x="3472548" y="587108"/>
                  </a:lnTo>
                  <a:lnTo>
                    <a:pt x="3518090" y="574395"/>
                  </a:lnTo>
                  <a:lnTo>
                    <a:pt x="3560026" y="554164"/>
                  </a:lnTo>
                  <a:lnTo>
                    <a:pt x="3597592" y="527177"/>
                  </a:lnTo>
                  <a:lnTo>
                    <a:pt x="3630041" y="494207"/>
                  </a:lnTo>
                  <a:lnTo>
                    <a:pt x="3656596" y="456018"/>
                  </a:lnTo>
                  <a:lnTo>
                    <a:pt x="3676510" y="413397"/>
                  </a:lnTo>
                  <a:lnTo>
                    <a:pt x="3689007" y="367118"/>
                  </a:lnTo>
                  <a:lnTo>
                    <a:pt x="3693350" y="317944"/>
                  </a:lnTo>
                  <a:close/>
                </a:path>
              </a:pathLst>
            </a:custGeom>
            <a:solidFill>
              <a:srgbClr val="0E5C77">
                <a:alpha val="19999"/>
              </a:srgbClr>
            </a:solidFill>
          </p:spPr>
          <p:txBody>
            <a:bodyPr wrap="square" lIns="0" tIns="0" rIns="0" bIns="0" rtlCol="0"/>
            <a:lstStyle/>
            <a:p>
              <a:endParaRPr/>
            </a:p>
          </p:txBody>
        </p:sp>
        <p:sp>
          <p:nvSpPr>
            <p:cNvPr id="10" name="object 10">
              <a:extLst>
                <a:ext uri="{FF2B5EF4-FFF2-40B4-BE49-F238E27FC236}">
                  <a16:creationId xmlns:a16="http://schemas.microsoft.com/office/drawing/2014/main" id="{5D0CF7AA-5EBE-7C05-F897-4819BD7C555D}"/>
                </a:ext>
              </a:extLst>
            </p:cNvPr>
            <p:cNvSpPr/>
            <p:nvPr/>
          </p:nvSpPr>
          <p:spPr>
            <a:xfrm>
              <a:off x="3624663" y="653716"/>
              <a:ext cx="714591" cy="726107"/>
            </a:xfrm>
            <a:custGeom>
              <a:avLst/>
              <a:gdLst/>
              <a:ahLst/>
              <a:cxnLst/>
              <a:rect l="l" t="t" r="r" b="b"/>
              <a:pathLst>
                <a:path w="788035" h="800735">
                  <a:moveTo>
                    <a:pt x="393953" y="0"/>
                  </a:moveTo>
                  <a:lnTo>
                    <a:pt x="348010" y="2693"/>
                  </a:lnTo>
                  <a:lnTo>
                    <a:pt x="303623" y="10573"/>
                  </a:lnTo>
                  <a:lnTo>
                    <a:pt x="261088" y="23340"/>
                  </a:lnTo>
                  <a:lnTo>
                    <a:pt x="220702" y="40693"/>
                  </a:lnTo>
                  <a:lnTo>
                    <a:pt x="182759" y="62331"/>
                  </a:lnTo>
                  <a:lnTo>
                    <a:pt x="147555" y="87955"/>
                  </a:lnTo>
                  <a:lnTo>
                    <a:pt x="115385" y="117263"/>
                  </a:lnTo>
                  <a:lnTo>
                    <a:pt x="86546" y="149956"/>
                  </a:lnTo>
                  <a:lnTo>
                    <a:pt x="61333" y="185733"/>
                  </a:lnTo>
                  <a:lnTo>
                    <a:pt x="40041" y="224294"/>
                  </a:lnTo>
                  <a:lnTo>
                    <a:pt x="22966" y="265338"/>
                  </a:lnTo>
                  <a:lnTo>
                    <a:pt x="10404" y="308566"/>
                  </a:lnTo>
                  <a:lnTo>
                    <a:pt x="2650" y="353675"/>
                  </a:lnTo>
                  <a:lnTo>
                    <a:pt x="0" y="400367"/>
                  </a:lnTo>
                  <a:lnTo>
                    <a:pt x="2650" y="447056"/>
                  </a:lnTo>
                  <a:lnTo>
                    <a:pt x="10404" y="492164"/>
                  </a:lnTo>
                  <a:lnTo>
                    <a:pt x="22966" y="535389"/>
                  </a:lnTo>
                  <a:lnTo>
                    <a:pt x="40041" y="576432"/>
                  </a:lnTo>
                  <a:lnTo>
                    <a:pt x="61333" y="614991"/>
                  </a:lnTo>
                  <a:lnTo>
                    <a:pt x="86546" y="650767"/>
                  </a:lnTo>
                  <a:lnTo>
                    <a:pt x="115385" y="683460"/>
                  </a:lnTo>
                  <a:lnTo>
                    <a:pt x="147555" y="712767"/>
                  </a:lnTo>
                  <a:lnTo>
                    <a:pt x="182759" y="738391"/>
                  </a:lnTo>
                  <a:lnTo>
                    <a:pt x="220702" y="760029"/>
                  </a:lnTo>
                  <a:lnTo>
                    <a:pt x="261088" y="777381"/>
                  </a:lnTo>
                  <a:lnTo>
                    <a:pt x="303623" y="790148"/>
                  </a:lnTo>
                  <a:lnTo>
                    <a:pt x="348010" y="798028"/>
                  </a:lnTo>
                  <a:lnTo>
                    <a:pt x="393953" y="800722"/>
                  </a:lnTo>
                  <a:lnTo>
                    <a:pt x="439897" y="798028"/>
                  </a:lnTo>
                  <a:lnTo>
                    <a:pt x="484284" y="790148"/>
                  </a:lnTo>
                  <a:lnTo>
                    <a:pt x="526819" y="777381"/>
                  </a:lnTo>
                  <a:lnTo>
                    <a:pt x="567205" y="760029"/>
                  </a:lnTo>
                  <a:lnTo>
                    <a:pt x="605148" y="738391"/>
                  </a:lnTo>
                  <a:lnTo>
                    <a:pt x="640352" y="712767"/>
                  </a:lnTo>
                  <a:lnTo>
                    <a:pt x="672522" y="683460"/>
                  </a:lnTo>
                  <a:lnTo>
                    <a:pt x="701361" y="650767"/>
                  </a:lnTo>
                  <a:lnTo>
                    <a:pt x="726574" y="614991"/>
                  </a:lnTo>
                  <a:lnTo>
                    <a:pt x="747866" y="576432"/>
                  </a:lnTo>
                  <a:lnTo>
                    <a:pt x="764941" y="535389"/>
                  </a:lnTo>
                  <a:lnTo>
                    <a:pt x="777503" y="492164"/>
                  </a:lnTo>
                  <a:lnTo>
                    <a:pt x="785257" y="447056"/>
                  </a:lnTo>
                  <a:lnTo>
                    <a:pt x="787907" y="400367"/>
                  </a:lnTo>
                  <a:lnTo>
                    <a:pt x="785257" y="353675"/>
                  </a:lnTo>
                  <a:lnTo>
                    <a:pt x="777503" y="308566"/>
                  </a:lnTo>
                  <a:lnTo>
                    <a:pt x="764941" y="265338"/>
                  </a:lnTo>
                  <a:lnTo>
                    <a:pt x="747866" y="224294"/>
                  </a:lnTo>
                  <a:lnTo>
                    <a:pt x="726574" y="185733"/>
                  </a:lnTo>
                  <a:lnTo>
                    <a:pt x="701361" y="149956"/>
                  </a:lnTo>
                  <a:lnTo>
                    <a:pt x="672522" y="117263"/>
                  </a:lnTo>
                  <a:lnTo>
                    <a:pt x="640352" y="87955"/>
                  </a:lnTo>
                  <a:lnTo>
                    <a:pt x="605148" y="62331"/>
                  </a:lnTo>
                  <a:lnTo>
                    <a:pt x="567205" y="40693"/>
                  </a:lnTo>
                  <a:lnTo>
                    <a:pt x="526819" y="23340"/>
                  </a:lnTo>
                  <a:lnTo>
                    <a:pt x="484284" y="10573"/>
                  </a:lnTo>
                  <a:lnTo>
                    <a:pt x="439897" y="2693"/>
                  </a:lnTo>
                  <a:lnTo>
                    <a:pt x="393953" y="0"/>
                  </a:lnTo>
                  <a:close/>
                </a:path>
              </a:pathLst>
            </a:custGeom>
            <a:solidFill>
              <a:srgbClr val="0E5C77">
                <a:alpha val="19999"/>
              </a:srgbClr>
            </a:solidFill>
          </p:spPr>
          <p:txBody>
            <a:bodyPr wrap="square" lIns="0" tIns="0" rIns="0" bIns="0" rtlCol="0"/>
            <a:lstStyle/>
            <a:p>
              <a:endParaRPr/>
            </a:p>
          </p:txBody>
        </p:sp>
        <p:sp>
          <p:nvSpPr>
            <p:cNvPr id="11" name="object 11">
              <a:extLst>
                <a:ext uri="{FF2B5EF4-FFF2-40B4-BE49-F238E27FC236}">
                  <a16:creationId xmlns:a16="http://schemas.microsoft.com/office/drawing/2014/main" id="{25DD953B-F14D-071F-E4DD-C54031B4394C}"/>
                </a:ext>
              </a:extLst>
            </p:cNvPr>
            <p:cNvSpPr/>
            <p:nvPr/>
          </p:nvSpPr>
          <p:spPr>
            <a:xfrm>
              <a:off x="9597" y="0"/>
              <a:ext cx="210750" cy="1356629"/>
            </a:xfrm>
            <a:custGeom>
              <a:avLst/>
              <a:gdLst/>
              <a:ahLst/>
              <a:cxnLst/>
              <a:rect l="l" t="t" r="r" b="b"/>
              <a:pathLst>
                <a:path w="232410" h="1496060">
                  <a:moveTo>
                    <a:pt x="105352" y="1242277"/>
                  </a:moveTo>
                  <a:lnTo>
                    <a:pt x="0" y="1242277"/>
                  </a:lnTo>
                  <a:lnTo>
                    <a:pt x="0" y="1495642"/>
                  </a:lnTo>
                  <a:lnTo>
                    <a:pt x="105352" y="1495642"/>
                  </a:lnTo>
                  <a:lnTo>
                    <a:pt x="154663" y="1485686"/>
                  </a:lnTo>
                  <a:lnTo>
                    <a:pt x="194930" y="1458537"/>
                  </a:lnTo>
                  <a:lnTo>
                    <a:pt x="222079" y="1418269"/>
                  </a:lnTo>
                  <a:lnTo>
                    <a:pt x="232035" y="1368959"/>
                  </a:lnTo>
                  <a:lnTo>
                    <a:pt x="222079" y="1319649"/>
                  </a:lnTo>
                  <a:lnTo>
                    <a:pt x="194930" y="1279381"/>
                  </a:lnTo>
                  <a:lnTo>
                    <a:pt x="154663" y="1252232"/>
                  </a:lnTo>
                  <a:lnTo>
                    <a:pt x="105352" y="1242277"/>
                  </a:lnTo>
                  <a:close/>
                </a:path>
                <a:path w="232410" h="1496060">
                  <a:moveTo>
                    <a:pt x="4730" y="660413"/>
                  </a:moveTo>
                  <a:lnTo>
                    <a:pt x="0" y="660413"/>
                  </a:lnTo>
                  <a:lnTo>
                    <a:pt x="0" y="913778"/>
                  </a:lnTo>
                  <a:lnTo>
                    <a:pt x="4730" y="913778"/>
                  </a:lnTo>
                  <a:lnTo>
                    <a:pt x="54035" y="903821"/>
                  </a:lnTo>
                  <a:lnTo>
                    <a:pt x="94303" y="876669"/>
                  </a:lnTo>
                  <a:lnTo>
                    <a:pt x="121456" y="836401"/>
                  </a:lnTo>
                  <a:lnTo>
                    <a:pt x="131413" y="787096"/>
                  </a:lnTo>
                  <a:lnTo>
                    <a:pt x="121456" y="737786"/>
                  </a:lnTo>
                  <a:lnTo>
                    <a:pt x="94303" y="697518"/>
                  </a:lnTo>
                  <a:lnTo>
                    <a:pt x="54035" y="670369"/>
                  </a:lnTo>
                  <a:lnTo>
                    <a:pt x="4730" y="660413"/>
                  </a:lnTo>
                  <a:close/>
                </a:path>
                <a:path w="232410" h="1496060">
                  <a:moveTo>
                    <a:pt x="6762" y="0"/>
                  </a:moveTo>
                  <a:lnTo>
                    <a:pt x="0" y="0"/>
                  </a:lnTo>
                  <a:lnTo>
                    <a:pt x="0" y="6232"/>
                  </a:lnTo>
                  <a:lnTo>
                    <a:pt x="6762" y="0"/>
                  </a:lnTo>
                  <a:close/>
                </a:path>
              </a:pathLst>
            </a:custGeom>
            <a:solidFill>
              <a:srgbClr val="0E5C77">
                <a:alpha val="19999"/>
              </a:srgbClr>
            </a:solidFill>
          </p:spPr>
          <p:txBody>
            <a:bodyPr wrap="square" lIns="0" tIns="0" rIns="0" bIns="0" rtlCol="0"/>
            <a:lstStyle/>
            <a:p>
              <a:endParaRPr/>
            </a:p>
          </p:txBody>
        </p:sp>
        <p:sp>
          <p:nvSpPr>
            <p:cNvPr id="12" name="object 12">
              <a:extLst>
                <a:ext uri="{FF2B5EF4-FFF2-40B4-BE49-F238E27FC236}">
                  <a16:creationId xmlns:a16="http://schemas.microsoft.com/office/drawing/2014/main" id="{0789B18E-19FB-CD65-207B-43C48EBE5A69}"/>
                </a:ext>
              </a:extLst>
            </p:cNvPr>
            <p:cNvSpPr/>
            <p:nvPr/>
          </p:nvSpPr>
          <p:spPr>
            <a:xfrm>
              <a:off x="9598" y="1623705"/>
              <a:ext cx="399042" cy="229752"/>
            </a:xfrm>
            <a:custGeom>
              <a:avLst/>
              <a:gdLst/>
              <a:ahLst/>
              <a:cxnLst/>
              <a:rect l="l" t="t" r="r" b="b"/>
              <a:pathLst>
                <a:path w="440055" h="253364">
                  <a:moveTo>
                    <a:pt x="312827" y="0"/>
                  </a:moveTo>
                  <a:lnTo>
                    <a:pt x="0" y="0"/>
                  </a:lnTo>
                  <a:lnTo>
                    <a:pt x="0" y="253365"/>
                  </a:lnTo>
                  <a:lnTo>
                    <a:pt x="312827" y="253365"/>
                  </a:lnTo>
                  <a:lnTo>
                    <a:pt x="362132" y="243409"/>
                  </a:lnTo>
                  <a:lnTo>
                    <a:pt x="402400" y="216260"/>
                  </a:lnTo>
                  <a:lnTo>
                    <a:pt x="429552" y="175992"/>
                  </a:lnTo>
                  <a:lnTo>
                    <a:pt x="439510" y="126682"/>
                  </a:lnTo>
                  <a:lnTo>
                    <a:pt x="429552" y="77372"/>
                  </a:lnTo>
                  <a:lnTo>
                    <a:pt x="402400" y="37104"/>
                  </a:lnTo>
                  <a:lnTo>
                    <a:pt x="362132" y="9955"/>
                  </a:lnTo>
                  <a:lnTo>
                    <a:pt x="312827" y="0"/>
                  </a:lnTo>
                  <a:close/>
                </a:path>
              </a:pathLst>
            </a:custGeom>
            <a:solidFill>
              <a:srgbClr val="0E5C77">
                <a:alpha val="19999"/>
              </a:srgbClr>
            </a:solidFill>
          </p:spPr>
          <p:txBody>
            <a:bodyPr wrap="square" lIns="0" tIns="0" rIns="0" bIns="0" rtlCol="0"/>
            <a:lstStyle/>
            <a:p>
              <a:endParaRPr/>
            </a:p>
          </p:txBody>
        </p:sp>
        <p:sp>
          <p:nvSpPr>
            <p:cNvPr id="13" name="object 13">
              <a:extLst>
                <a:ext uri="{FF2B5EF4-FFF2-40B4-BE49-F238E27FC236}">
                  <a16:creationId xmlns:a16="http://schemas.microsoft.com/office/drawing/2014/main" id="{E815F2B0-E8A3-E494-B8FD-FEAD7DDF456A}"/>
                </a:ext>
              </a:extLst>
            </p:cNvPr>
            <p:cNvSpPr/>
            <p:nvPr/>
          </p:nvSpPr>
          <p:spPr>
            <a:xfrm>
              <a:off x="304371" y="530626"/>
              <a:ext cx="347219" cy="352401"/>
            </a:xfrm>
            <a:custGeom>
              <a:avLst/>
              <a:gdLst/>
              <a:ahLst/>
              <a:cxnLst/>
              <a:rect l="l" t="t" r="r" b="b"/>
              <a:pathLst>
                <a:path w="382905" h="388619">
                  <a:moveTo>
                    <a:pt x="191198" y="0"/>
                  </a:moveTo>
                  <a:lnTo>
                    <a:pt x="147361" y="5131"/>
                  </a:lnTo>
                  <a:lnTo>
                    <a:pt x="107117" y="19747"/>
                  </a:lnTo>
                  <a:lnTo>
                    <a:pt x="71617" y="42682"/>
                  </a:lnTo>
                  <a:lnTo>
                    <a:pt x="42006" y="72771"/>
                  </a:lnTo>
                  <a:lnTo>
                    <a:pt x="19435" y="108846"/>
                  </a:lnTo>
                  <a:lnTo>
                    <a:pt x="5050" y="149744"/>
                  </a:lnTo>
                  <a:lnTo>
                    <a:pt x="0" y="194297"/>
                  </a:lnTo>
                  <a:lnTo>
                    <a:pt x="5050" y="238850"/>
                  </a:lnTo>
                  <a:lnTo>
                    <a:pt x="19435" y="279750"/>
                  </a:lnTo>
                  <a:lnTo>
                    <a:pt x="42006" y="315828"/>
                  </a:lnTo>
                  <a:lnTo>
                    <a:pt x="71617" y="345919"/>
                  </a:lnTo>
                  <a:lnTo>
                    <a:pt x="107117" y="368857"/>
                  </a:lnTo>
                  <a:lnTo>
                    <a:pt x="147361" y="383475"/>
                  </a:lnTo>
                  <a:lnTo>
                    <a:pt x="191198" y="388607"/>
                  </a:lnTo>
                  <a:lnTo>
                    <a:pt x="235039" y="383475"/>
                  </a:lnTo>
                  <a:lnTo>
                    <a:pt x="275284" y="368857"/>
                  </a:lnTo>
                  <a:lnTo>
                    <a:pt x="310785" y="345919"/>
                  </a:lnTo>
                  <a:lnTo>
                    <a:pt x="340394" y="315828"/>
                  </a:lnTo>
                  <a:lnTo>
                    <a:pt x="362964" y="279750"/>
                  </a:lnTo>
                  <a:lnTo>
                    <a:pt x="377347" y="238850"/>
                  </a:lnTo>
                  <a:lnTo>
                    <a:pt x="382397" y="194297"/>
                  </a:lnTo>
                  <a:lnTo>
                    <a:pt x="377347" y="149744"/>
                  </a:lnTo>
                  <a:lnTo>
                    <a:pt x="362964" y="108846"/>
                  </a:lnTo>
                  <a:lnTo>
                    <a:pt x="340394" y="72771"/>
                  </a:lnTo>
                  <a:lnTo>
                    <a:pt x="310785" y="42682"/>
                  </a:lnTo>
                  <a:lnTo>
                    <a:pt x="275284" y="19747"/>
                  </a:lnTo>
                  <a:lnTo>
                    <a:pt x="235039" y="5131"/>
                  </a:lnTo>
                  <a:lnTo>
                    <a:pt x="191198" y="0"/>
                  </a:lnTo>
                  <a:close/>
                </a:path>
              </a:pathLst>
            </a:custGeom>
            <a:solidFill>
              <a:srgbClr val="0E5C77">
                <a:alpha val="19999"/>
              </a:srgbClr>
            </a:solidFill>
          </p:spPr>
          <p:txBody>
            <a:bodyPr wrap="square" lIns="0" tIns="0" rIns="0" bIns="0" rtlCol="0"/>
            <a:lstStyle/>
            <a:p>
              <a:endParaRPr/>
            </a:p>
          </p:txBody>
        </p:sp>
        <p:sp>
          <p:nvSpPr>
            <p:cNvPr id="14" name="object 14">
              <a:extLst>
                <a:ext uri="{FF2B5EF4-FFF2-40B4-BE49-F238E27FC236}">
                  <a16:creationId xmlns:a16="http://schemas.microsoft.com/office/drawing/2014/main" id="{C1CF5157-7353-D424-0299-651CBB82B636}"/>
                </a:ext>
              </a:extLst>
            </p:cNvPr>
            <p:cNvSpPr/>
            <p:nvPr/>
          </p:nvSpPr>
          <p:spPr>
            <a:xfrm>
              <a:off x="508301" y="1080912"/>
              <a:ext cx="292516" cy="297122"/>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grpSp>
      <p:sp>
        <p:nvSpPr>
          <p:cNvPr id="2" name="Title 1">
            <a:extLst>
              <a:ext uri="{FF2B5EF4-FFF2-40B4-BE49-F238E27FC236}">
                <a16:creationId xmlns:a16="http://schemas.microsoft.com/office/drawing/2014/main" id="{E70AF5EC-C3A2-AE47-AC58-C795316B7127}"/>
              </a:ext>
            </a:extLst>
          </p:cNvPr>
          <p:cNvSpPr>
            <a:spLocks noGrp="1"/>
          </p:cNvSpPr>
          <p:nvPr userDrawn="1">
            <p:ph type="title"/>
          </p:nvPr>
        </p:nvSpPr>
        <p:spPr>
          <a:xfrm>
            <a:off x="2049107" y="476581"/>
            <a:ext cx="9282430" cy="752109"/>
          </a:xfrm>
        </p:spPr>
        <p:txBody>
          <a:bodyPr anchor="b">
            <a:normAutofit/>
          </a:bodyPr>
          <a:lstStyle>
            <a:lvl1pPr algn="r">
              <a:defRPr sz="4800">
                <a:solidFill>
                  <a:schemeClr val="bg1"/>
                </a:solidFill>
                <a:latin typeface="Quicksand" pitchFamily="2" charset="0"/>
              </a:defRPr>
            </a:lvl1pPr>
          </a:lstStyle>
          <a:p>
            <a:r>
              <a:rPr lang="en-GB"/>
              <a:t>Click to edit Master title style</a:t>
            </a:r>
            <a:endParaRPr lang="en-GB" dirty="0"/>
          </a:p>
        </p:txBody>
      </p:sp>
      <p:sp>
        <p:nvSpPr>
          <p:cNvPr id="35" name="object 10">
            <a:extLst>
              <a:ext uri="{FF2B5EF4-FFF2-40B4-BE49-F238E27FC236}">
                <a16:creationId xmlns:a16="http://schemas.microsoft.com/office/drawing/2014/main" id="{A0C72F04-F457-6AB5-12E0-833F45AA60AC}"/>
              </a:ext>
            </a:extLst>
          </p:cNvPr>
          <p:cNvSpPr/>
          <p:nvPr userDrawn="1"/>
        </p:nvSpPr>
        <p:spPr>
          <a:xfrm rot="10800000">
            <a:off x="11929385" y="3918569"/>
            <a:ext cx="767112" cy="726458"/>
          </a:xfrm>
          <a:custGeom>
            <a:avLst/>
            <a:gdLst/>
            <a:ahLst/>
            <a:cxnLst/>
            <a:rect l="l" t="t" r="r" b="b"/>
            <a:pathLst>
              <a:path w="788035" h="800735">
                <a:moveTo>
                  <a:pt x="393953" y="0"/>
                </a:moveTo>
                <a:lnTo>
                  <a:pt x="348010" y="2693"/>
                </a:lnTo>
                <a:lnTo>
                  <a:pt x="303623" y="10573"/>
                </a:lnTo>
                <a:lnTo>
                  <a:pt x="261088" y="23340"/>
                </a:lnTo>
                <a:lnTo>
                  <a:pt x="220702" y="40693"/>
                </a:lnTo>
                <a:lnTo>
                  <a:pt x="182759" y="62331"/>
                </a:lnTo>
                <a:lnTo>
                  <a:pt x="147555" y="87955"/>
                </a:lnTo>
                <a:lnTo>
                  <a:pt x="115385" y="117263"/>
                </a:lnTo>
                <a:lnTo>
                  <a:pt x="86546" y="149956"/>
                </a:lnTo>
                <a:lnTo>
                  <a:pt x="61333" y="185733"/>
                </a:lnTo>
                <a:lnTo>
                  <a:pt x="40041" y="224294"/>
                </a:lnTo>
                <a:lnTo>
                  <a:pt x="22966" y="265338"/>
                </a:lnTo>
                <a:lnTo>
                  <a:pt x="10404" y="308566"/>
                </a:lnTo>
                <a:lnTo>
                  <a:pt x="2650" y="353675"/>
                </a:lnTo>
                <a:lnTo>
                  <a:pt x="0" y="400367"/>
                </a:lnTo>
                <a:lnTo>
                  <a:pt x="2650" y="447056"/>
                </a:lnTo>
                <a:lnTo>
                  <a:pt x="10404" y="492164"/>
                </a:lnTo>
                <a:lnTo>
                  <a:pt x="22966" y="535389"/>
                </a:lnTo>
                <a:lnTo>
                  <a:pt x="40041" y="576432"/>
                </a:lnTo>
                <a:lnTo>
                  <a:pt x="61333" y="614991"/>
                </a:lnTo>
                <a:lnTo>
                  <a:pt x="86546" y="650767"/>
                </a:lnTo>
                <a:lnTo>
                  <a:pt x="115385" y="683460"/>
                </a:lnTo>
                <a:lnTo>
                  <a:pt x="147555" y="712767"/>
                </a:lnTo>
                <a:lnTo>
                  <a:pt x="182759" y="738391"/>
                </a:lnTo>
                <a:lnTo>
                  <a:pt x="220702" y="760029"/>
                </a:lnTo>
                <a:lnTo>
                  <a:pt x="261088" y="777381"/>
                </a:lnTo>
                <a:lnTo>
                  <a:pt x="303623" y="790148"/>
                </a:lnTo>
                <a:lnTo>
                  <a:pt x="348010" y="798028"/>
                </a:lnTo>
                <a:lnTo>
                  <a:pt x="393953" y="800722"/>
                </a:lnTo>
                <a:lnTo>
                  <a:pt x="439897" y="798028"/>
                </a:lnTo>
                <a:lnTo>
                  <a:pt x="484284" y="790148"/>
                </a:lnTo>
                <a:lnTo>
                  <a:pt x="526819" y="777381"/>
                </a:lnTo>
                <a:lnTo>
                  <a:pt x="567205" y="760029"/>
                </a:lnTo>
                <a:lnTo>
                  <a:pt x="605148" y="738391"/>
                </a:lnTo>
                <a:lnTo>
                  <a:pt x="640352" y="712767"/>
                </a:lnTo>
                <a:lnTo>
                  <a:pt x="672522" y="683460"/>
                </a:lnTo>
                <a:lnTo>
                  <a:pt x="701361" y="650767"/>
                </a:lnTo>
                <a:lnTo>
                  <a:pt x="726574" y="614991"/>
                </a:lnTo>
                <a:lnTo>
                  <a:pt x="747866" y="576432"/>
                </a:lnTo>
                <a:lnTo>
                  <a:pt x="764941" y="535389"/>
                </a:lnTo>
                <a:lnTo>
                  <a:pt x="777503" y="492164"/>
                </a:lnTo>
                <a:lnTo>
                  <a:pt x="785257" y="447056"/>
                </a:lnTo>
                <a:lnTo>
                  <a:pt x="787907" y="400367"/>
                </a:lnTo>
                <a:lnTo>
                  <a:pt x="785257" y="353675"/>
                </a:lnTo>
                <a:lnTo>
                  <a:pt x="777503" y="308566"/>
                </a:lnTo>
                <a:lnTo>
                  <a:pt x="764941" y="265338"/>
                </a:lnTo>
                <a:lnTo>
                  <a:pt x="747866" y="224294"/>
                </a:lnTo>
                <a:lnTo>
                  <a:pt x="726574" y="185733"/>
                </a:lnTo>
                <a:lnTo>
                  <a:pt x="701361" y="149956"/>
                </a:lnTo>
                <a:lnTo>
                  <a:pt x="672522" y="117263"/>
                </a:lnTo>
                <a:lnTo>
                  <a:pt x="640352" y="87955"/>
                </a:lnTo>
                <a:lnTo>
                  <a:pt x="605148" y="62331"/>
                </a:lnTo>
                <a:lnTo>
                  <a:pt x="567205" y="40693"/>
                </a:lnTo>
                <a:lnTo>
                  <a:pt x="526819" y="23340"/>
                </a:lnTo>
                <a:lnTo>
                  <a:pt x="484284" y="10573"/>
                </a:lnTo>
                <a:lnTo>
                  <a:pt x="439897" y="2693"/>
                </a:lnTo>
                <a:lnTo>
                  <a:pt x="393953" y="0"/>
                </a:lnTo>
                <a:close/>
              </a:path>
            </a:pathLst>
          </a:custGeom>
          <a:solidFill>
            <a:srgbClr val="0E5C77">
              <a:alpha val="19999"/>
            </a:srgbClr>
          </a:solidFill>
        </p:spPr>
        <p:txBody>
          <a:bodyPr wrap="square" lIns="0" tIns="0" rIns="0" bIns="0" rtlCol="0"/>
          <a:lstStyle/>
          <a:p>
            <a:endParaRPr dirty="0"/>
          </a:p>
        </p:txBody>
      </p:sp>
      <p:sp>
        <p:nvSpPr>
          <p:cNvPr id="36" name="object 12">
            <a:extLst>
              <a:ext uri="{FF2B5EF4-FFF2-40B4-BE49-F238E27FC236}">
                <a16:creationId xmlns:a16="http://schemas.microsoft.com/office/drawing/2014/main" id="{BED36AC7-786D-8EDD-B9F6-31DD1F862F88}"/>
              </a:ext>
            </a:extLst>
          </p:cNvPr>
          <p:cNvSpPr/>
          <p:nvPr userDrawn="1"/>
        </p:nvSpPr>
        <p:spPr>
          <a:xfrm rot="10800000">
            <a:off x="11955863" y="5877240"/>
            <a:ext cx="638498" cy="334035"/>
          </a:xfrm>
          <a:custGeom>
            <a:avLst/>
            <a:gdLst/>
            <a:ahLst/>
            <a:cxnLst/>
            <a:rect l="l" t="t" r="r" b="b"/>
            <a:pathLst>
              <a:path w="440055" h="253364">
                <a:moveTo>
                  <a:pt x="312827" y="0"/>
                </a:moveTo>
                <a:lnTo>
                  <a:pt x="0" y="0"/>
                </a:lnTo>
                <a:lnTo>
                  <a:pt x="0" y="253365"/>
                </a:lnTo>
                <a:lnTo>
                  <a:pt x="312827" y="253365"/>
                </a:lnTo>
                <a:lnTo>
                  <a:pt x="362132" y="243409"/>
                </a:lnTo>
                <a:lnTo>
                  <a:pt x="402400" y="216260"/>
                </a:lnTo>
                <a:lnTo>
                  <a:pt x="429552" y="175992"/>
                </a:lnTo>
                <a:lnTo>
                  <a:pt x="439510" y="126682"/>
                </a:lnTo>
                <a:lnTo>
                  <a:pt x="429552" y="77372"/>
                </a:lnTo>
                <a:lnTo>
                  <a:pt x="402400" y="37104"/>
                </a:lnTo>
                <a:lnTo>
                  <a:pt x="362132" y="9955"/>
                </a:lnTo>
                <a:lnTo>
                  <a:pt x="312827" y="0"/>
                </a:lnTo>
                <a:close/>
              </a:path>
            </a:pathLst>
          </a:custGeom>
          <a:solidFill>
            <a:srgbClr val="0E5C77">
              <a:alpha val="19999"/>
            </a:srgbClr>
          </a:solidFill>
        </p:spPr>
        <p:txBody>
          <a:bodyPr wrap="square" lIns="0" tIns="0" rIns="0" bIns="0" rtlCol="0"/>
          <a:lstStyle/>
          <a:p>
            <a:endParaRPr/>
          </a:p>
        </p:txBody>
      </p:sp>
    </p:spTree>
    <p:extLst>
      <p:ext uri="{BB962C8B-B14F-4D97-AF65-F5344CB8AC3E}">
        <p14:creationId xmlns:p14="http://schemas.microsoft.com/office/powerpoint/2010/main" val="27339940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 Purple">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2D00DCAC-C40F-C3B9-F022-BCEE66A66A0B}"/>
              </a:ext>
            </a:extLst>
          </p:cNvPr>
          <p:cNvSpPr/>
          <p:nvPr userDrawn="1"/>
        </p:nvSpPr>
        <p:spPr>
          <a:xfrm>
            <a:off x="0" y="-4957"/>
            <a:ext cx="12197847" cy="6908925"/>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chemeClr val="accent2"/>
          </a:solidFill>
        </p:spPr>
        <p:txBody>
          <a:bodyPr wrap="square" lIns="0" tIns="0" rIns="0" bIns="0" rtlCol="0"/>
          <a:lstStyle/>
          <a:p>
            <a:endParaRPr sz="2000"/>
          </a:p>
        </p:txBody>
      </p:sp>
      <p:sp>
        <p:nvSpPr>
          <p:cNvPr id="33" name="object 13">
            <a:extLst>
              <a:ext uri="{FF2B5EF4-FFF2-40B4-BE49-F238E27FC236}">
                <a16:creationId xmlns:a16="http://schemas.microsoft.com/office/drawing/2014/main" id="{A0C82D7B-43A0-E7DA-A947-D2D94D26026C}"/>
              </a:ext>
            </a:extLst>
          </p:cNvPr>
          <p:cNvSpPr/>
          <p:nvPr/>
        </p:nvSpPr>
        <p:spPr>
          <a:xfrm rot="10800000">
            <a:off x="11287374" y="7555196"/>
            <a:ext cx="371988" cy="386441"/>
          </a:xfrm>
          <a:custGeom>
            <a:avLst/>
            <a:gdLst/>
            <a:ahLst/>
            <a:cxnLst/>
            <a:rect l="l" t="t" r="r" b="b"/>
            <a:pathLst>
              <a:path w="382905" h="388619">
                <a:moveTo>
                  <a:pt x="191198" y="0"/>
                </a:moveTo>
                <a:lnTo>
                  <a:pt x="147361" y="5131"/>
                </a:lnTo>
                <a:lnTo>
                  <a:pt x="107117" y="19747"/>
                </a:lnTo>
                <a:lnTo>
                  <a:pt x="71617" y="42682"/>
                </a:lnTo>
                <a:lnTo>
                  <a:pt x="42006" y="72771"/>
                </a:lnTo>
                <a:lnTo>
                  <a:pt x="19435" y="108846"/>
                </a:lnTo>
                <a:lnTo>
                  <a:pt x="5050" y="149744"/>
                </a:lnTo>
                <a:lnTo>
                  <a:pt x="0" y="194297"/>
                </a:lnTo>
                <a:lnTo>
                  <a:pt x="5050" y="238850"/>
                </a:lnTo>
                <a:lnTo>
                  <a:pt x="19435" y="279750"/>
                </a:lnTo>
                <a:lnTo>
                  <a:pt x="42006" y="315828"/>
                </a:lnTo>
                <a:lnTo>
                  <a:pt x="71617" y="345919"/>
                </a:lnTo>
                <a:lnTo>
                  <a:pt x="107117" y="368857"/>
                </a:lnTo>
                <a:lnTo>
                  <a:pt x="147361" y="383475"/>
                </a:lnTo>
                <a:lnTo>
                  <a:pt x="191198" y="388607"/>
                </a:lnTo>
                <a:lnTo>
                  <a:pt x="235039" y="383475"/>
                </a:lnTo>
                <a:lnTo>
                  <a:pt x="275284" y="368857"/>
                </a:lnTo>
                <a:lnTo>
                  <a:pt x="310785" y="345919"/>
                </a:lnTo>
                <a:lnTo>
                  <a:pt x="340394" y="315828"/>
                </a:lnTo>
                <a:lnTo>
                  <a:pt x="362964" y="279750"/>
                </a:lnTo>
                <a:lnTo>
                  <a:pt x="377347" y="238850"/>
                </a:lnTo>
                <a:lnTo>
                  <a:pt x="382397" y="194297"/>
                </a:lnTo>
                <a:lnTo>
                  <a:pt x="377347" y="149744"/>
                </a:lnTo>
                <a:lnTo>
                  <a:pt x="362964" y="108846"/>
                </a:lnTo>
                <a:lnTo>
                  <a:pt x="340394" y="72771"/>
                </a:lnTo>
                <a:lnTo>
                  <a:pt x="310785" y="42682"/>
                </a:lnTo>
                <a:lnTo>
                  <a:pt x="275284" y="19747"/>
                </a:lnTo>
                <a:lnTo>
                  <a:pt x="235039" y="5131"/>
                </a:lnTo>
                <a:lnTo>
                  <a:pt x="191198" y="0"/>
                </a:lnTo>
                <a:close/>
              </a:path>
            </a:pathLst>
          </a:custGeom>
          <a:solidFill>
            <a:srgbClr val="0E5C77">
              <a:alpha val="19999"/>
            </a:srgbClr>
          </a:solidFill>
        </p:spPr>
        <p:txBody>
          <a:bodyPr wrap="square" lIns="0" tIns="0" rIns="0" bIns="0" rtlCol="0"/>
          <a:lstStyle/>
          <a:p>
            <a:endParaRPr/>
          </a:p>
        </p:txBody>
      </p:sp>
      <p:sp>
        <p:nvSpPr>
          <p:cNvPr id="34" name="object 14">
            <a:extLst>
              <a:ext uri="{FF2B5EF4-FFF2-40B4-BE49-F238E27FC236}">
                <a16:creationId xmlns:a16="http://schemas.microsoft.com/office/drawing/2014/main" id="{BA238379-38B4-1ED0-2EBC-33F28CE277AE}"/>
              </a:ext>
            </a:extLst>
          </p:cNvPr>
          <p:cNvSpPr/>
          <p:nvPr/>
        </p:nvSpPr>
        <p:spPr>
          <a:xfrm rot="10800000">
            <a:off x="10724100" y="6405519"/>
            <a:ext cx="313382" cy="325822"/>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pic>
        <p:nvPicPr>
          <p:cNvPr id="19" name="Picture 18" descr="A picture containing text&#10;&#10;Description automatically generated">
            <a:extLst>
              <a:ext uri="{FF2B5EF4-FFF2-40B4-BE49-F238E27FC236}">
                <a16:creationId xmlns:a16="http://schemas.microsoft.com/office/drawing/2014/main" id="{912BFDD1-69DB-D848-4E1F-9342E314FF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58512" y="5755005"/>
            <a:ext cx="887325" cy="866809"/>
          </a:xfrm>
          <a:prstGeom prst="rect">
            <a:avLst/>
          </a:prstGeom>
        </p:spPr>
      </p:pic>
      <p:sp>
        <p:nvSpPr>
          <p:cNvPr id="30" name="Footer Placeholder 4">
            <a:extLst>
              <a:ext uri="{FF2B5EF4-FFF2-40B4-BE49-F238E27FC236}">
                <a16:creationId xmlns:a16="http://schemas.microsoft.com/office/drawing/2014/main" id="{02C401B5-B453-3BF0-01CE-3F0F63B03A02}"/>
              </a:ext>
            </a:extLst>
          </p:cNvPr>
          <p:cNvSpPr>
            <a:spLocks noGrp="1"/>
          </p:cNvSpPr>
          <p:nvPr userDrawn="1">
            <p:ph type="ftr" sz="quarter" idx="3"/>
          </p:nvPr>
        </p:nvSpPr>
        <p:spPr>
          <a:xfrm>
            <a:off x="746163" y="6114954"/>
            <a:ext cx="8909745" cy="365125"/>
          </a:xfrm>
          <a:prstGeom prst="rect">
            <a:avLst/>
          </a:prstGeom>
        </p:spPr>
        <p:txBody>
          <a:bodyPr/>
          <a:lstStyle>
            <a:lvl1pPr>
              <a:defRPr sz="1400">
                <a:solidFill>
                  <a:schemeClr val="bg1"/>
                </a:solidFill>
              </a:defRPr>
            </a:lvl1pPr>
          </a:lstStyle>
          <a:p>
            <a:endParaRPr lang="en-GB" dirty="0"/>
          </a:p>
        </p:txBody>
      </p:sp>
      <p:sp>
        <p:nvSpPr>
          <p:cNvPr id="4" name="object 3">
            <a:extLst>
              <a:ext uri="{FF2B5EF4-FFF2-40B4-BE49-F238E27FC236}">
                <a16:creationId xmlns:a16="http://schemas.microsoft.com/office/drawing/2014/main" id="{20B4B95D-64D5-9E5B-BAC5-0B7670771DF2}"/>
              </a:ext>
            </a:extLst>
          </p:cNvPr>
          <p:cNvSpPr/>
          <p:nvPr userDrawn="1"/>
        </p:nvSpPr>
        <p:spPr>
          <a:xfrm>
            <a:off x="9598" y="0"/>
            <a:ext cx="3603472" cy="4812692"/>
          </a:xfrm>
          <a:custGeom>
            <a:avLst/>
            <a:gdLst/>
            <a:ahLst/>
            <a:cxnLst/>
            <a:rect l="l" t="t" r="r" b="b"/>
            <a:pathLst>
              <a:path w="3973829" h="5307330">
                <a:moveTo>
                  <a:pt x="71374" y="1940839"/>
                </a:moveTo>
                <a:lnTo>
                  <a:pt x="65620" y="1897291"/>
                </a:lnTo>
                <a:lnTo>
                  <a:pt x="49364" y="1858149"/>
                </a:lnTo>
                <a:lnTo>
                  <a:pt x="24168" y="1824990"/>
                </a:lnTo>
                <a:lnTo>
                  <a:pt x="0" y="1806016"/>
                </a:lnTo>
                <a:lnTo>
                  <a:pt x="0" y="2075662"/>
                </a:lnTo>
                <a:lnTo>
                  <a:pt x="24168" y="2056688"/>
                </a:lnTo>
                <a:lnTo>
                  <a:pt x="49364" y="2023529"/>
                </a:lnTo>
                <a:lnTo>
                  <a:pt x="65620" y="1984387"/>
                </a:lnTo>
                <a:lnTo>
                  <a:pt x="71374" y="1940839"/>
                </a:lnTo>
                <a:close/>
              </a:path>
              <a:path w="3973829" h="5307330">
                <a:moveTo>
                  <a:pt x="184327" y="5114302"/>
                </a:moveTo>
                <a:lnTo>
                  <a:pt x="176174" y="5068062"/>
                </a:lnTo>
                <a:lnTo>
                  <a:pt x="156235" y="5024856"/>
                </a:lnTo>
                <a:lnTo>
                  <a:pt x="124650" y="4987137"/>
                </a:lnTo>
                <a:lnTo>
                  <a:pt x="116395" y="4979378"/>
                </a:lnTo>
                <a:lnTo>
                  <a:pt x="100291" y="4963541"/>
                </a:lnTo>
                <a:lnTo>
                  <a:pt x="77470" y="4939919"/>
                </a:lnTo>
                <a:lnTo>
                  <a:pt x="49022" y="4908791"/>
                </a:lnTo>
                <a:lnTo>
                  <a:pt x="16103" y="4870462"/>
                </a:lnTo>
                <a:lnTo>
                  <a:pt x="0" y="4850384"/>
                </a:lnTo>
                <a:lnTo>
                  <a:pt x="0" y="5306657"/>
                </a:lnTo>
                <a:lnTo>
                  <a:pt x="38061" y="5302923"/>
                </a:lnTo>
                <a:lnTo>
                  <a:pt x="107365" y="5272710"/>
                </a:lnTo>
                <a:lnTo>
                  <a:pt x="136918" y="5246446"/>
                </a:lnTo>
                <a:lnTo>
                  <a:pt x="164833" y="5205958"/>
                </a:lnTo>
                <a:lnTo>
                  <a:pt x="180594" y="5161089"/>
                </a:lnTo>
                <a:lnTo>
                  <a:pt x="184327" y="5114302"/>
                </a:lnTo>
                <a:close/>
              </a:path>
              <a:path w="3973829" h="5307330">
                <a:moveTo>
                  <a:pt x="293878" y="645617"/>
                </a:moveTo>
                <a:lnTo>
                  <a:pt x="285864" y="595109"/>
                </a:lnTo>
                <a:lnTo>
                  <a:pt x="263537" y="551243"/>
                </a:lnTo>
                <a:lnTo>
                  <a:pt x="229501" y="516661"/>
                </a:lnTo>
                <a:lnTo>
                  <a:pt x="186334" y="493979"/>
                </a:lnTo>
                <a:lnTo>
                  <a:pt x="136639" y="485825"/>
                </a:lnTo>
                <a:lnTo>
                  <a:pt x="86944" y="493979"/>
                </a:lnTo>
                <a:lnTo>
                  <a:pt x="43776" y="516661"/>
                </a:lnTo>
                <a:lnTo>
                  <a:pt x="9740" y="551243"/>
                </a:lnTo>
                <a:lnTo>
                  <a:pt x="0" y="570395"/>
                </a:lnTo>
                <a:lnTo>
                  <a:pt x="0" y="720839"/>
                </a:lnTo>
                <a:lnTo>
                  <a:pt x="9740" y="739990"/>
                </a:lnTo>
                <a:lnTo>
                  <a:pt x="43776" y="774585"/>
                </a:lnTo>
                <a:lnTo>
                  <a:pt x="86944" y="797267"/>
                </a:lnTo>
                <a:lnTo>
                  <a:pt x="136639" y="805408"/>
                </a:lnTo>
                <a:lnTo>
                  <a:pt x="186334" y="797267"/>
                </a:lnTo>
                <a:lnTo>
                  <a:pt x="229501" y="774585"/>
                </a:lnTo>
                <a:lnTo>
                  <a:pt x="263537" y="739990"/>
                </a:lnTo>
                <a:lnTo>
                  <a:pt x="285864" y="696125"/>
                </a:lnTo>
                <a:lnTo>
                  <a:pt x="293878" y="645617"/>
                </a:lnTo>
                <a:close/>
              </a:path>
              <a:path w="3973829" h="5307330">
                <a:moveTo>
                  <a:pt x="503135" y="1213459"/>
                </a:moveTo>
                <a:lnTo>
                  <a:pt x="498081" y="1168908"/>
                </a:lnTo>
                <a:lnTo>
                  <a:pt x="483692" y="1128014"/>
                </a:lnTo>
                <a:lnTo>
                  <a:pt x="461124" y="1091933"/>
                </a:lnTo>
                <a:lnTo>
                  <a:pt x="431520" y="1061834"/>
                </a:lnTo>
                <a:lnTo>
                  <a:pt x="396011" y="1038898"/>
                </a:lnTo>
                <a:lnTo>
                  <a:pt x="355777" y="1024280"/>
                </a:lnTo>
                <a:lnTo>
                  <a:pt x="311937" y="1019149"/>
                </a:lnTo>
                <a:lnTo>
                  <a:pt x="268097" y="1024280"/>
                </a:lnTo>
                <a:lnTo>
                  <a:pt x="227850" y="1038898"/>
                </a:lnTo>
                <a:lnTo>
                  <a:pt x="192354" y="1061834"/>
                </a:lnTo>
                <a:lnTo>
                  <a:pt x="162737" y="1091933"/>
                </a:lnTo>
                <a:lnTo>
                  <a:pt x="140169" y="1128014"/>
                </a:lnTo>
                <a:lnTo>
                  <a:pt x="125780" y="1168908"/>
                </a:lnTo>
                <a:lnTo>
                  <a:pt x="120738" y="1213459"/>
                </a:lnTo>
                <a:lnTo>
                  <a:pt x="125780" y="1258011"/>
                </a:lnTo>
                <a:lnTo>
                  <a:pt x="140169" y="1298917"/>
                </a:lnTo>
                <a:lnTo>
                  <a:pt x="162737" y="1334985"/>
                </a:lnTo>
                <a:lnTo>
                  <a:pt x="192354" y="1365084"/>
                </a:lnTo>
                <a:lnTo>
                  <a:pt x="227850" y="1388021"/>
                </a:lnTo>
                <a:lnTo>
                  <a:pt x="268097" y="1402638"/>
                </a:lnTo>
                <a:lnTo>
                  <a:pt x="311937" y="1407769"/>
                </a:lnTo>
                <a:lnTo>
                  <a:pt x="355777" y="1402638"/>
                </a:lnTo>
                <a:lnTo>
                  <a:pt x="396011" y="1388021"/>
                </a:lnTo>
                <a:lnTo>
                  <a:pt x="431520" y="1365084"/>
                </a:lnTo>
                <a:lnTo>
                  <a:pt x="461124" y="1334985"/>
                </a:lnTo>
                <a:lnTo>
                  <a:pt x="483692" y="1298917"/>
                </a:lnTo>
                <a:lnTo>
                  <a:pt x="498081" y="1258011"/>
                </a:lnTo>
                <a:lnTo>
                  <a:pt x="503135" y="1213459"/>
                </a:lnTo>
                <a:close/>
              </a:path>
              <a:path w="3973829" h="5307330">
                <a:moveTo>
                  <a:pt x="545719" y="4454322"/>
                </a:moveTo>
                <a:lnTo>
                  <a:pt x="535774" y="4405007"/>
                </a:lnTo>
                <a:lnTo>
                  <a:pt x="508635" y="4364736"/>
                </a:lnTo>
                <a:lnTo>
                  <a:pt x="468376" y="4337596"/>
                </a:lnTo>
                <a:lnTo>
                  <a:pt x="419061" y="4327639"/>
                </a:lnTo>
                <a:lnTo>
                  <a:pt x="0" y="4327639"/>
                </a:lnTo>
                <a:lnTo>
                  <a:pt x="0" y="4581004"/>
                </a:lnTo>
                <a:lnTo>
                  <a:pt x="419061" y="4581004"/>
                </a:lnTo>
                <a:lnTo>
                  <a:pt x="468376" y="4571047"/>
                </a:lnTo>
                <a:lnTo>
                  <a:pt x="508635" y="4543895"/>
                </a:lnTo>
                <a:lnTo>
                  <a:pt x="535774" y="4503623"/>
                </a:lnTo>
                <a:lnTo>
                  <a:pt x="545719" y="4454322"/>
                </a:lnTo>
                <a:close/>
              </a:path>
              <a:path w="3973829" h="5307330">
                <a:moveTo>
                  <a:pt x="929068" y="3906012"/>
                </a:moveTo>
                <a:lnTo>
                  <a:pt x="919124" y="3856710"/>
                </a:lnTo>
                <a:lnTo>
                  <a:pt x="891984" y="3816439"/>
                </a:lnTo>
                <a:lnTo>
                  <a:pt x="851725" y="3789286"/>
                </a:lnTo>
                <a:lnTo>
                  <a:pt x="802411" y="3779329"/>
                </a:lnTo>
                <a:lnTo>
                  <a:pt x="0" y="3779329"/>
                </a:lnTo>
                <a:lnTo>
                  <a:pt x="0" y="4032694"/>
                </a:lnTo>
                <a:lnTo>
                  <a:pt x="802411" y="4032694"/>
                </a:lnTo>
                <a:lnTo>
                  <a:pt x="851725" y="4022737"/>
                </a:lnTo>
                <a:lnTo>
                  <a:pt x="891984" y="3995585"/>
                </a:lnTo>
                <a:lnTo>
                  <a:pt x="919124" y="3955326"/>
                </a:lnTo>
                <a:lnTo>
                  <a:pt x="929068" y="3906012"/>
                </a:lnTo>
                <a:close/>
              </a:path>
              <a:path w="3973829" h="5307330">
                <a:moveTo>
                  <a:pt x="1123670" y="73621"/>
                </a:moveTo>
                <a:lnTo>
                  <a:pt x="1113713" y="24307"/>
                </a:lnTo>
                <a:lnTo>
                  <a:pt x="1097343" y="0"/>
                </a:lnTo>
                <a:lnTo>
                  <a:pt x="461149" y="0"/>
                </a:lnTo>
                <a:lnTo>
                  <a:pt x="444779" y="24307"/>
                </a:lnTo>
                <a:lnTo>
                  <a:pt x="434835" y="73621"/>
                </a:lnTo>
                <a:lnTo>
                  <a:pt x="444779" y="122936"/>
                </a:lnTo>
                <a:lnTo>
                  <a:pt x="471906" y="163195"/>
                </a:lnTo>
                <a:lnTo>
                  <a:pt x="512165" y="190347"/>
                </a:lnTo>
                <a:lnTo>
                  <a:pt x="561492" y="200304"/>
                </a:lnTo>
                <a:lnTo>
                  <a:pt x="997013" y="200304"/>
                </a:lnTo>
                <a:lnTo>
                  <a:pt x="1046327" y="190347"/>
                </a:lnTo>
                <a:lnTo>
                  <a:pt x="1086586" y="163195"/>
                </a:lnTo>
                <a:lnTo>
                  <a:pt x="1113713" y="122936"/>
                </a:lnTo>
                <a:lnTo>
                  <a:pt x="1123670" y="73621"/>
                </a:lnTo>
                <a:close/>
              </a:path>
              <a:path w="3973829" h="5307330">
                <a:moveTo>
                  <a:pt x="1418945" y="3321431"/>
                </a:moveTo>
                <a:lnTo>
                  <a:pt x="1413903" y="3276879"/>
                </a:lnTo>
                <a:lnTo>
                  <a:pt x="1399514" y="3235972"/>
                </a:lnTo>
                <a:lnTo>
                  <a:pt x="1376946" y="3199904"/>
                </a:lnTo>
                <a:lnTo>
                  <a:pt x="1347343" y="3169805"/>
                </a:lnTo>
                <a:lnTo>
                  <a:pt x="1311833" y="3146869"/>
                </a:lnTo>
                <a:lnTo>
                  <a:pt x="1271587" y="3132251"/>
                </a:lnTo>
                <a:lnTo>
                  <a:pt x="1227747" y="3127121"/>
                </a:lnTo>
                <a:lnTo>
                  <a:pt x="1183906" y="3132251"/>
                </a:lnTo>
                <a:lnTo>
                  <a:pt x="1143660" y="3146869"/>
                </a:lnTo>
                <a:lnTo>
                  <a:pt x="1108163" y="3169805"/>
                </a:lnTo>
                <a:lnTo>
                  <a:pt x="1078560" y="3199904"/>
                </a:lnTo>
                <a:lnTo>
                  <a:pt x="1055979" y="3235972"/>
                </a:lnTo>
                <a:lnTo>
                  <a:pt x="1041603" y="3276879"/>
                </a:lnTo>
                <a:lnTo>
                  <a:pt x="1036548" y="3321431"/>
                </a:lnTo>
                <a:lnTo>
                  <a:pt x="1041603" y="3365982"/>
                </a:lnTo>
                <a:lnTo>
                  <a:pt x="1055979" y="3406876"/>
                </a:lnTo>
                <a:lnTo>
                  <a:pt x="1078560" y="3442957"/>
                </a:lnTo>
                <a:lnTo>
                  <a:pt x="1108163" y="3473056"/>
                </a:lnTo>
                <a:lnTo>
                  <a:pt x="1143660" y="3495992"/>
                </a:lnTo>
                <a:lnTo>
                  <a:pt x="1183906" y="3510610"/>
                </a:lnTo>
                <a:lnTo>
                  <a:pt x="1227747" y="3515741"/>
                </a:lnTo>
                <a:lnTo>
                  <a:pt x="1271587" y="3510610"/>
                </a:lnTo>
                <a:lnTo>
                  <a:pt x="1311833" y="3495992"/>
                </a:lnTo>
                <a:lnTo>
                  <a:pt x="1347343" y="3473056"/>
                </a:lnTo>
                <a:lnTo>
                  <a:pt x="1376946" y="3442957"/>
                </a:lnTo>
                <a:lnTo>
                  <a:pt x="1399514" y="3406876"/>
                </a:lnTo>
                <a:lnTo>
                  <a:pt x="1413903" y="3365982"/>
                </a:lnTo>
                <a:lnTo>
                  <a:pt x="1418945" y="3321431"/>
                </a:lnTo>
                <a:close/>
              </a:path>
              <a:path w="3973829" h="5307330">
                <a:moveTo>
                  <a:pt x="1624139" y="3898176"/>
                </a:moveTo>
                <a:lnTo>
                  <a:pt x="1619084" y="3853624"/>
                </a:lnTo>
                <a:lnTo>
                  <a:pt x="1604708" y="3812730"/>
                </a:lnTo>
                <a:lnTo>
                  <a:pt x="1582140" y="3776649"/>
                </a:lnTo>
                <a:lnTo>
                  <a:pt x="1552524" y="3746550"/>
                </a:lnTo>
                <a:lnTo>
                  <a:pt x="1517027" y="3723614"/>
                </a:lnTo>
                <a:lnTo>
                  <a:pt x="1476781" y="3708997"/>
                </a:lnTo>
                <a:lnTo>
                  <a:pt x="1432941" y="3703866"/>
                </a:lnTo>
                <a:lnTo>
                  <a:pt x="1389100" y="3708997"/>
                </a:lnTo>
                <a:lnTo>
                  <a:pt x="1348854" y="3723614"/>
                </a:lnTo>
                <a:lnTo>
                  <a:pt x="1313357" y="3746550"/>
                </a:lnTo>
                <a:lnTo>
                  <a:pt x="1283741" y="3776649"/>
                </a:lnTo>
                <a:lnTo>
                  <a:pt x="1261173" y="3812730"/>
                </a:lnTo>
                <a:lnTo>
                  <a:pt x="1246784" y="3853624"/>
                </a:lnTo>
                <a:lnTo>
                  <a:pt x="1241742" y="3898176"/>
                </a:lnTo>
                <a:lnTo>
                  <a:pt x="1246784" y="3942727"/>
                </a:lnTo>
                <a:lnTo>
                  <a:pt x="1261173" y="3983634"/>
                </a:lnTo>
                <a:lnTo>
                  <a:pt x="1283741" y="4019702"/>
                </a:lnTo>
                <a:lnTo>
                  <a:pt x="1313357" y="4049801"/>
                </a:lnTo>
                <a:lnTo>
                  <a:pt x="1348854" y="4072737"/>
                </a:lnTo>
                <a:lnTo>
                  <a:pt x="1389100" y="4087355"/>
                </a:lnTo>
                <a:lnTo>
                  <a:pt x="1432941" y="4092486"/>
                </a:lnTo>
                <a:lnTo>
                  <a:pt x="1476781" y="4087355"/>
                </a:lnTo>
                <a:lnTo>
                  <a:pt x="1517027" y="4072737"/>
                </a:lnTo>
                <a:lnTo>
                  <a:pt x="1552524" y="4049801"/>
                </a:lnTo>
                <a:lnTo>
                  <a:pt x="1582140" y="4019702"/>
                </a:lnTo>
                <a:lnTo>
                  <a:pt x="1604708" y="3983634"/>
                </a:lnTo>
                <a:lnTo>
                  <a:pt x="1619084" y="3942727"/>
                </a:lnTo>
                <a:lnTo>
                  <a:pt x="1624139" y="3898176"/>
                </a:lnTo>
                <a:close/>
              </a:path>
              <a:path w="3973829" h="5307330">
                <a:moveTo>
                  <a:pt x="1860181" y="2541765"/>
                </a:moveTo>
                <a:lnTo>
                  <a:pt x="1856193" y="2496591"/>
                </a:lnTo>
                <a:lnTo>
                  <a:pt x="1844713" y="2454059"/>
                </a:lnTo>
                <a:lnTo>
                  <a:pt x="1826412" y="2414905"/>
                </a:lnTo>
                <a:lnTo>
                  <a:pt x="1802015" y="2379827"/>
                </a:lnTo>
                <a:lnTo>
                  <a:pt x="1772208" y="2349538"/>
                </a:lnTo>
                <a:lnTo>
                  <a:pt x="1737690" y="2324735"/>
                </a:lnTo>
                <a:lnTo>
                  <a:pt x="1699158" y="2306142"/>
                </a:lnTo>
                <a:lnTo>
                  <a:pt x="1657324" y="2294471"/>
                </a:lnTo>
                <a:lnTo>
                  <a:pt x="1612861" y="2290419"/>
                </a:lnTo>
                <a:lnTo>
                  <a:pt x="1568411" y="2294471"/>
                </a:lnTo>
                <a:lnTo>
                  <a:pt x="1526565" y="2306142"/>
                </a:lnTo>
                <a:lnTo>
                  <a:pt x="1488033" y="2324735"/>
                </a:lnTo>
                <a:lnTo>
                  <a:pt x="1453515" y="2349538"/>
                </a:lnTo>
                <a:lnTo>
                  <a:pt x="1423708" y="2379827"/>
                </a:lnTo>
                <a:lnTo>
                  <a:pt x="1399311" y="2414905"/>
                </a:lnTo>
                <a:lnTo>
                  <a:pt x="1381023" y="2454059"/>
                </a:lnTo>
                <a:lnTo>
                  <a:pt x="1369529" y="2496591"/>
                </a:lnTo>
                <a:lnTo>
                  <a:pt x="1365542" y="2541765"/>
                </a:lnTo>
                <a:lnTo>
                  <a:pt x="1369529" y="2586939"/>
                </a:lnTo>
                <a:lnTo>
                  <a:pt x="1381023" y="2629471"/>
                </a:lnTo>
                <a:lnTo>
                  <a:pt x="1399311" y="2668625"/>
                </a:lnTo>
                <a:lnTo>
                  <a:pt x="1423708" y="2703703"/>
                </a:lnTo>
                <a:lnTo>
                  <a:pt x="1453515" y="2733992"/>
                </a:lnTo>
                <a:lnTo>
                  <a:pt x="1488033" y="2758795"/>
                </a:lnTo>
                <a:lnTo>
                  <a:pt x="1526565" y="2777388"/>
                </a:lnTo>
                <a:lnTo>
                  <a:pt x="1568411" y="2789059"/>
                </a:lnTo>
                <a:lnTo>
                  <a:pt x="1612861" y="2793111"/>
                </a:lnTo>
                <a:lnTo>
                  <a:pt x="1657324" y="2789059"/>
                </a:lnTo>
                <a:lnTo>
                  <a:pt x="1699158" y="2777388"/>
                </a:lnTo>
                <a:lnTo>
                  <a:pt x="1737690" y="2758795"/>
                </a:lnTo>
                <a:lnTo>
                  <a:pt x="1772208" y="2733992"/>
                </a:lnTo>
                <a:lnTo>
                  <a:pt x="1802015" y="2703703"/>
                </a:lnTo>
                <a:lnTo>
                  <a:pt x="1826412" y="2668625"/>
                </a:lnTo>
                <a:lnTo>
                  <a:pt x="1844713" y="2629471"/>
                </a:lnTo>
                <a:lnTo>
                  <a:pt x="1856193" y="2586939"/>
                </a:lnTo>
                <a:lnTo>
                  <a:pt x="1860181" y="2541765"/>
                </a:lnTo>
                <a:close/>
              </a:path>
              <a:path w="3973829" h="5307330">
                <a:moveTo>
                  <a:pt x="2167483" y="408241"/>
                </a:moveTo>
                <a:lnTo>
                  <a:pt x="2166924" y="335267"/>
                </a:lnTo>
                <a:lnTo>
                  <a:pt x="2162899" y="264515"/>
                </a:lnTo>
                <a:lnTo>
                  <a:pt x="2155672" y="196011"/>
                </a:lnTo>
                <a:lnTo>
                  <a:pt x="2145474" y="129794"/>
                </a:lnTo>
                <a:lnTo>
                  <a:pt x="2132596" y="65874"/>
                </a:lnTo>
                <a:lnTo>
                  <a:pt x="2117267" y="4292"/>
                </a:lnTo>
                <a:lnTo>
                  <a:pt x="2115997" y="12"/>
                </a:lnTo>
                <a:lnTo>
                  <a:pt x="1283462" y="12"/>
                </a:lnTo>
                <a:lnTo>
                  <a:pt x="1267079" y="24307"/>
                </a:lnTo>
                <a:lnTo>
                  <a:pt x="1257134" y="73621"/>
                </a:lnTo>
                <a:lnTo>
                  <a:pt x="1267079" y="122936"/>
                </a:lnTo>
                <a:lnTo>
                  <a:pt x="1294218" y="163195"/>
                </a:lnTo>
                <a:lnTo>
                  <a:pt x="1334477" y="190347"/>
                </a:lnTo>
                <a:lnTo>
                  <a:pt x="1383792" y="200304"/>
                </a:lnTo>
                <a:lnTo>
                  <a:pt x="1784172" y="200304"/>
                </a:lnTo>
                <a:lnTo>
                  <a:pt x="1791182" y="247345"/>
                </a:lnTo>
                <a:lnTo>
                  <a:pt x="1796199" y="295897"/>
                </a:lnTo>
                <a:lnTo>
                  <a:pt x="1799069" y="345973"/>
                </a:lnTo>
                <a:lnTo>
                  <a:pt x="1799653" y="397535"/>
                </a:lnTo>
                <a:lnTo>
                  <a:pt x="1797761" y="450596"/>
                </a:lnTo>
                <a:lnTo>
                  <a:pt x="1793240" y="505142"/>
                </a:lnTo>
                <a:lnTo>
                  <a:pt x="1786153" y="503910"/>
                </a:lnTo>
                <a:lnTo>
                  <a:pt x="1778977" y="502945"/>
                </a:lnTo>
                <a:lnTo>
                  <a:pt x="749782" y="502945"/>
                </a:lnTo>
                <a:lnTo>
                  <a:pt x="700468" y="512902"/>
                </a:lnTo>
                <a:lnTo>
                  <a:pt x="660209" y="540054"/>
                </a:lnTo>
                <a:lnTo>
                  <a:pt x="633069" y="580326"/>
                </a:lnTo>
                <a:lnTo>
                  <a:pt x="623125" y="629627"/>
                </a:lnTo>
                <a:lnTo>
                  <a:pt x="633069" y="678942"/>
                </a:lnTo>
                <a:lnTo>
                  <a:pt x="660209" y="719213"/>
                </a:lnTo>
                <a:lnTo>
                  <a:pt x="700468" y="746366"/>
                </a:lnTo>
                <a:lnTo>
                  <a:pt x="749782" y="756323"/>
                </a:lnTo>
                <a:lnTo>
                  <a:pt x="1732711" y="756323"/>
                </a:lnTo>
                <a:lnTo>
                  <a:pt x="1714741" y="802106"/>
                </a:lnTo>
                <a:lnTo>
                  <a:pt x="1694802" y="847928"/>
                </a:lnTo>
                <a:lnTo>
                  <a:pt x="1672983" y="893800"/>
                </a:lnTo>
                <a:lnTo>
                  <a:pt x="1649349" y="939711"/>
                </a:lnTo>
                <a:lnTo>
                  <a:pt x="1623949" y="985634"/>
                </a:lnTo>
                <a:lnTo>
                  <a:pt x="1596847" y="1031557"/>
                </a:lnTo>
                <a:lnTo>
                  <a:pt x="1568132" y="1077493"/>
                </a:lnTo>
                <a:lnTo>
                  <a:pt x="805383" y="1077493"/>
                </a:lnTo>
                <a:lnTo>
                  <a:pt x="756069" y="1087450"/>
                </a:lnTo>
                <a:lnTo>
                  <a:pt x="715810" y="1114602"/>
                </a:lnTo>
                <a:lnTo>
                  <a:pt x="688670" y="1154874"/>
                </a:lnTo>
                <a:lnTo>
                  <a:pt x="678726" y="1204175"/>
                </a:lnTo>
                <a:lnTo>
                  <a:pt x="688670" y="1253490"/>
                </a:lnTo>
                <a:lnTo>
                  <a:pt x="715810" y="1293749"/>
                </a:lnTo>
                <a:lnTo>
                  <a:pt x="756069" y="1320901"/>
                </a:lnTo>
                <a:lnTo>
                  <a:pt x="805383" y="1330858"/>
                </a:lnTo>
                <a:lnTo>
                  <a:pt x="1383538" y="1330858"/>
                </a:lnTo>
                <a:lnTo>
                  <a:pt x="1352664" y="1368552"/>
                </a:lnTo>
                <a:lnTo>
                  <a:pt x="1321041" y="1406194"/>
                </a:lnTo>
                <a:lnTo>
                  <a:pt x="1288719" y="1443786"/>
                </a:lnTo>
                <a:lnTo>
                  <a:pt x="1255737" y="1481302"/>
                </a:lnTo>
                <a:lnTo>
                  <a:pt x="1222133" y="1518742"/>
                </a:lnTo>
                <a:lnTo>
                  <a:pt x="1187945" y="1556105"/>
                </a:lnTo>
                <a:lnTo>
                  <a:pt x="1153210" y="1593380"/>
                </a:lnTo>
                <a:lnTo>
                  <a:pt x="1117981" y="1630578"/>
                </a:lnTo>
                <a:lnTo>
                  <a:pt x="1082281" y="1667675"/>
                </a:lnTo>
                <a:lnTo>
                  <a:pt x="1046162" y="1704657"/>
                </a:lnTo>
                <a:lnTo>
                  <a:pt x="1009662" y="1741538"/>
                </a:lnTo>
                <a:lnTo>
                  <a:pt x="972807" y="1778304"/>
                </a:lnTo>
                <a:lnTo>
                  <a:pt x="935659" y="1814957"/>
                </a:lnTo>
                <a:lnTo>
                  <a:pt x="898245" y="1851469"/>
                </a:lnTo>
                <a:lnTo>
                  <a:pt x="822794" y="1924113"/>
                </a:lnTo>
                <a:lnTo>
                  <a:pt x="708621" y="2031961"/>
                </a:lnTo>
                <a:lnTo>
                  <a:pt x="351548" y="2362314"/>
                </a:lnTo>
                <a:lnTo>
                  <a:pt x="183464" y="2519527"/>
                </a:lnTo>
                <a:lnTo>
                  <a:pt x="101993" y="2597442"/>
                </a:lnTo>
                <a:lnTo>
                  <a:pt x="62052" y="2636240"/>
                </a:lnTo>
                <a:lnTo>
                  <a:pt x="22707" y="2674924"/>
                </a:lnTo>
                <a:lnTo>
                  <a:pt x="0" y="2697581"/>
                </a:lnTo>
                <a:lnTo>
                  <a:pt x="0" y="3450831"/>
                </a:lnTo>
                <a:lnTo>
                  <a:pt x="701814" y="3450831"/>
                </a:lnTo>
                <a:lnTo>
                  <a:pt x="751128" y="3440874"/>
                </a:lnTo>
                <a:lnTo>
                  <a:pt x="791387" y="3413722"/>
                </a:lnTo>
                <a:lnTo>
                  <a:pt x="818527" y="3373450"/>
                </a:lnTo>
                <a:lnTo>
                  <a:pt x="828471" y="3324148"/>
                </a:lnTo>
                <a:lnTo>
                  <a:pt x="818527" y="3274834"/>
                </a:lnTo>
                <a:lnTo>
                  <a:pt x="791387" y="3234563"/>
                </a:lnTo>
                <a:lnTo>
                  <a:pt x="751128" y="3207423"/>
                </a:lnTo>
                <a:lnTo>
                  <a:pt x="701814" y="3197466"/>
                </a:lnTo>
                <a:lnTo>
                  <a:pt x="32537" y="3197466"/>
                </a:lnTo>
                <a:lnTo>
                  <a:pt x="62763" y="3163379"/>
                </a:lnTo>
                <a:lnTo>
                  <a:pt x="93967" y="3129026"/>
                </a:lnTo>
                <a:lnTo>
                  <a:pt x="126098" y="3094444"/>
                </a:lnTo>
                <a:lnTo>
                  <a:pt x="159143" y="3059607"/>
                </a:lnTo>
                <a:lnTo>
                  <a:pt x="193014" y="3024543"/>
                </a:lnTo>
                <a:lnTo>
                  <a:pt x="227698" y="2989262"/>
                </a:lnTo>
                <a:lnTo>
                  <a:pt x="263118" y="2953753"/>
                </a:lnTo>
                <a:lnTo>
                  <a:pt x="299250" y="2918041"/>
                </a:lnTo>
                <a:lnTo>
                  <a:pt x="336042" y="2882125"/>
                </a:lnTo>
                <a:lnTo>
                  <a:pt x="411391" y="2809697"/>
                </a:lnTo>
                <a:lnTo>
                  <a:pt x="528180" y="2699715"/>
                </a:lnTo>
                <a:lnTo>
                  <a:pt x="967320" y="2293175"/>
                </a:lnTo>
                <a:lnTo>
                  <a:pt x="1084859" y="2182253"/>
                </a:lnTo>
                <a:lnTo>
                  <a:pt x="1162202" y="2107908"/>
                </a:lnTo>
                <a:lnTo>
                  <a:pt x="1200480" y="2070620"/>
                </a:lnTo>
                <a:lnTo>
                  <a:pt x="1238440" y="2033244"/>
                </a:lnTo>
                <a:lnTo>
                  <a:pt x="1276083" y="1995766"/>
                </a:lnTo>
                <a:lnTo>
                  <a:pt x="1313357" y="1958213"/>
                </a:lnTo>
                <a:lnTo>
                  <a:pt x="1350238" y="1920544"/>
                </a:lnTo>
                <a:lnTo>
                  <a:pt x="1386687" y="1882787"/>
                </a:lnTo>
                <a:lnTo>
                  <a:pt x="1422692" y="1844929"/>
                </a:lnTo>
                <a:lnTo>
                  <a:pt x="1458214" y="1806968"/>
                </a:lnTo>
                <a:lnTo>
                  <a:pt x="1493227" y="1768894"/>
                </a:lnTo>
                <a:lnTo>
                  <a:pt x="1527695" y="1730705"/>
                </a:lnTo>
                <a:lnTo>
                  <a:pt x="1561579" y="1692402"/>
                </a:lnTo>
                <a:lnTo>
                  <a:pt x="1594878" y="1653984"/>
                </a:lnTo>
                <a:lnTo>
                  <a:pt x="1627530" y="1615440"/>
                </a:lnTo>
                <a:lnTo>
                  <a:pt x="1659534" y="1576781"/>
                </a:lnTo>
                <a:lnTo>
                  <a:pt x="1690839" y="1537982"/>
                </a:lnTo>
                <a:lnTo>
                  <a:pt x="1721421" y="1499057"/>
                </a:lnTo>
                <a:lnTo>
                  <a:pt x="1751253" y="1460004"/>
                </a:lnTo>
                <a:lnTo>
                  <a:pt x="1780311" y="1420812"/>
                </a:lnTo>
                <a:lnTo>
                  <a:pt x="1808543" y="1381480"/>
                </a:lnTo>
                <a:lnTo>
                  <a:pt x="1835950" y="1342009"/>
                </a:lnTo>
                <a:lnTo>
                  <a:pt x="1862480" y="1302385"/>
                </a:lnTo>
                <a:lnTo>
                  <a:pt x="1888109" y="1262621"/>
                </a:lnTo>
                <a:lnTo>
                  <a:pt x="1912810" y="1222692"/>
                </a:lnTo>
                <a:lnTo>
                  <a:pt x="1936546" y="1182624"/>
                </a:lnTo>
                <a:lnTo>
                  <a:pt x="1959292" y="1142390"/>
                </a:lnTo>
                <a:lnTo>
                  <a:pt x="1981022" y="1101991"/>
                </a:lnTo>
                <a:lnTo>
                  <a:pt x="2001710" y="1061427"/>
                </a:lnTo>
                <a:lnTo>
                  <a:pt x="2021306" y="1020699"/>
                </a:lnTo>
                <a:lnTo>
                  <a:pt x="2039797" y="979805"/>
                </a:lnTo>
                <a:lnTo>
                  <a:pt x="2057158" y="938733"/>
                </a:lnTo>
                <a:lnTo>
                  <a:pt x="2073338" y="897483"/>
                </a:lnTo>
                <a:lnTo>
                  <a:pt x="2088324" y="856056"/>
                </a:lnTo>
                <a:lnTo>
                  <a:pt x="2102078" y="814438"/>
                </a:lnTo>
                <a:lnTo>
                  <a:pt x="2114588" y="772642"/>
                </a:lnTo>
                <a:lnTo>
                  <a:pt x="2125789" y="730656"/>
                </a:lnTo>
                <a:lnTo>
                  <a:pt x="2135682" y="688479"/>
                </a:lnTo>
                <a:lnTo>
                  <a:pt x="2144230" y="646099"/>
                </a:lnTo>
                <a:lnTo>
                  <a:pt x="2151405" y="603529"/>
                </a:lnTo>
                <a:lnTo>
                  <a:pt x="2157158" y="560755"/>
                </a:lnTo>
                <a:lnTo>
                  <a:pt x="2162302" y="505142"/>
                </a:lnTo>
                <a:lnTo>
                  <a:pt x="2164308" y="483412"/>
                </a:lnTo>
                <a:lnTo>
                  <a:pt x="2167483" y="408241"/>
                </a:lnTo>
                <a:close/>
              </a:path>
              <a:path w="3973829" h="5307330">
                <a:moveTo>
                  <a:pt x="2815323" y="1929345"/>
                </a:moveTo>
                <a:lnTo>
                  <a:pt x="2811945" y="1882635"/>
                </a:lnTo>
                <a:lnTo>
                  <a:pt x="2802153" y="1838058"/>
                </a:lnTo>
                <a:lnTo>
                  <a:pt x="2786405" y="1796097"/>
                </a:lnTo>
                <a:lnTo>
                  <a:pt x="2765209" y="1757235"/>
                </a:lnTo>
                <a:lnTo>
                  <a:pt x="2739021" y="1721967"/>
                </a:lnTo>
                <a:lnTo>
                  <a:pt x="2708338" y="1690789"/>
                </a:lnTo>
                <a:lnTo>
                  <a:pt x="2673642" y="1664182"/>
                </a:lnTo>
                <a:lnTo>
                  <a:pt x="2635402" y="1642643"/>
                </a:lnTo>
                <a:lnTo>
                  <a:pt x="2594114" y="1626641"/>
                </a:lnTo>
                <a:lnTo>
                  <a:pt x="2550249" y="1616684"/>
                </a:lnTo>
                <a:lnTo>
                  <a:pt x="2504287" y="1613255"/>
                </a:lnTo>
                <a:lnTo>
                  <a:pt x="2458326" y="1616684"/>
                </a:lnTo>
                <a:lnTo>
                  <a:pt x="2414447" y="1626641"/>
                </a:lnTo>
                <a:lnTo>
                  <a:pt x="2373160" y="1642643"/>
                </a:lnTo>
                <a:lnTo>
                  <a:pt x="2334920" y="1664182"/>
                </a:lnTo>
                <a:lnTo>
                  <a:pt x="2300224" y="1690789"/>
                </a:lnTo>
                <a:lnTo>
                  <a:pt x="2269540" y="1721967"/>
                </a:lnTo>
                <a:lnTo>
                  <a:pt x="2243353" y="1757235"/>
                </a:lnTo>
                <a:lnTo>
                  <a:pt x="2222157" y="1796097"/>
                </a:lnTo>
                <a:lnTo>
                  <a:pt x="2206421" y="1838058"/>
                </a:lnTo>
                <a:lnTo>
                  <a:pt x="2196617" y="1882635"/>
                </a:lnTo>
                <a:lnTo>
                  <a:pt x="2193252" y="1929345"/>
                </a:lnTo>
                <a:lnTo>
                  <a:pt x="2196617" y="1976056"/>
                </a:lnTo>
                <a:lnTo>
                  <a:pt x="2206421" y="2020646"/>
                </a:lnTo>
                <a:lnTo>
                  <a:pt x="2222157" y="2062607"/>
                </a:lnTo>
                <a:lnTo>
                  <a:pt x="2243353" y="2101469"/>
                </a:lnTo>
                <a:lnTo>
                  <a:pt x="2269540" y="2136724"/>
                </a:lnTo>
                <a:lnTo>
                  <a:pt x="2300224" y="2167915"/>
                </a:lnTo>
                <a:lnTo>
                  <a:pt x="2334920" y="2194522"/>
                </a:lnTo>
                <a:lnTo>
                  <a:pt x="2373160" y="2216061"/>
                </a:lnTo>
                <a:lnTo>
                  <a:pt x="2414447" y="2232063"/>
                </a:lnTo>
                <a:lnTo>
                  <a:pt x="2458326" y="2242020"/>
                </a:lnTo>
                <a:lnTo>
                  <a:pt x="2504287" y="2245436"/>
                </a:lnTo>
                <a:lnTo>
                  <a:pt x="2550249" y="2242020"/>
                </a:lnTo>
                <a:lnTo>
                  <a:pt x="2594114" y="2232063"/>
                </a:lnTo>
                <a:lnTo>
                  <a:pt x="2635402" y="2216061"/>
                </a:lnTo>
                <a:lnTo>
                  <a:pt x="2673642" y="2194522"/>
                </a:lnTo>
                <a:lnTo>
                  <a:pt x="2708338" y="2167915"/>
                </a:lnTo>
                <a:lnTo>
                  <a:pt x="2739021" y="2136724"/>
                </a:lnTo>
                <a:lnTo>
                  <a:pt x="2765209" y="2101469"/>
                </a:lnTo>
                <a:lnTo>
                  <a:pt x="2786405" y="2062607"/>
                </a:lnTo>
                <a:lnTo>
                  <a:pt x="2802153" y="2020646"/>
                </a:lnTo>
                <a:lnTo>
                  <a:pt x="2811945" y="1976056"/>
                </a:lnTo>
                <a:lnTo>
                  <a:pt x="2815323" y="1929345"/>
                </a:lnTo>
                <a:close/>
              </a:path>
              <a:path w="3973829" h="5307330">
                <a:moveTo>
                  <a:pt x="2817076" y="3135579"/>
                </a:moveTo>
                <a:lnTo>
                  <a:pt x="2814421" y="3088868"/>
                </a:lnTo>
                <a:lnTo>
                  <a:pt x="2806662" y="3043745"/>
                </a:lnTo>
                <a:lnTo>
                  <a:pt x="2794089" y="3000489"/>
                </a:lnTo>
                <a:lnTo>
                  <a:pt x="2777007" y="2959430"/>
                </a:lnTo>
                <a:lnTo>
                  <a:pt x="2755709" y="2920847"/>
                </a:lnTo>
                <a:lnTo>
                  <a:pt x="2730487" y="2885059"/>
                </a:lnTo>
                <a:lnTo>
                  <a:pt x="2701633" y="2852343"/>
                </a:lnTo>
                <a:lnTo>
                  <a:pt x="2669438" y="2823019"/>
                </a:lnTo>
                <a:lnTo>
                  <a:pt x="2634221" y="2797391"/>
                </a:lnTo>
                <a:lnTo>
                  <a:pt x="2596261" y="2775737"/>
                </a:lnTo>
                <a:lnTo>
                  <a:pt x="2555849" y="2758376"/>
                </a:lnTo>
                <a:lnTo>
                  <a:pt x="2513304" y="2745600"/>
                </a:lnTo>
                <a:lnTo>
                  <a:pt x="2468892" y="2737726"/>
                </a:lnTo>
                <a:lnTo>
                  <a:pt x="2422931" y="2735021"/>
                </a:lnTo>
                <a:lnTo>
                  <a:pt x="2376957" y="2737726"/>
                </a:lnTo>
                <a:lnTo>
                  <a:pt x="2332558" y="2745600"/>
                </a:lnTo>
                <a:lnTo>
                  <a:pt x="2290000" y="2758376"/>
                </a:lnTo>
                <a:lnTo>
                  <a:pt x="2249589" y="2775737"/>
                </a:lnTo>
                <a:lnTo>
                  <a:pt x="2211628" y="2797391"/>
                </a:lnTo>
                <a:lnTo>
                  <a:pt x="2176411" y="2823019"/>
                </a:lnTo>
                <a:lnTo>
                  <a:pt x="2144230" y="2852343"/>
                </a:lnTo>
                <a:lnTo>
                  <a:pt x="2115375" y="2885059"/>
                </a:lnTo>
                <a:lnTo>
                  <a:pt x="2090153" y="2920847"/>
                </a:lnTo>
                <a:lnTo>
                  <a:pt x="2068842" y="2959430"/>
                </a:lnTo>
                <a:lnTo>
                  <a:pt x="2051761" y="3000489"/>
                </a:lnTo>
                <a:lnTo>
                  <a:pt x="2039188" y="3043745"/>
                </a:lnTo>
                <a:lnTo>
                  <a:pt x="2031428" y="3088868"/>
                </a:lnTo>
                <a:lnTo>
                  <a:pt x="2028786" y="3135579"/>
                </a:lnTo>
                <a:lnTo>
                  <a:pt x="2031428" y="3182302"/>
                </a:lnTo>
                <a:lnTo>
                  <a:pt x="2039188" y="3227425"/>
                </a:lnTo>
                <a:lnTo>
                  <a:pt x="2051761" y="3270681"/>
                </a:lnTo>
                <a:lnTo>
                  <a:pt x="2068842" y="3311741"/>
                </a:lnTo>
                <a:lnTo>
                  <a:pt x="2090153" y="3350323"/>
                </a:lnTo>
                <a:lnTo>
                  <a:pt x="2115375" y="3386112"/>
                </a:lnTo>
                <a:lnTo>
                  <a:pt x="2144230" y="3418827"/>
                </a:lnTo>
                <a:lnTo>
                  <a:pt x="2176411" y="3448139"/>
                </a:lnTo>
                <a:lnTo>
                  <a:pt x="2211628" y="3473780"/>
                </a:lnTo>
                <a:lnTo>
                  <a:pt x="2249589" y="3495433"/>
                </a:lnTo>
                <a:lnTo>
                  <a:pt x="2290000" y="3512794"/>
                </a:lnTo>
                <a:lnTo>
                  <a:pt x="2332558" y="3525558"/>
                </a:lnTo>
                <a:lnTo>
                  <a:pt x="2376957" y="3533444"/>
                </a:lnTo>
                <a:lnTo>
                  <a:pt x="2422931" y="3536137"/>
                </a:lnTo>
                <a:lnTo>
                  <a:pt x="2468892" y="3533444"/>
                </a:lnTo>
                <a:lnTo>
                  <a:pt x="2513304" y="3525558"/>
                </a:lnTo>
                <a:lnTo>
                  <a:pt x="2555849" y="3512794"/>
                </a:lnTo>
                <a:lnTo>
                  <a:pt x="2596261" y="3495433"/>
                </a:lnTo>
                <a:lnTo>
                  <a:pt x="2634221" y="3473780"/>
                </a:lnTo>
                <a:lnTo>
                  <a:pt x="2669438" y="3448139"/>
                </a:lnTo>
                <a:lnTo>
                  <a:pt x="2701633" y="3418827"/>
                </a:lnTo>
                <a:lnTo>
                  <a:pt x="2730487" y="3386112"/>
                </a:lnTo>
                <a:lnTo>
                  <a:pt x="2755709" y="3350323"/>
                </a:lnTo>
                <a:lnTo>
                  <a:pt x="2777007" y="3311741"/>
                </a:lnTo>
                <a:lnTo>
                  <a:pt x="2794089" y="3270681"/>
                </a:lnTo>
                <a:lnTo>
                  <a:pt x="2806662" y="3227425"/>
                </a:lnTo>
                <a:lnTo>
                  <a:pt x="2814421" y="3182302"/>
                </a:lnTo>
                <a:lnTo>
                  <a:pt x="2817076" y="3135579"/>
                </a:lnTo>
                <a:close/>
              </a:path>
              <a:path w="3973829" h="5307330">
                <a:moveTo>
                  <a:pt x="3001899" y="902957"/>
                </a:moveTo>
                <a:lnTo>
                  <a:pt x="2997568" y="853782"/>
                </a:lnTo>
                <a:lnTo>
                  <a:pt x="2985058" y="807504"/>
                </a:lnTo>
                <a:lnTo>
                  <a:pt x="2965145" y="764882"/>
                </a:lnTo>
                <a:lnTo>
                  <a:pt x="2938589" y="726706"/>
                </a:lnTo>
                <a:lnTo>
                  <a:pt x="2906141" y="693737"/>
                </a:lnTo>
                <a:lnTo>
                  <a:pt x="2868574" y="666750"/>
                </a:lnTo>
                <a:lnTo>
                  <a:pt x="2826639" y="646518"/>
                </a:lnTo>
                <a:lnTo>
                  <a:pt x="2781096" y="633806"/>
                </a:lnTo>
                <a:lnTo>
                  <a:pt x="2732709" y="629399"/>
                </a:lnTo>
                <a:lnTo>
                  <a:pt x="2684322" y="633806"/>
                </a:lnTo>
                <a:lnTo>
                  <a:pt x="2638780" y="646518"/>
                </a:lnTo>
                <a:lnTo>
                  <a:pt x="2596845" y="666750"/>
                </a:lnTo>
                <a:lnTo>
                  <a:pt x="2559278" y="693737"/>
                </a:lnTo>
                <a:lnTo>
                  <a:pt x="2526830" y="726706"/>
                </a:lnTo>
                <a:lnTo>
                  <a:pt x="2500274" y="764882"/>
                </a:lnTo>
                <a:lnTo>
                  <a:pt x="2480360" y="807504"/>
                </a:lnTo>
                <a:lnTo>
                  <a:pt x="2467864" y="853782"/>
                </a:lnTo>
                <a:lnTo>
                  <a:pt x="2463520" y="902957"/>
                </a:lnTo>
                <a:lnTo>
                  <a:pt x="2467864" y="952131"/>
                </a:lnTo>
                <a:lnTo>
                  <a:pt x="2480360" y="998410"/>
                </a:lnTo>
                <a:lnTo>
                  <a:pt x="2500274" y="1041031"/>
                </a:lnTo>
                <a:lnTo>
                  <a:pt x="2526830" y="1079220"/>
                </a:lnTo>
                <a:lnTo>
                  <a:pt x="2559278" y="1112189"/>
                </a:lnTo>
                <a:lnTo>
                  <a:pt x="2596845" y="1139177"/>
                </a:lnTo>
                <a:lnTo>
                  <a:pt x="2638780" y="1159408"/>
                </a:lnTo>
                <a:lnTo>
                  <a:pt x="2684322" y="1172121"/>
                </a:lnTo>
                <a:lnTo>
                  <a:pt x="2732709" y="1176528"/>
                </a:lnTo>
                <a:lnTo>
                  <a:pt x="2781096" y="1172121"/>
                </a:lnTo>
                <a:lnTo>
                  <a:pt x="2826639" y="1159408"/>
                </a:lnTo>
                <a:lnTo>
                  <a:pt x="2868574" y="1139177"/>
                </a:lnTo>
                <a:lnTo>
                  <a:pt x="2906141" y="1112189"/>
                </a:lnTo>
                <a:lnTo>
                  <a:pt x="2938589" y="1079220"/>
                </a:lnTo>
                <a:lnTo>
                  <a:pt x="2965145" y="1041031"/>
                </a:lnTo>
                <a:lnTo>
                  <a:pt x="2985058" y="998410"/>
                </a:lnTo>
                <a:lnTo>
                  <a:pt x="2997568" y="952131"/>
                </a:lnTo>
                <a:lnTo>
                  <a:pt x="3001899" y="902957"/>
                </a:lnTo>
                <a:close/>
              </a:path>
              <a:path w="3973829" h="5307330">
                <a:moveTo>
                  <a:pt x="3293262" y="0"/>
                </a:moveTo>
                <a:lnTo>
                  <a:pt x="2712770" y="0"/>
                </a:lnTo>
                <a:lnTo>
                  <a:pt x="2722854" y="15176"/>
                </a:lnTo>
                <a:lnTo>
                  <a:pt x="2752775" y="49720"/>
                </a:lnTo>
                <a:lnTo>
                  <a:pt x="2786761" y="80124"/>
                </a:lnTo>
                <a:lnTo>
                  <a:pt x="2824403" y="105956"/>
                </a:lnTo>
                <a:lnTo>
                  <a:pt x="2865259" y="126796"/>
                </a:lnTo>
                <a:lnTo>
                  <a:pt x="2908935" y="142214"/>
                </a:lnTo>
                <a:lnTo>
                  <a:pt x="2954998" y="151777"/>
                </a:lnTo>
                <a:lnTo>
                  <a:pt x="3003016" y="155054"/>
                </a:lnTo>
                <a:lnTo>
                  <a:pt x="3051035" y="151777"/>
                </a:lnTo>
                <a:lnTo>
                  <a:pt x="3097098" y="142214"/>
                </a:lnTo>
                <a:lnTo>
                  <a:pt x="3140773" y="126796"/>
                </a:lnTo>
                <a:lnTo>
                  <a:pt x="3181642" y="105956"/>
                </a:lnTo>
                <a:lnTo>
                  <a:pt x="3219272" y="80124"/>
                </a:lnTo>
                <a:lnTo>
                  <a:pt x="3253257" y="49720"/>
                </a:lnTo>
                <a:lnTo>
                  <a:pt x="3283178" y="15176"/>
                </a:lnTo>
                <a:lnTo>
                  <a:pt x="3293262" y="0"/>
                </a:lnTo>
                <a:close/>
              </a:path>
              <a:path w="3973829" h="5307330">
                <a:moveTo>
                  <a:pt x="3973512" y="1706270"/>
                </a:moveTo>
                <a:lnTo>
                  <a:pt x="3970858" y="1659585"/>
                </a:lnTo>
                <a:lnTo>
                  <a:pt x="3963111" y="1614474"/>
                </a:lnTo>
                <a:lnTo>
                  <a:pt x="3950551" y="1571244"/>
                </a:lnTo>
                <a:lnTo>
                  <a:pt x="3933469" y="1530210"/>
                </a:lnTo>
                <a:lnTo>
                  <a:pt x="3912184" y="1491640"/>
                </a:lnTo>
                <a:lnTo>
                  <a:pt x="3886962" y="1455864"/>
                </a:lnTo>
                <a:lnTo>
                  <a:pt x="3858133" y="1423174"/>
                </a:lnTo>
                <a:lnTo>
                  <a:pt x="3825964" y="1393863"/>
                </a:lnTo>
                <a:lnTo>
                  <a:pt x="3790759" y="1368247"/>
                </a:lnTo>
                <a:lnTo>
                  <a:pt x="3752812" y="1346606"/>
                </a:lnTo>
                <a:lnTo>
                  <a:pt x="3712426" y="1329245"/>
                </a:lnTo>
                <a:lnTo>
                  <a:pt x="3669893" y="1316482"/>
                </a:lnTo>
                <a:lnTo>
                  <a:pt x="3625507" y="1308608"/>
                </a:lnTo>
                <a:lnTo>
                  <a:pt x="3579558" y="1305902"/>
                </a:lnTo>
                <a:lnTo>
                  <a:pt x="3533610" y="1308608"/>
                </a:lnTo>
                <a:lnTo>
                  <a:pt x="3489223" y="1316482"/>
                </a:lnTo>
                <a:lnTo>
                  <a:pt x="3446691" y="1329245"/>
                </a:lnTo>
                <a:lnTo>
                  <a:pt x="3406305" y="1346606"/>
                </a:lnTo>
                <a:lnTo>
                  <a:pt x="3368370" y="1368247"/>
                </a:lnTo>
                <a:lnTo>
                  <a:pt x="3333165" y="1393863"/>
                </a:lnTo>
                <a:lnTo>
                  <a:pt x="3300996" y="1423174"/>
                </a:lnTo>
                <a:lnTo>
                  <a:pt x="3272155" y="1455864"/>
                </a:lnTo>
                <a:lnTo>
                  <a:pt x="3246945" y="1491640"/>
                </a:lnTo>
                <a:lnTo>
                  <a:pt x="3225647" y="1530210"/>
                </a:lnTo>
                <a:lnTo>
                  <a:pt x="3208578" y="1571244"/>
                </a:lnTo>
                <a:lnTo>
                  <a:pt x="3196005" y="1614474"/>
                </a:lnTo>
                <a:lnTo>
                  <a:pt x="3188258" y="1659585"/>
                </a:lnTo>
                <a:lnTo>
                  <a:pt x="3185604" y="1706270"/>
                </a:lnTo>
                <a:lnTo>
                  <a:pt x="3188258" y="1752968"/>
                </a:lnTo>
                <a:lnTo>
                  <a:pt x="3196005" y="1798078"/>
                </a:lnTo>
                <a:lnTo>
                  <a:pt x="3208578" y="1841296"/>
                </a:lnTo>
                <a:lnTo>
                  <a:pt x="3225647" y="1882343"/>
                </a:lnTo>
                <a:lnTo>
                  <a:pt x="3246945" y="1920900"/>
                </a:lnTo>
                <a:lnTo>
                  <a:pt x="3272155" y="1956676"/>
                </a:lnTo>
                <a:lnTo>
                  <a:pt x="3300996" y="1989366"/>
                </a:lnTo>
                <a:lnTo>
                  <a:pt x="3333165" y="2018677"/>
                </a:lnTo>
                <a:lnTo>
                  <a:pt x="3368370" y="2044306"/>
                </a:lnTo>
                <a:lnTo>
                  <a:pt x="3406305" y="2065934"/>
                </a:lnTo>
                <a:lnTo>
                  <a:pt x="3446691" y="2083295"/>
                </a:lnTo>
                <a:lnTo>
                  <a:pt x="3489223" y="2096058"/>
                </a:lnTo>
                <a:lnTo>
                  <a:pt x="3533610" y="2103932"/>
                </a:lnTo>
                <a:lnTo>
                  <a:pt x="3579558" y="2106625"/>
                </a:lnTo>
                <a:lnTo>
                  <a:pt x="3625507" y="2103932"/>
                </a:lnTo>
                <a:lnTo>
                  <a:pt x="3669893" y="2096058"/>
                </a:lnTo>
                <a:lnTo>
                  <a:pt x="3712426" y="2083295"/>
                </a:lnTo>
                <a:lnTo>
                  <a:pt x="3752812" y="2065934"/>
                </a:lnTo>
                <a:lnTo>
                  <a:pt x="3790759" y="2044306"/>
                </a:lnTo>
                <a:lnTo>
                  <a:pt x="3825964" y="2018677"/>
                </a:lnTo>
                <a:lnTo>
                  <a:pt x="3858133" y="1989366"/>
                </a:lnTo>
                <a:lnTo>
                  <a:pt x="3886962" y="1956676"/>
                </a:lnTo>
                <a:lnTo>
                  <a:pt x="3912184" y="1920900"/>
                </a:lnTo>
                <a:lnTo>
                  <a:pt x="3933469" y="1882343"/>
                </a:lnTo>
                <a:lnTo>
                  <a:pt x="3950551" y="1841296"/>
                </a:lnTo>
                <a:lnTo>
                  <a:pt x="3963111" y="1798078"/>
                </a:lnTo>
                <a:lnTo>
                  <a:pt x="3970858" y="1752968"/>
                </a:lnTo>
                <a:lnTo>
                  <a:pt x="3973512" y="1706270"/>
                </a:lnTo>
                <a:close/>
              </a:path>
            </a:pathLst>
          </a:custGeom>
          <a:solidFill>
            <a:srgbClr val="0E5C77">
              <a:alpha val="19999"/>
            </a:srgbClr>
          </a:solidFill>
        </p:spPr>
        <p:txBody>
          <a:bodyPr wrap="square" lIns="0" tIns="0" rIns="0" bIns="0" rtlCol="0"/>
          <a:lstStyle/>
          <a:p>
            <a:endParaRPr/>
          </a:p>
        </p:txBody>
      </p:sp>
      <p:sp>
        <p:nvSpPr>
          <p:cNvPr id="3" name="Text Placeholder 2">
            <a:extLst>
              <a:ext uri="{FF2B5EF4-FFF2-40B4-BE49-F238E27FC236}">
                <a16:creationId xmlns:a16="http://schemas.microsoft.com/office/drawing/2014/main" id="{5ADC4885-E653-9F9B-1C72-2AA34FCB44D8}"/>
              </a:ext>
            </a:extLst>
          </p:cNvPr>
          <p:cNvSpPr>
            <a:spLocks noGrp="1"/>
          </p:cNvSpPr>
          <p:nvPr userDrawn="1">
            <p:ph type="body" idx="1"/>
          </p:nvPr>
        </p:nvSpPr>
        <p:spPr>
          <a:xfrm>
            <a:off x="2042757" y="1766139"/>
            <a:ext cx="9282430" cy="3337640"/>
          </a:xfrm>
          <a:prstGeom prst="rect">
            <a:avLst/>
          </a:prstGeom>
        </p:spPr>
        <p:txBody>
          <a:bodyPr>
            <a:normAutofit/>
          </a:bodyPr>
          <a:lstStyle>
            <a:lvl1pPr marL="0" indent="0" algn="r">
              <a:buNone/>
              <a:defRPr sz="2800">
                <a:solidFill>
                  <a:schemeClr val="bg1"/>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2" name="Title 1">
            <a:extLst>
              <a:ext uri="{FF2B5EF4-FFF2-40B4-BE49-F238E27FC236}">
                <a16:creationId xmlns:a16="http://schemas.microsoft.com/office/drawing/2014/main" id="{E70AF5EC-C3A2-AE47-AC58-C795316B7127}"/>
              </a:ext>
            </a:extLst>
          </p:cNvPr>
          <p:cNvSpPr>
            <a:spLocks noGrp="1"/>
          </p:cNvSpPr>
          <p:nvPr userDrawn="1">
            <p:ph type="title"/>
          </p:nvPr>
        </p:nvSpPr>
        <p:spPr>
          <a:xfrm>
            <a:off x="2049107" y="476581"/>
            <a:ext cx="9282430" cy="752109"/>
          </a:xfrm>
        </p:spPr>
        <p:txBody>
          <a:bodyPr anchor="b">
            <a:normAutofit/>
          </a:bodyPr>
          <a:lstStyle>
            <a:lvl1pPr algn="r">
              <a:defRPr sz="4400">
                <a:solidFill>
                  <a:schemeClr val="tx2"/>
                </a:solidFill>
                <a:latin typeface="Quicksand" pitchFamily="2" charset="0"/>
              </a:defRPr>
            </a:lvl1pPr>
          </a:lstStyle>
          <a:p>
            <a:r>
              <a:rPr lang="en-GB"/>
              <a:t>Click to edit Master title style</a:t>
            </a:r>
            <a:endParaRPr lang="en-GB" dirty="0"/>
          </a:p>
        </p:txBody>
      </p:sp>
      <p:grpSp>
        <p:nvGrpSpPr>
          <p:cNvPr id="5" name="Group 4">
            <a:extLst>
              <a:ext uri="{FF2B5EF4-FFF2-40B4-BE49-F238E27FC236}">
                <a16:creationId xmlns:a16="http://schemas.microsoft.com/office/drawing/2014/main" id="{33C1C7D2-8ED7-565E-4663-883D463CCEC2}"/>
              </a:ext>
            </a:extLst>
          </p:cNvPr>
          <p:cNvGrpSpPr/>
          <p:nvPr userDrawn="1"/>
        </p:nvGrpSpPr>
        <p:grpSpPr>
          <a:xfrm>
            <a:off x="9738785" y="5200448"/>
            <a:ext cx="2447458" cy="1655479"/>
            <a:chOff x="9738785" y="5200448"/>
            <a:chExt cx="2447458" cy="1655479"/>
          </a:xfrm>
        </p:grpSpPr>
        <p:sp>
          <p:nvSpPr>
            <p:cNvPr id="6" name="object 4">
              <a:extLst>
                <a:ext uri="{FF2B5EF4-FFF2-40B4-BE49-F238E27FC236}">
                  <a16:creationId xmlns:a16="http://schemas.microsoft.com/office/drawing/2014/main" id="{98C71A34-944C-2B51-8D33-55FE94CDC0ED}"/>
                </a:ext>
              </a:extLst>
            </p:cNvPr>
            <p:cNvSpPr/>
            <p:nvPr/>
          </p:nvSpPr>
          <p:spPr>
            <a:xfrm>
              <a:off x="11776260" y="5200448"/>
              <a:ext cx="409983" cy="1655479"/>
            </a:xfrm>
            <a:custGeom>
              <a:avLst/>
              <a:gdLst/>
              <a:ahLst/>
              <a:cxnLst/>
              <a:rect l="l" t="t" r="r" b="b"/>
              <a:pathLst>
                <a:path w="452119" h="1825625">
                  <a:moveTo>
                    <a:pt x="451948" y="0"/>
                  </a:moveTo>
                  <a:lnTo>
                    <a:pt x="423684" y="19055"/>
                  </a:lnTo>
                  <a:lnTo>
                    <a:pt x="396532" y="59323"/>
                  </a:lnTo>
                  <a:lnTo>
                    <a:pt x="386575" y="108633"/>
                  </a:lnTo>
                  <a:lnTo>
                    <a:pt x="396532" y="157938"/>
                  </a:lnTo>
                  <a:lnTo>
                    <a:pt x="423684" y="198206"/>
                  </a:lnTo>
                  <a:lnTo>
                    <a:pt x="451948" y="217264"/>
                  </a:lnTo>
                  <a:lnTo>
                    <a:pt x="451948" y="0"/>
                  </a:lnTo>
                  <a:close/>
                </a:path>
                <a:path w="452119" h="1825625">
                  <a:moveTo>
                    <a:pt x="451948" y="537956"/>
                  </a:moveTo>
                  <a:lnTo>
                    <a:pt x="126682" y="537956"/>
                  </a:lnTo>
                  <a:lnTo>
                    <a:pt x="77372" y="547914"/>
                  </a:lnTo>
                  <a:lnTo>
                    <a:pt x="37104" y="575066"/>
                  </a:lnTo>
                  <a:lnTo>
                    <a:pt x="9955" y="615334"/>
                  </a:lnTo>
                  <a:lnTo>
                    <a:pt x="0" y="664639"/>
                  </a:lnTo>
                  <a:lnTo>
                    <a:pt x="9955" y="713951"/>
                  </a:lnTo>
                  <a:lnTo>
                    <a:pt x="37104" y="754223"/>
                  </a:lnTo>
                  <a:lnTo>
                    <a:pt x="77372" y="781377"/>
                  </a:lnTo>
                  <a:lnTo>
                    <a:pt x="126682" y="791334"/>
                  </a:lnTo>
                  <a:lnTo>
                    <a:pt x="451948" y="791334"/>
                  </a:lnTo>
                  <a:lnTo>
                    <a:pt x="451948" y="537956"/>
                  </a:lnTo>
                  <a:close/>
                </a:path>
                <a:path w="452119" h="1825625">
                  <a:moveTo>
                    <a:pt x="451948" y="1112479"/>
                  </a:moveTo>
                  <a:lnTo>
                    <a:pt x="182283" y="1112479"/>
                  </a:lnTo>
                  <a:lnTo>
                    <a:pt x="132972" y="1122436"/>
                  </a:lnTo>
                  <a:lnTo>
                    <a:pt x="92705" y="1149588"/>
                  </a:lnTo>
                  <a:lnTo>
                    <a:pt x="65556" y="1189857"/>
                  </a:lnTo>
                  <a:lnTo>
                    <a:pt x="55600" y="1239162"/>
                  </a:lnTo>
                  <a:lnTo>
                    <a:pt x="65556" y="1288472"/>
                  </a:lnTo>
                  <a:lnTo>
                    <a:pt x="92705" y="1328739"/>
                  </a:lnTo>
                  <a:lnTo>
                    <a:pt x="132972" y="1355889"/>
                  </a:lnTo>
                  <a:lnTo>
                    <a:pt x="182283" y="1365844"/>
                  </a:lnTo>
                  <a:lnTo>
                    <a:pt x="451948" y="1365844"/>
                  </a:lnTo>
                  <a:lnTo>
                    <a:pt x="451948" y="1112479"/>
                  </a:lnTo>
                  <a:close/>
                </a:path>
                <a:path w="452119" h="1825625">
                  <a:moveTo>
                    <a:pt x="451948" y="1710089"/>
                  </a:moveTo>
                  <a:lnTo>
                    <a:pt x="423079" y="1739653"/>
                  </a:lnTo>
                  <a:lnTo>
                    <a:pt x="386576" y="1776536"/>
                  </a:lnTo>
                  <a:lnTo>
                    <a:pt x="349728" y="1813304"/>
                  </a:lnTo>
                  <a:lnTo>
                    <a:pt x="337804" y="1825067"/>
                  </a:lnTo>
                  <a:lnTo>
                    <a:pt x="451948" y="1825067"/>
                  </a:lnTo>
                  <a:lnTo>
                    <a:pt x="451948" y="1710089"/>
                  </a:lnTo>
                  <a:close/>
                </a:path>
              </a:pathLst>
            </a:custGeom>
            <a:solidFill>
              <a:srgbClr val="0E5C77">
                <a:alpha val="19999"/>
              </a:srgbClr>
            </a:solidFill>
          </p:spPr>
          <p:txBody>
            <a:bodyPr wrap="square" lIns="0" tIns="0" rIns="0" bIns="0" rtlCol="0"/>
            <a:lstStyle/>
            <a:p>
              <a:endParaRPr/>
            </a:p>
          </p:txBody>
        </p:sp>
        <p:sp>
          <p:nvSpPr>
            <p:cNvPr id="7" name="object 5">
              <a:extLst>
                <a:ext uri="{FF2B5EF4-FFF2-40B4-BE49-F238E27FC236}">
                  <a16:creationId xmlns:a16="http://schemas.microsoft.com/office/drawing/2014/main" id="{18C9DDA2-A716-EBE8-F34F-C40B6D8FCE79}"/>
                </a:ext>
              </a:extLst>
            </p:cNvPr>
            <p:cNvSpPr/>
            <p:nvPr/>
          </p:nvSpPr>
          <p:spPr>
            <a:xfrm>
              <a:off x="11026069" y="6723987"/>
              <a:ext cx="393860" cy="131862"/>
            </a:xfrm>
            <a:custGeom>
              <a:avLst/>
              <a:gdLst/>
              <a:ahLst/>
              <a:cxnLst/>
              <a:rect l="l" t="t" r="r" b="b"/>
              <a:pathLst>
                <a:path w="434340" h="145415">
                  <a:moveTo>
                    <a:pt x="216865" y="0"/>
                  </a:moveTo>
                  <a:lnTo>
                    <a:pt x="169224" y="4880"/>
                  </a:lnTo>
                  <a:lnTo>
                    <a:pt x="124850" y="18878"/>
                  </a:lnTo>
                  <a:lnTo>
                    <a:pt x="84694" y="41028"/>
                  </a:lnTo>
                  <a:lnTo>
                    <a:pt x="49708" y="70364"/>
                  </a:lnTo>
                  <a:lnTo>
                    <a:pt x="20841" y="105919"/>
                  </a:lnTo>
                  <a:lnTo>
                    <a:pt x="0" y="144942"/>
                  </a:lnTo>
                  <a:lnTo>
                    <a:pt x="433744" y="144942"/>
                  </a:lnTo>
                  <a:lnTo>
                    <a:pt x="412901" y="105919"/>
                  </a:lnTo>
                  <a:lnTo>
                    <a:pt x="384034" y="70364"/>
                  </a:lnTo>
                  <a:lnTo>
                    <a:pt x="349046" y="41028"/>
                  </a:lnTo>
                  <a:lnTo>
                    <a:pt x="308888" y="18878"/>
                  </a:lnTo>
                  <a:lnTo>
                    <a:pt x="264511" y="4880"/>
                  </a:lnTo>
                  <a:lnTo>
                    <a:pt x="216865" y="0"/>
                  </a:lnTo>
                  <a:close/>
                </a:path>
              </a:pathLst>
            </a:custGeom>
            <a:solidFill>
              <a:srgbClr val="0E5C77">
                <a:alpha val="19999"/>
              </a:srgbClr>
            </a:solidFill>
          </p:spPr>
          <p:txBody>
            <a:bodyPr wrap="square" lIns="0" tIns="0" rIns="0" bIns="0" rtlCol="0"/>
            <a:lstStyle/>
            <a:p>
              <a:endParaRPr/>
            </a:p>
          </p:txBody>
        </p:sp>
        <p:sp>
          <p:nvSpPr>
            <p:cNvPr id="15" name="object 6">
              <a:extLst>
                <a:ext uri="{FF2B5EF4-FFF2-40B4-BE49-F238E27FC236}">
                  <a16:creationId xmlns:a16="http://schemas.microsoft.com/office/drawing/2014/main" id="{FACD9CE7-8C7D-69FF-1D44-5F08A5F89086}"/>
                </a:ext>
              </a:extLst>
            </p:cNvPr>
            <p:cNvSpPr/>
            <p:nvPr/>
          </p:nvSpPr>
          <p:spPr>
            <a:xfrm>
              <a:off x="11333372" y="6158589"/>
              <a:ext cx="324186" cy="329368"/>
            </a:xfrm>
            <a:custGeom>
              <a:avLst/>
              <a:gdLst/>
              <a:ahLst/>
              <a:cxnLst/>
              <a:rect l="l" t="t" r="r" b="b"/>
              <a:pathLst>
                <a:path w="357504" h="363220">
                  <a:moveTo>
                    <a:pt x="178612" y="0"/>
                  </a:moveTo>
                  <a:lnTo>
                    <a:pt x="131127" y="6483"/>
                  </a:lnTo>
                  <a:lnTo>
                    <a:pt x="88459" y="24782"/>
                  </a:lnTo>
                  <a:lnTo>
                    <a:pt x="52311" y="53165"/>
                  </a:lnTo>
                  <a:lnTo>
                    <a:pt x="24384" y="89902"/>
                  </a:lnTo>
                  <a:lnTo>
                    <a:pt x="6379" y="133264"/>
                  </a:lnTo>
                  <a:lnTo>
                    <a:pt x="0" y="181521"/>
                  </a:lnTo>
                  <a:lnTo>
                    <a:pt x="6379" y="229772"/>
                  </a:lnTo>
                  <a:lnTo>
                    <a:pt x="24383" y="273130"/>
                  </a:lnTo>
                  <a:lnTo>
                    <a:pt x="52311" y="309865"/>
                  </a:lnTo>
                  <a:lnTo>
                    <a:pt x="88459" y="338247"/>
                  </a:lnTo>
                  <a:lnTo>
                    <a:pt x="131127" y="356545"/>
                  </a:lnTo>
                  <a:lnTo>
                    <a:pt x="178612" y="363029"/>
                  </a:lnTo>
                  <a:lnTo>
                    <a:pt x="226092" y="356545"/>
                  </a:lnTo>
                  <a:lnTo>
                    <a:pt x="268756" y="338247"/>
                  </a:lnTo>
                  <a:lnTo>
                    <a:pt x="304903" y="309865"/>
                  </a:lnTo>
                  <a:lnTo>
                    <a:pt x="332829" y="273130"/>
                  </a:lnTo>
                  <a:lnTo>
                    <a:pt x="350833" y="229772"/>
                  </a:lnTo>
                  <a:lnTo>
                    <a:pt x="357212" y="181521"/>
                  </a:lnTo>
                  <a:lnTo>
                    <a:pt x="350833" y="133264"/>
                  </a:lnTo>
                  <a:lnTo>
                    <a:pt x="332829" y="89902"/>
                  </a:lnTo>
                  <a:lnTo>
                    <a:pt x="304903" y="53165"/>
                  </a:lnTo>
                  <a:lnTo>
                    <a:pt x="268756" y="24782"/>
                  </a:lnTo>
                  <a:lnTo>
                    <a:pt x="226092" y="6483"/>
                  </a:lnTo>
                  <a:lnTo>
                    <a:pt x="178612" y="0"/>
                  </a:lnTo>
                  <a:close/>
                </a:path>
              </a:pathLst>
            </a:custGeom>
            <a:solidFill>
              <a:srgbClr val="0E5C77">
                <a:alpha val="19999"/>
              </a:srgbClr>
            </a:solidFill>
          </p:spPr>
          <p:txBody>
            <a:bodyPr wrap="square" lIns="0" tIns="0" rIns="0" bIns="0" rtlCol="0"/>
            <a:lstStyle/>
            <a:p>
              <a:endParaRPr/>
            </a:p>
          </p:txBody>
        </p:sp>
        <p:sp>
          <p:nvSpPr>
            <p:cNvPr id="20" name="object 7">
              <a:extLst>
                <a:ext uri="{FF2B5EF4-FFF2-40B4-BE49-F238E27FC236}">
                  <a16:creationId xmlns:a16="http://schemas.microsoft.com/office/drawing/2014/main" id="{9B6B4EDF-9602-7E47-156F-525A333E17AC}"/>
                </a:ext>
              </a:extLst>
            </p:cNvPr>
            <p:cNvSpPr/>
            <p:nvPr/>
          </p:nvSpPr>
          <p:spPr>
            <a:xfrm>
              <a:off x="9738785" y="6661239"/>
              <a:ext cx="593093" cy="194626"/>
            </a:xfrm>
            <a:custGeom>
              <a:avLst/>
              <a:gdLst/>
              <a:ahLst/>
              <a:cxnLst/>
              <a:rect l="l" t="t" r="r" b="b"/>
              <a:pathLst>
                <a:path w="654050" h="214629">
                  <a:moveTo>
                    <a:pt x="326761" y="0"/>
                  </a:moveTo>
                  <a:lnTo>
                    <a:pt x="277990" y="3334"/>
                  </a:lnTo>
                  <a:lnTo>
                    <a:pt x="231213" y="13046"/>
                  </a:lnTo>
                  <a:lnTo>
                    <a:pt x="186858" y="28702"/>
                  </a:lnTo>
                  <a:lnTo>
                    <a:pt x="145354" y="49867"/>
                  </a:lnTo>
                  <a:lnTo>
                    <a:pt x="107129" y="76104"/>
                  </a:lnTo>
                  <a:lnTo>
                    <a:pt x="72611" y="106980"/>
                  </a:lnTo>
                  <a:lnTo>
                    <a:pt x="42229" y="142058"/>
                  </a:lnTo>
                  <a:lnTo>
                    <a:pt x="16410" y="180904"/>
                  </a:lnTo>
                  <a:lnTo>
                    <a:pt x="0" y="214139"/>
                  </a:lnTo>
                  <a:lnTo>
                    <a:pt x="653522" y="214139"/>
                  </a:lnTo>
                  <a:lnTo>
                    <a:pt x="611292" y="142058"/>
                  </a:lnTo>
                  <a:lnTo>
                    <a:pt x="580910" y="106980"/>
                  </a:lnTo>
                  <a:lnTo>
                    <a:pt x="546392" y="76104"/>
                  </a:lnTo>
                  <a:lnTo>
                    <a:pt x="508167" y="49867"/>
                  </a:lnTo>
                  <a:lnTo>
                    <a:pt x="466663" y="28702"/>
                  </a:lnTo>
                  <a:lnTo>
                    <a:pt x="422308" y="13046"/>
                  </a:lnTo>
                  <a:lnTo>
                    <a:pt x="375532" y="3334"/>
                  </a:lnTo>
                  <a:lnTo>
                    <a:pt x="326761" y="0"/>
                  </a:lnTo>
                  <a:close/>
                </a:path>
              </a:pathLst>
            </a:custGeom>
            <a:solidFill>
              <a:srgbClr val="0E5C77">
                <a:alpha val="19999"/>
              </a:srgbClr>
            </a:solidFill>
          </p:spPr>
          <p:txBody>
            <a:bodyPr wrap="square" lIns="0" tIns="0" rIns="0" bIns="0" rtlCol="0"/>
            <a:lstStyle/>
            <a:p>
              <a:endParaRPr/>
            </a:p>
          </p:txBody>
        </p:sp>
      </p:grpSp>
      <p:sp>
        <p:nvSpPr>
          <p:cNvPr id="21" name="object 14">
            <a:extLst>
              <a:ext uri="{FF2B5EF4-FFF2-40B4-BE49-F238E27FC236}">
                <a16:creationId xmlns:a16="http://schemas.microsoft.com/office/drawing/2014/main" id="{E920B87E-EB30-C29A-7725-F098B0CD9403}"/>
              </a:ext>
            </a:extLst>
          </p:cNvPr>
          <p:cNvSpPr/>
          <p:nvPr userDrawn="1"/>
        </p:nvSpPr>
        <p:spPr>
          <a:xfrm rot="10800000">
            <a:off x="11050480" y="5292007"/>
            <a:ext cx="562114" cy="584428"/>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spTree>
    <p:extLst>
      <p:ext uri="{BB962C8B-B14F-4D97-AF65-F5344CB8AC3E}">
        <p14:creationId xmlns:p14="http://schemas.microsoft.com/office/powerpoint/2010/main" val="23974652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 Neon">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2D00DCAC-C40F-C3B9-F022-BCEE66A66A0B}"/>
              </a:ext>
            </a:extLst>
          </p:cNvPr>
          <p:cNvSpPr/>
          <p:nvPr userDrawn="1"/>
        </p:nvSpPr>
        <p:spPr>
          <a:xfrm>
            <a:off x="0" y="0"/>
            <a:ext cx="12192000" cy="6855696"/>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chemeClr val="tx2"/>
          </a:solidFill>
        </p:spPr>
        <p:txBody>
          <a:bodyPr wrap="square" lIns="0" tIns="0" rIns="0" bIns="0" rtlCol="0"/>
          <a:lstStyle/>
          <a:p>
            <a:endParaRPr sz="2000"/>
          </a:p>
        </p:txBody>
      </p:sp>
      <p:sp>
        <p:nvSpPr>
          <p:cNvPr id="20" name="object 3">
            <a:extLst>
              <a:ext uri="{FF2B5EF4-FFF2-40B4-BE49-F238E27FC236}">
                <a16:creationId xmlns:a16="http://schemas.microsoft.com/office/drawing/2014/main" id="{B044399D-0912-D593-C0A7-709DB4E472C3}"/>
              </a:ext>
            </a:extLst>
          </p:cNvPr>
          <p:cNvSpPr/>
          <p:nvPr userDrawn="1"/>
        </p:nvSpPr>
        <p:spPr>
          <a:xfrm>
            <a:off x="8454618" y="-21266"/>
            <a:ext cx="4391193" cy="4363554"/>
          </a:xfrm>
          <a:custGeom>
            <a:avLst/>
            <a:gdLst/>
            <a:ahLst/>
            <a:cxnLst/>
            <a:rect l="l" t="t" r="r" b="b"/>
            <a:pathLst>
              <a:path w="4842509" h="4812030">
                <a:moveTo>
                  <a:pt x="747268" y="1291882"/>
                </a:moveTo>
                <a:lnTo>
                  <a:pt x="744347" y="1244257"/>
                </a:lnTo>
                <a:lnTo>
                  <a:pt x="735850" y="1198397"/>
                </a:lnTo>
                <a:lnTo>
                  <a:pt x="722109" y="1154645"/>
                </a:lnTo>
                <a:lnTo>
                  <a:pt x="703478" y="1113383"/>
                </a:lnTo>
                <a:lnTo>
                  <a:pt x="680313" y="1074953"/>
                </a:lnTo>
                <a:lnTo>
                  <a:pt x="652957" y="1039710"/>
                </a:lnTo>
                <a:lnTo>
                  <a:pt x="621766" y="1008011"/>
                </a:lnTo>
                <a:lnTo>
                  <a:pt x="587095" y="980211"/>
                </a:lnTo>
                <a:lnTo>
                  <a:pt x="549275" y="956665"/>
                </a:lnTo>
                <a:lnTo>
                  <a:pt x="508673" y="937742"/>
                </a:lnTo>
                <a:lnTo>
                  <a:pt x="465620" y="923772"/>
                </a:lnTo>
                <a:lnTo>
                  <a:pt x="420497" y="915136"/>
                </a:lnTo>
                <a:lnTo>
                  <a:pt x="373634" y="912177"/>
                </a:lnTo>
                <a:lnTo>
                  <a:pt x="326758" y="915136"/>
                </a:lnTo>
                <a:lnTo>
                  <a:pt x="281635" y="923772"/>
                </a:lnTo>
                <a:lnTo>
                  <a:pt x="238582" y="937742"/>
                </a:lnTo>
                <a:lnTo>
                  <a:pt x="197980" y="956665"/>
                </a:lnTo>
                <a:lnTo>
                  <a:pt x="160159" y="980211"/>
                </a:lnTo>
                <a:lnTo>
                  <a:pt x="125488" y="1008011"/>
                </a:lnTo>
                <a:lnTo>
                  <a:pt x="94297" y="1039710"/>
                </a:lnTo>
                <a:lnTo>
                  <a:pt x="66941" y="1074953"/>
                </a:lnTo>
                <a:lnTo>
                  <a:pt x="43776" y="1113383"/>
                </a:lnTo>
                <a:lnTo>
                  <a:pt x="25146" y="1154645"/>
                </a:lnTo>
                <a:lnTo>
                  <a:pt x="11404" y="1198397"/>
                </a:lnTo>
                <a:lnTo>
                  <a:pt x="2908" y="1244257"/>
                </a:lnTo>
                <a:lnTo>
                  <a:pt x="0" y="1291882"/>
                </a:lnTo>
                <a:lnTo>
                  <a:pt x="2908" y="1339519"/>
                </a:lnTo>
                <a:lnTo>
                  <a:pt x="11404" y="1385379"/>
                </a:lnTo>
                <a:lnTo>
                  <a:pt x="25146" y="1429131"/>
                </a:lnTo>
                <a:lnTo>
                  <a:pt x="43776" y="1470393"/>
                </a:lnTo>
                <a:lnTo>
                  <a:pt x="66941" y="1508823"/>
                </a:lnTo>
                <a:lnTo>
                  <a:pt x="94297" y="1544066"/>
                </a:lnTo>
                <a:lnTo>
                  <a:pt x="125488" y="1575765"/>
                </a:lnTo>
                <a:lnTo>
                  <a:pt x="160159" y="1603565"/>
                </a:lnTo>
                <a:lnTo>
                  <a:pt x="197980" y="1627111"/>
                </a:lnTo>
                <a:lnTo>
                  <a:pt x="238582" y="1646047"/>
                </a:lnTo>
                <a:lnTo>
                  <a:pt x="281635" y="1660004"/>
                </a:lnTo>
                <a:lnTo>
                  <a:pt x="326758" y="1668640"/>
                </a:lnTo>
                <a:lnTo>
                  <a:pt x="373634" y="1671599"/>
                </a:lnTo>
                <a:lnTo>
                  <a:pt x="420497" y="1668640"/>
                </a:lnTo>
                <a:lnTo>
                  <a:pt x="465620" y="1660004"/>
                </a:lnTo>
                <a:lnTo>
                  <a:pt x="508673" y="1646047"/>
                </a:lnTo>
                <a:lnTo>
                  <a:pt x="549275" y="1627111"/>
                </a:lnTo>
                <a:lnTo>
                  <a:pt x="587095" y="1603565"/>
                </a:lnTo>
                <a:lnTo>
                  <a:pt x="621766" y="1575765"/>
                </a:lnTo>
                <a:lnTo>
                  <a:pt x="652957" y="1544066"/>
                </a:lnTo>
                <a:lnTo>
                  <a:pt x="680313" y="1508823"/>
                </a:lnTo>
                <a:lnTo>
                  <a:pt x="703478" y="1470393"/>
                </a:lnTo>
                <a:lnTo>
                  <a:pt x="722109" y="1429131"/>
                </a:lnTo>
                <a:lnTo>
                  <a:pt x="735850" y="1385379"/>
                </a:lnTo>
                <a:lnTo>
                  <a:pt x="744347" y="1339519"/>
                </a:lnTo>
                <a:lnTo>
                  <a:pt x="747268" y="1291882"/>
                </a:lnTo>
                <a:close/>
              </a:path>
              <a:path w="4842509" h="4812030">
                <a:moveTo>
                  <a:pt x="1038237" y="2275001"/>
                </a:moveTo>
                <a:lnTo>
                  <a:pt x="1033195" y="2230450"/>
                </a:lnTo>
                <a:lnTo>
                  <a:pt x="1018806" y="2189556"/>
                </a:lnTo>
                <a:lnTo>
                  <a:pt x="996238" y="2153475"/>
                </a:lnTo>
                <a:lnTo>
                  <a:pt x="966635" y="2123389"/>
                </a:lnTo>
                <a:lnTo>
                  <a:pt x="931125" y="2100453"/>
                </a:lnTo>
                <a:lnTo>
                  <a:pt x="890879" y="2085835"/>
                </a:lnTo>
                <a:lnTo>
                  <a:pt x="847039" y="2080691"/>
                </a:lnTo>
                <a:lnTo>
                  <a:pt x="803198" y="2085835"/>
                </a:lnTo>
                <a:lnTo>
                  <a:pt x="762952" y="2100453"/>
                </a:lnTo>
                <a:lnTo>
                  <a:pt x="727456" y="2123389"/>
                </a:lnTo>
                <a:lnTo>
                  <a:pt x="697852" y="2153475"/>
                </a:lnTo>
                <a:lnTo>
                  <a:pt x="675284" y="2189556"/>
                </a:lnTo>
                <a:lnTo>
                  <a:pt x="660895" y="2230450"/>
                </a:lnTo>
                <a:lnTo>
                  <a:pt x="655840" y="2275001"/>
                </a:lnTo>
                <a:lnTo>
                  <a:pt x="660895" y="2319566"/>
                </a:lnTo>
                <a:lnTo>
                  <a:pt x="675284" y="2360460"/>
                </a:lnTo>
                <a:lnTo>
                  <a:pt x="697852" y="2396540"/>
                </a:lnTo>
                <a:lnTo>
                  <a:pt x="727456" y="2426627"/>
                </a:lnTo>
                <a:lnTo>
                  <a:pt x="762952" y="2449563"/>
                </a:lnTo>
                <a:lnTo>
                  <a:pt x="803198" y="2464181"/>
                </a:lnTo>
                <a:lnTo>
                  <a:pt x="847039" y="2469311"/>
                </a:lnTo>
                <a:lnTo>
                  <a:pt x="890879" y="2464181"/>
                </a:lnTo>
                <a:lnTo>
                  <a:pt x="931125" y="2449563"/>
                </a:lnTo>
                <a:lnTo>
                  <a:pt x="966635" y="2426627"/>
                </a:lnTo>
                <a:lnTo>
                  <a:pt x="996238" y="2396540"/>
                </a:lnTo>
                <a:lnTo>
                  <a:pt x="1018806" y="2360460"/>
                </a:lnTo>
                <a:lnTo>
                  <a:pt x="1033195" y="2319566"/>
                </a:lnTo>
                <a:lnTo>
                  <a:pt x="1038237" y="2275001"/>
                </a:lnTo>
                <a:close/>
              </a:path>
              <a:path w="4842509" h="4812030">
                <a:moveTo>
                  <a:pt x="1353693" y="205016"/>
                </a:moveTo>
                <a:lnTo>
                  <a:pt x="1349044" y="158140"/>
                </a:lnTo>
                <a:lnTo>
                  <a:pt x="1335709" y="114490"/>
                </a:lnTo>
                <a:lnTo>
                  <a:pt x="1314615" y="74993"/>
                </a:lnTo>
                <a:lnTo>
                  <a:pt x="1286675" y="40576"/>
                </a:lnTo>
                <a:lnTo>
                  <a:pt x="1252804" y="12179"/>
                </a:lnTo>
                <a:lnTo>
                  <a:pt x="1230744" y="12"/>
                </a:lnTo>
                <a:lnTo>
                  <a:pt x="1018984" y="12"/>
                </a:lnTo>
                <a:lnTo>
                  <a:pt x="963053" y="40576"/>
                </a:lnTo>
                <a:lnTo>
                  <a:pt x="935113" y="74993"/>
                </a:lnTo>
                <a:lnTo>
                  <a:pt x="914019" y="114490"/>
                </a:lnTo>
                <a:lnTo>
                  <a:pt x="900684" y="158140"/>
                </a:lnTo>
                <a:lnTo>
                  <a:pt x="896035" y="205016"/>
                </a:lnTo>
                <a:lnTo>
                  <a:pt x="900684" y="251879"/>
                </a:lnTo>
                <a:lnTo>
                  <a:pt x="914019" y="295529"/>
                </a:lnTo>
                <a:lnTo>
                  <a:pt x="935113" y="335038"/>
                </a:lnTo>
                <a:lnTo>
                  <a:pt x="963053" y="369443"/>
                </a:lnTo>
                <a:lnTo>
                  <a:pt x="996924" y="397840"/>
                </a:lnTo>
                <a:lnTo>
                  <a:pt x="1035799" y="419290"/>
                </a:lnTo>
                <a:lnTo>
                  <a:pt x="1078750" y="432841"/>
                </a:lnTo>
                <a:lnTo>
                  <a:pt x="1124864" y="437565"/>
                </a:lnTo>
                <a:lnTo>
                  <a:pt x="1170978" y="432841"/>
                </a:lnTo>
                <a:lnTo>
                  <a:pt x="1213929" y="419290"/>
                </a:lnTo>
                <a:lnTo>
                  <a:pt x="1252804" y="397840"/>
                </a:lnTo>
                <a:lnTo>
                  <a:pt x="1286675" y="369443"/>
                </a:lnTo>
                <a:lnTo>
                  <a:pt x="1314615" y="335038"/>
                </a:lnTo>
                <a:lnTo>
                  <a:pt x="1335709" y="295529"/>
                </a:lnTo>
                <a:lnTo>
                  <a:pt x="1349044" y="251879"/>
                </a:lnTo>
                <a:lnTo>
                  <a:pt x="1353693" y="205016"/>
                </a:lnTo>
                <a:close/>
              </a:path>
              <a:path w="4842509" h="4812030">
                <a:moveTo>
                  <a:pt x="2336165" y="3331895"/>
                </a:moveTo>
                <a:lnTo>
                  <a:pt x="2331415" y="3284131"/>
                </a:lnTo>
                <a:lnTo>
                  <a:pt x="2317826" y="3239643"/>
                </a:lnTo>
                <a:lnTo>
                  <a:pt x="2296325" y="3199384"/>
                </a:lnTo>
                <a:lnTo>
                  <a:pt x="2267851" y="3164319"/>
                </a:lnTo>
                <a:lnTo>
                  <a:pt x="2233333" y="3135376"/>
                </a:lnTo>
                <a:lnTo>
                  <a:pt x="2193721" y="3113519"/>
                </a:lnTo>
                <a:lnTo>
                  <a:pt x="2149945" y="3099714"/>
                </a:lnTo>
                <a:lnTo>
                  <a:pt x="2102954" y="3094901"/>
                </a:lnTo>
                <a:lnTo>
                  <a:pt x="2055952" y="3099714"/>
                </a:lnTo>
                <a:lnTo>
                  <a:pt x="2012175" y="3113519"/>
                </a:lnTo>
                <a:lnTo>
                  <a:pt x="1972564" y="3135376"/>
                </a:lnTo>
                <a:lnTo>
                  <a:pt x="1938058" y="3164319"/>
                </a:lnTo>
                <a:lnTo>
                  <a:pt x="1909572" y="3199384"/>
                </a:lnTo>
                <a:lnTo>
                  <a:pt x="1888070" y="3239643"/>
                </a:lnTo>
                <a:lnTo>
                  <a:pt x="1874494" y="3284131"/>
                </a:lnTo>
                <a:lnTo>
                  <a:pt x="1869757" y="3331895"/>
                </a:lnTo>
                <a:lnTo>
                  <a:pt x="1874494" y="3379660"/>
                </a:lnTo>
                <a:lnTo>
                  <a:pt x="1888070" y="3424148"/>
                </a:lnTo>
                <a:lnTo>
                  <a:pt x="1909572" y="3464407"/>
                </a:lnTo>
                <a:lnTo>
                  <a:pt x="1938058" y="3499485"/>
                </a:lnTo>
                <a:lnTo>
                  <a:pt x="1972564" y="3528428"/>
                </a:lnTo>
                <a:lnTo>
                  <a:pt x="2012175" y="3550272"/>
                </a:lnTo>
                <a:lnTo>
                  <a:pt x="2055952" y="3564090"/>
                </a:lnTo>
                <a:lnTo>
                  <a:pt x="2102954" y="3568903"/>
                </a:lnTo>
                <a:lnTo>
                  <a:pt x="2149945" y="3564090"/>
                </a:lnTo>
                <a:lnTo>
                  <a:pt x="2193721" y="3550272"/>
                </a:lnTo>
                <a:lnTo>
                  <a:pt x="2233333" y="3528428"/>
                </a:lnTo>
                <a:lnTo>
                  <a:pt x="2267851" y="3499485"/>
                </a:lnTo>
                <a:lnTo>
                  <a:pt x="2296325" y="3464407"/>
                </a:lnTo>
                <a:lnTo>
                  <a:pt x="2317826" y="3424148"/>
                </a:lnTo>
                <a:lnTo>
                  <a:pt x="2331415" y="3379660"/>
                </a:lnTo>
                <a:lnTo>
                  <a:pt x="2336165" y="3331895"/>
                </a:lnTo>
                <a:close/>
              </a:path>
              <a:path w="4842509" h="4812030">
                <a:moveTo>
                  <a:pt x="2815031" y="1458963"/>
                </a:moveTo>
                <a:lnTo>
                  <a:pt x="2805074" y="1409661"/>
                </a:lnTo>
                <a:lnTo>
                  <a:pt x="2777921" y="1369390"/>
                </a:lnTo>
                <a:lnTo>
                  <a:pt x="2737650" y="1342237"/>
                </a:lnTo>
                <a:lnTo>
                  <a:pt x="2688348" y="1332280"/>
                </a:lnTo>
                <a:lnTo>
                  <a:pt x="1587842" y="1332280"/>
                </a:lnTo>
                <a:lnTo>
                  <a:pt x="1594739" y="1302042"/>
                </a:lnTo>
                <a:lnTo>
                  <a:pt x="1611210" y="1240929"/>
                </a:lnTo>
                <a:lnTo>
                  <a:pt x="1635810" y="1170025"/>
                </a:lnTo>
                <a:lnTo>
                  <a:pt x="1653717" y="1129347"/>
                </a:lnTo>
                <a:lnTo>
                  <a:pt x="1674545" y="1088034"/>
                </a:lnTo>
                <a:lnTo>
                  <a:pt x="1698117" y="1046111"/>
                </a:lnTo>
                <a:lnTo>
                  <a:pt x="1724279" y="1003617"/>
                </a:lnTo>
                <a:lnTo>
                  <a:pt x="1724837" y="1003617"/>
                </a:lnTo>
                <a:lnTo>
                  <a:pt x="1725358" y="1003782"/>
                </a:lnTo>
                <a:lnTo>
                  <a:pt x="2587726" y="1003782"/>
                </a:lnTo>
                <a:lnTo>
                  <a:pt x="2588539" y="1003617"/>
                </a:lnTo>
                <a:lnTo>
                  <a:pt x="2637028" y="993825"/>
                </a:lnTo>
                <a:lnTo>
                  <a:pt x="2677299" y="966673"/>
                </a:lnTo>
                <a:lnTo>
                  <a:pt x="2704452" y="926414"/>
                </a:lnTo>
                <a:lnTo>
                  <a:pt x="2714409" y="877100"/>
                </a:lnTo>
                <a:lnTo>
                  <a:pt x="2704452" y="827798"/>
                </a:lnTo>
                <a:lnTo>
                  <a:pt x="2677299" y="787527"/>
                </a:lnTo>
                <a:lnTo>
                  <a:pt x="2637028" y="760374"/>
                </a:lnTo>
                <a:lnTo>
                  <a:pt x="2587726" y="750417"/>
                </a:lnTo>
                <a:lnTo>
                  <a:pt x="1918449" y="750417"/>
                </a:lnTo>
                <a:lnTo>
                  <a:pt x="1948662" y="716330"/>
                </a:lnTo>
                <a:lnTo>
                  <a:pt x="1979866" y="681990"/>
                </a:lnTo>
                <a:lnTo>
                  <a:pt x="2012010" y="647395"/>
                </a:lnTo>
                <a:lnTo>
                  <a:pt x="2045055" y="612559"/>
                </a:lnTo>
                <a:lnTo>
                  <a:pt x="2078926" y="577494"/>
                </a:lnTo>
                <a:lnTo>
                  <a:pt x="2113610" y="542213"/>
                </a:lnTo>
                <a:lnTo>
                  <a:pt x="2149030" y="506704"/>
                </a:lnTo>
                <a:lnTo>
                  <a:pt x="2185162" y="470992"/>
                </a:lnTo>
                <a:lnTo>
                  <a:pt x="2221954" y="435076"/>
                </a:lnTo>
                <a:lnTo>
                  <a:pt x="2297303" y="362648"/>
                </a:lnTo>
                <a:lnTo>
                  <a:pt x="2414079" y="252666"/>
                </a:lnTo>
                <a:lnTo>
                  <a:pt x="2687383" y="12"/>
                </a:lnTo>
                <a:lnTo>
                  <a:pt x="2146401" y="12"/>
                </a:lnTo>
                <a:lnTo>
                  <a:pt x="2069376" y="72491"/>
                </a:lnTo>
                <a:lnTo>
                  <a:pt x="1987892" y="150406"/>
                </a:lnTo>
                <a:lnTo>
                  <a:pt x="1947964" y="189191"/>
                </a:lnTo>
                <a:lnTo>
                  <a:pt x="1908632" y="227888"/>
                </a:lnTo>
                <a:lnTo>
                  <a:pt x="1869922" y="266471"/>
                </a:lnTo>
                <a:lnTo>
                  <a:pt x="1831911" y="304952"/>
                </a:lnTo>
                <a:lnTo>
                  <a:pt x="1794637" y="343331"/>
                </a:lnTo>
                <a:lnTo>
                  <a:pt x="1758124" y="381622"/>
                </a:lnTo>
                <a:lnTo>
                  <a:pt x="1722450" y="419811"/>
                </a:lnTo>
                <a:lnTo>
                  <a:pt x="1687626" y="457911"/>
                </a:lnTo>
                <a:lnTo>
                  <a:pt x="1653730" y="495922"/>
                </a:lnTo>
                <a:lnTo>
                  <a:pt x="1620786" y="533844"/>
                </a:lnTo>
                <a:lnTo>
                  <a:pt x="1588846" y="571690"/>
                </a:lnTo>
                <a:lnTo>
                  <a:pt x="1557959" y="609447"/>
                </a:lnTo>
                <a:lnTo>
                  <a:pt x="1528152" y="647115"/>
                </a:lnTo>
                <a:lnTo>
                  <a:pt x="1499501" y="684720"/>
                </a:lnTo>
                <a:lnTo>
                  <a:pt x="1472018" y="722249"/>
                </a:lnTo>
                <a:lnTo>
                  <a:pt x="1445780" y="759701"/>
                </a:lnTo>
                <a:lnTo>
                  <a:pt x="1420812" y="797077"/>
                </a:lnTo>
                <a:lnTo>
                  <a:pt x="1397165" y="834390"/>
                </a:lnTo>
                <a:lnTo>
                  <a:pt x="1374889" y="871639"/>
                </a:lnTo>
                <a:lnTo>
                  <a:pt x="1354023" y="908824"/>
                </a:lnTo>
                <a:lnTo>
                  <a:pt x="1334604" y="945946"/>
                </a:lnTo>
                <a:lnTo>
                  <a:pt x="1316697" y="983018"/>
                </a:lnTo>
                <a:lnTo>
                  <a:pt x="1300340" y="1020025"/>
                </a:lnTo>
                <a:lnTo>
                  <a:pt x="1285570" y="1056982"/>
                </a:lnTo>
                <a:lnTo>
                  <a:pt x="1272451" y="1093889"/>
                </a:lnTo>
                <a:lnTo>
                  <a:pt x="1251242" y="1162659"/>
                </a:lnTo>
                <a:lnTo>
                  <a:pt x="1233639" y="1230528"/>
                </a:lnTo>
                <a:lnTo>
                  <a:pt x="1219492" y="1297495"/>
                </a:lnTo>
                <a:lnTo>
                  <a:pt x="1208646" y="1363497"/>
                </a:lnTo>
                <a:lnTo>
                  <a:pt x="1200962" y="1428521"/>
                </a:lnTo>
                <a:lnTo>
                  <a:pt x="1196276" y="1492504"/>
                </a:lnTo>
                <a:lnTo>
                  <a:pt x="1194447" y="1555432"/>
                </a:lnTo>
                <a:lnTo>
                  <a:pt x="1195324" y="1617268"/>
                </a:lnTo>
                <a:lnTo>
                  <a:pt x="1198753" y="1677974"/>
                </a:lnTo>
                <a:lnTo>
                  <a:pt x="1204595" y="1737499"/>
                </a:lnTo>
                <a:lnTo>
                  <a:pt x="1212684" y="1795830"/>
                </a:lnTo>
                <a:lnTo>
                  <a:pt x="1222870" y="1852930"/>
                </a:lnTo>
                <a:lnTo>
                  <a:pt x="1235024" y="1908746"/>
                </a:lnTo>
                <a:lnTo>
                  <a:pt x="1248981" y="1963242"/>
                </a:lnTo>
                <a:lnTo>
                  <a:pt x="1264589" y="2016404"/>
                </a:lnTo>
                <a:lnTo>
                  <a:pt x="1281709" y="2068182"/>
                </a:lnTo>
                <a:lnTo>
                  <a:pt x="1300175" y="2118537"/>
                </a:lnTo>
                <a:lnTo>
                  <a:pt x="1319860" y="2167445"/>
                </a:lnTo>
                <a:lnTo>
                  <a:pt x="1340586" y="2214854"/>
                </a:lnTo>
                <a:lnTo>
                  <a:pt x="1362227" y="2260752"/>
                </a:lnTo>
                <a:lnTo>
                  <a:pt x="1384617" y="2305075"/>
                </a:lnTo>
                <a:lnTo>
                  <a:pt x="1407617" y="2347811"/>
                </a:lnTo>
                <a:lnTo>
                  <a:pt x="1431074" y="2388920"/>
                </a:lnTo>
                <a:lnTo>
                  <a:pt x="1454835" y="2428354"/>
                </a:lnTo>
                <a:lnTo>
                  <a:pt x="1478749" y="2466086"/>
                </a:lnTo>
                <a:lnTo>
                  <a:pt x="1502676" y="2502077"/>
                </a:lnTo>
                <a:lnTo>
                  <a:pt x="1526451" y="2536291"/>
                </a:lnTo>
                <a:lnTo>
                  <a:pt x="1549946" y="2568702"/>
                </a:lnTo>
                <a:lnTo>
                  <a:pt x="1572983" y="2599271"/>
                </a:lnTo>
                <a:lnTo>
                  <a:pt x="1617141" y="2654719"/>
                </a:lnTo>
                <a:lnTo>
                  <a:pt x="1657718" y="2702344"/>
                </a:lnTo>
                <a:lnTo>
                  <a:pt x="1693532" y="2741879"/>
                </a:lnTo>
                <a:lnTo>
                  <a:pt x="1723364" y="2773045"/>
                </a:lnTo>
                <a:lnTo>
                  <a:pt x="1754289" y="2803436"/>
                </a:lnTo>
                <a:lnTo>
                  <a:pt x="1791779" y="2833128"/>
                </a:lnTo>
                <a:lnTo>
                  <a:pt x="1853996" y="2856725"/>
                </a:lnTo>
                <a:lnTo>
                  <a:pt x="1886724" y="2859659"/>
                </a:lnTo>
                <a:lnTo>
                  <a:pt x="1923973" y="2855861"/>
                </a:lnTo>
                <a:lnTo>
                  <a:pt x="1993277" y="2825635"/>
                </a:lnTo>
                <a:lnTo>
                  <a:pt x="2022830" y="2799372"/>
                </a:lnTo>
                <a:lnTo>
                  <a:pt x="2050745" y="2758884"/>
                </a:lnTo>
                <a:lnTo>
                  <a:pt x="2066505" y="2714015"/>
                </a:lnTo>
                <a:lnTo>
                  <a:pt x="2070239" y="2667228"/>
                </a:lnTo>
                <a:lnTo>
                  <a:pt x="2062073" y="2621000"/>
                </a:lnTo>
                <a:lnTo>
                  <a:pt x="2042134" y="2577782"/>
                </a:lnTo>
                <a:lnTo>
                  <a:pt x="2010562" y="2540063"/>
                </a:lnTo>
                <a:lnTo>
                  <a:pt x="2002307" y="2532316"/>
                </a:lnTo>
                <a:lnTo>
                  <a:pt x="1986203" y="2516479"/>
                </a:lnTo>
                <a:lnTo>
                  <a:pt x="1934933" y="2461717"/>
                </a:lnTo>
                <a:lnTo>
                  <a:pt x="1902015" y="2423401"/>
                </a:lnTo>
                <a:lnTo>
                  <a:pt x="1865718" y="2378151"/>
                </a:lnTo>
                <a:lnTo>
                  <a:pt x="1827174" y="2326297"/>
                </a:lnTo>
                <a:lnTo>
                  <a:pt x="1787486" y="2268118"/>
                </a:lnTo>
                <a:lnTo>
                  <a:pt x="1747786" y="2203907"/>
                </a:lnTo>
                <a:lnTo>
                  <a:pt x="1709204" y="2133955"/>
                </a:lnTo>
                <a:lnTo>
                  <a:pt x="2085060" y="2133955"/>
                </a:lnTo>
                <a:lnTo>
                  <a:pt x="2134362" y="2123998"/>
                </a:lnTo>
                <a:lnTo>
                  <a:pt x="2174633" y="2096846"/>
                </a:lnTo>
                <a:lnTo>
                  <a:pt x="2201786" y="2056587"/>
                </a:lnTo>
                <a:lnTo>
                  <a:pt x="2211743" y="2007273"/>
                </a:lnTo>
                <a:lnTo>
                  <a:pt x="2201786" y="1957971"/>
                </a:lnTo>
                <a:lnTo>
                  <a:pt x="2174633" y="1917700"/>
                </a:lnTo>
                <a:lnTo>
                  <a:pt x="2134362" y="1890547"/>
                </a:lnTo>
                <a:lnTo>
                  <a:pt x="2085060" y="1880590"/>
                </a:lnTo>
                <a:lnTo>
                  <a:pt x="1607959" y="1880590"/>
                </a:lnTo>
                <a:lnTo>
                  <a:pt x="1595729" y="1834248"/>
                </a:lnTo>
                <a:lnTo>
                  <a:pt x="1585214" y="1786712"/>
                </a:lnTo>
                <a:lnTo>
                  <a:pt x="1576565" y="1738058"/>
                </a:lnTo>
                <a:lnTo>
                  <a:pt x="1569910" y="1688299"/>
                </a:lnTo>
                <a:lnTo>
                  <a:pt x="1565402" y="1637487"/>
                </a:lnTo>
                <a:lnTo>
                  <a:pt x="1563192" y="1585645"/>
                </a:lnTo>
                <a:lnTo>
                  <a:pt x="2688348" y="1585645"/>
                </a:lnTo>
                <a:lnTo>
                  <a:pt x="2737650" y="1575689"/>
                </a:lnTo>
                <a:lnTo>
                  <a:pt x="2777921" y="1548549"/>
                </a:lnTo>
                <a:lnTo>
                  <a:pt x="2805074" y="1508277"/>
                </a:lnTo>
                <a:lnTo>
                  <a:pt x="2815031" y="1458963"/>
                </a:lnTo>
                <a:close/>
              </a:path>
              <a:path w="4842509" h="4812030">
                <a:moveTo>
                  <a:pt x="3022498" y="2007273"/>
                </a:moveTo>
                <a:lnTo>
                  <a:pt x="3012541" y="1957959"/>
                </a:lnTo>
                <a:lnTo>
                  <a:pt x="2985389" y="1917700"/>
                </a:lnTo>
                <a:lnTo>
                  <a:pt x="2945130" y="1890547"/>
                </a:lnTo>
                <a:lnTo>
                  <a:pt x="2895816" y="1880590"/>
                </a:lnTo>
                <a:lnTo>
                  <a:pt x="2492959" y="1880590"/>
                </a:lnTo>
                <a:lnTo>
                  <a:pt x="2443645" y="1890547"/>
                </a:lnTo>
                <a:lnTo>
                  <a:pt x="2403373" y="1917700"/>
                </a:lnTo>
                <a:lnTo>
                  <a:pt x="2376220" y="1957959"/>
                </a:lnTo>
                <a:lnTo>
                  <a:pt x="2366264" y="2007273"/>
                </a:lnTo>
                <a:lnTo>
                  <a:pt x="2376220" y="2056587"/>
                </a:lnTo>
                <a:lnTo>
                  <a:pt x="2403373" y="2096846"/>
                </a:lnTo>
                <a:lnTo>
                  <a:pt x="2443645" y="2123998"/>
                </a:lnTo>
                <a:lnTo>
                  <a:pt x="2492959" y="2133955"/>
                </a:lnTo>
                <a:lnTo>
                  <a:pt x="2895816" y="2133955"/>
                </a:lnTo>
                <a:lnTo>
                  <a:pt x="2945130" y="2123998"/>
                </a:lnTo>
                <a:lnTo>
                  <a:pt x="2985389" y="2096846"/>
                </a:lnTo>
                <a:lnTo>
                  <a:pt x="3012541" y="2056587"/>
                </a:lnTo>
                <a:lnTo>
                  <a:pt x="3022498" y="2007273"/>
                </a:lnTo>
                <a:close/>
              </a:path>
              <a:path w="4842509" h="4812030">
                <a:moveTo>
                  <a:pt x="3290455" y="869467"/>
                </a:moveTo>
                <a:lnTo>
                  <a:pt x="3285413" y="824915"/>
                </a:lnTo>
                <a:lnTo>
                  <a:pt x="3271024" y="784021"/>
                </a:lnTo>
                <a:lnTo>
                  <a:pt x="3248456" y="747941"/>
                </a:lnTo>
                <a:lnTo>
                  <a:pt x="3218853" y="717854"/>
                </a:lnTo>
                <a:lnTo>
                  <a:pt x="3183344" y="694918"/>
                </a:lnTo>
                <a:lnTo>
                  <a:pt x="3143097" y="680300"/>
                </a:lnTo>
                <a:lnTo>
                  <a:pt x="3099257" y="675170"/>
                </a:lnTo>
                <a:lnTo>
                  <a:pt x="3055429" y="680300"/>
                </a:lnTo>
                <a:lnTo>
                  <a:pt x="3015183" y="694918"/>
                </a:lnTo>
                <a:lnTo>
                  <a:pt x="2979674" y="717854"/>
                </a:lnTo>
                <a:lnTo>
                  <a:pt x="2950070" y="747941"/>
                </a:lnTo>
                <a:lnTo>
                  <a:pt x="2927502" y="784021"/>
                </a:lnTo>
                <a:lnTo>
                  <a:pt x="2913113" y="824915"/>
                </a:lnTo>
                <a:lnTo>
                  <a:pt x="2908058" y="869467"/>
                </a:lnTo>
                <a:lnTo>
                  <a:pt x="2913113" y="914019"/>
                </a:lnTo>
                <a:lnTo>
                  <a:pt x="2927502" y="954925"/>
                </a:lnTo>
                <a:lnTo>
                  <a:pt x="2950070" y="990993"/>
                </a:lnTo>
                <a:lnTo>
                  <a:pt x="2979674" y="1021092"/>
                </a:lnTo>
                <a:lnTo>
                  <a:pt x="3015183" y="1044028"/>
                </a:lnTo>
                <a:lnTo>
                  <a:pt x="3055429" y="1058646"/>
                </a:lnTo>
                <a:lnTo>
                  <a:pt x="3099257" y="1063777"/>
                </a:lnTo>
                <a:lnTo>
                  <a:pt x="3143097" y="1058646"/>
                </a:lnTo>
                <a:lnTo>
                  <a:pt x="3183344" y="1044028"/>
                </a:lnTo>
                <a:lnTo>
                  <a:pt x="3218853" y="1021092"/>
                </a:lnTo>
                <a:lnTo>
                  <a:pt x="3248456" y="990993"/>
                </a:lnTo>
                <a:lnTo>
                  <a:pt x="3271024" y="954925"/>
                </a:lnTo>
                <a:lnTo>
                  <a:pt x="3285413" y="914019"/>
                </a:lnTo>
                <a:lnTo>
                  <a:pt x="3290455" y="869467"/>
                </a:lnTo>
                <a:close/>
              </a:path>
              <a:path w="4842509" h="4812030">
                <a:moveTo>
                  <a:pt x="3455378" y="1445844"/>
                </a:moveTo>
                <a:lnTo>
                  <a:pt x="3449624" y="1402283"/>
                </a:lnTo>
                <a:lnTo>
                  <a:pt x="3433368" y="1363154"/>
                </a:lnTo>
                <a:lnTo>
                  <a:pt x="3408159" y="1329994"/>
                </a:lnTo>
                <a:lnTo>
                  <a:pt x="3375533" y="1304378"/>
                </a:lnTo>
                <a:lnTo>
                  <a:pt x="3337026" y="1287868"/>
                </a:lnTo>
                <a:lnTo>
                  <a:pt x="3294164" y="1282014"/>
                </a:lnTo>
                <a:lnTo>
                  <a:pt x="3251314" y="1287868"/>
                </a:lnTo>
                <a:lnTo>
                  <a:pt x="3212795" y="1304378"/>
                </a:lnTo>
                <a:lnTo>
                  <a:pt x="3180169" y="1329994"/>
                </a:lnTo>
                <a:lnTo>
                  <a:pt x="3154959" y="1363154"/>
                </a:lnTo>
                <a:lnTo>
                  <a:pt x="3138716" y="1402283"/>
                </a:lnTo>
                <a:lnTo>
                  <a:pt x="3132950" y="1445844"/>
                </a:lnTo>
                <a:lnTo>
                  <a:pt x="3138716" y="1489392"/>
                </a:lnTo>
                <a:lnTo>
                  <a:pt x="3154959" y="1528533"/>
                </a:lnTo>
                <a:lnTo>
                  <a:pt x="3180169" y="1561680"/>
                </a:lnTo>
                <a:lnTo>
                  <a:pt x="3212795" y="1587309"/>
                </a:lnTo>
                <a:lnTo>
                  <a:pt x="3251314" y="1603819"/>
                </a:lnTo>
                <a:lnTo>
                  <a:pt x="3294164" y="1609674"/>
                </a:lnTo>
                <a:lnTo>
                  <a:pt x="3337026" y="1603819"/>
                </a:lnTo>
                <a:lnTo>
                  <a:pt x="3375533" y="1587309"/>
                </a:lnTo>
                <a:lnTo>
                  <a:pt x="3408159" y="1561680"/>
                </a:lnTo>
                <a:lnTo>
                  <a:pt x="3433368" y="1528533"/>
                </a:lnTo>
                <a:lnTo>
                  <a:pt x="3449624" y="1489392"/>
                </a:lnTo>
                <a:lnTo>
                  <a:pt x="3455378" y="1445844"/>
                </a:lnTo>
                <a:close/>
              </a:path>
              <a:path w="4842509" h="4812030">
                <a:moveTo>
                  <a:pt x="3677882" y="150622"/>
                </a:moveTo>
                <a:lnTo>
                  <a:pt x="3669868" y="100114"/>
                </a:lnTo>
                <a:lnTo>
                  <a:pt x="3647541" y="56248"/>
                </a:lnTo>
                <a:lnTo>
                  <a:pt x="3613505" y="21653"/>
                </a:lnTo>
                <a:lnTo>
                  <a:pt x="3572306" y="0"/>
                </a:lnTo>
                <a:lnTo>
                  <a:pt x="3468979" y="0"/>
                </a:lnTo>
                <a:lnTo>
                  <a:pt x="3427780" y="21653"/>
                </a:lnTo>
                <a:lnTo>
                  <a:pt x="3393744" y="56248"/>
                </a:lnTo>
                <a:lnTo>
                  <a:pt x="3371418" y="100114"/>
                </a:lnTo>
                <a:lnTo>
                  <a:pt x="3363404" y="150622"/>
                </a:lnTo>
                <a:lnTo>
                  <a:pt x="3371418" y="201129"/>
                </a:lnTo>
                <a:lnTo>
                  <a:pt x="3393744" y="244995"/>
                </a:lnTo>
                <a:lnTo>
                  <a:pt x="3427780" y="279577"/>
                </a:lnTo>
                <a:lnTo>
                  <a:pt x="3470935" y="302260"/>
                </a:lnTo>
                <a:lnTo>
                  <a:pt x="3520643" y="310413"/>
                </a:lnTo>
                <a:lnTo>
                  <a:pt x="3570338" y="302260"/>
                </a:lnTo>
                <a:lnTo>
                  <a:pt x="3613505" y="279577"/>
                </a:lnTo>
                <a:lnTo>
                  <a:pt x="3647541" y="244995"/>
                </a:lnTo>
                <a:lnTo>
                  <a:pt x="3669868" y="201129"/>
                </a:lnTo>
                <a:lnTo>
                  <a:pt x="3677882" y="150622"/>
                </a:lnTo>
                <a:close/>
              </a:path>
              <a:path w="4842509" h="4812030">
                <a:moveTo>
                  <a:pt x="3887127" y="718464"/>
                </a:moveTo>
                <a:lnTo>
                  <a:pt x="3882085" y="673912"/>
                </a:lnTo>
                <a:lnTo>
                  <a:pt x="3867696" y="633006"/>
                </a:lnTo>
                <a:lnTo>
                  <a:pt x="3845128" y="596925"/>
                </a:lnTo>
                <a:lnTo>
                  <a:pt x="3815524" y="566839"/>
                </a:lnTo>
                <a:lnTo>
                  <a:pt x="3780015" y="543902"/>
                </a:lnTo>
                <a:lnTo>
                  <a:pt x="3739769" y="529285"/>
                </a:lnTo>
                <a:lnTo>
                  <a:pt x="3695928" y="524154"/>
                </a:lnTo>
                <a:lnTo>
                  <a:pt x="3652101" y="529285"/>
                </a:lnTo>
                <a:lnTo>
                  <a:pt x="3611854" y="543902"/>
                </a:lnTo>
                <a:lnTo>
                  <a:pt x="3576345" y="566839"/>
                </a:lnTo>
                <a:lnTo>
                  <a:pt x="3546741" y="596925"/>
                </a:lnTo>
                <a:lnTo>
                  <a:pt x="3524173" y="633006"/>
                </a:lnTo>
                <a:lnTo>
                  <a:pt x="3509784" y="673912"/>
                </a:lnTo>
                <a:lnTo>
                  <a:pt x="3504730" y="718464"/>
                </a:lnTo>
                <a:lnTo>
                  <a:pt x="3509784" y="763016"/>
                </a:lnTo>
                <a:lnTo>
                  <a:pt x="3524173" y="803910"/>
                </a:lnTo>
                <a:lnTo>
                  <a:pt x="3546741" y="839990"/>
                </a:lnTo>
                <a:lnTo>
                  <a:pt x="3576345" y="870089"/>
                </a:lnTo>
                <a:lnTo>
                  <a:pt x="3611854" y="893025"/>
                </a:lnTo>
                <a:lnTo>
                  <a:pt x="3652101" y="907643"/>
                </a:lnTo>
                <a:lnTo>
                  <a:pt x="3695928" y="912774"/>
                </a:lnTo>
                <a:lnTo>
                  <a:pt x="3739769" y="907643"/>
                </a:lnTo>
                <a:lnTo>
                  <a:pt x="3780015" y="893025"/>
                </a:lnTo>
                <a:lnTo>
                  <a:pt x="3815524" y="870089"/>
                </a:lnTo>
                <a:lnTo>
                  <a:pt x="3845128" y="839990"/>
                </a:lnTo>
                <a:lnTo>
                  <a:pt x="3867696" y="803910"/>
                </a:lnTo>
                <a:lnTo>
                  <a:pt x="3882085" y="763016"/>
                </a:lnTo>
                <a:lnTo>
                  <a:pt x="3887127" y="718464"/>
                </a:lnTo>
                <a:close/>
              </a:path>
              <a:path w="4842509" h="4812030">
                <a:moveTo>
                  <a:pt x="4802949" y="2826423"/>
                </a:moveTo>
                <a:lnTo>
                  <a:pt x="4797895" y="2781871"/>
                </a:lnTo>
                <a:lnTo>
                  <a:pt x="4783518" y="2740977"/>
                </a:lnTo>
                <a:lnTo>
                  <a:pt x="4760950" y="2704896"/>
                </a:lnTo>
                <a:lnTo>
                  <a:pt x="4731334" y="2674810"/>
                </a:lnTo>
                <a:lnTo>
                  <a:pt x="4695837" y="2651874"/>
                </a:lnTo>
                <a:lnTo>
                  <a:pt x="4655591" y="2637256"/>
                </a:lnTo>
                <a:lnTo>
                  <a:pt x="4611751" y="2632113"/>
                </a:lnTo>
                <a:lnTo>
                  <a:pt x="4567910" y="2637256"/>
                </a:lnTo>
                <a:lnTo>
                  <a:pt x="4527664" y="2651874"/>
                </a:lnTo>
                <a:lnTo>
                  <a:pt x="4492168" y="2674810"/>
                </a:lnTo>
                <a:lnTo>
                  <a:pt x="4462551" y="2704896"/>
                </a:lnTo>
                <a:lnTo>
                  <a:pt x="4439983" y="2740977"/>
                </a:lnTo>
                <a:lnTo>
                  <a:pt x="4425607" y="2781871"/>
                </a:lnTo>
                <a:lnTo>
                  <a:pt x="4420552" y="2826423"/>
                </a:lnTo>
                <a:lnTo>
                  <a:pt x="4425607" y="2870987"/>
                </a:lnTo>
                <a:lnTo>
                  <a:pt x="4439983" y="2911881"/>
                </a:lnTo>
                <a:lnTo>
                  <a:pt x="4462551" y="2947962"/>
                </a:lnTo>
                <a:lnTo>
                  <a:pt x="4492168" y="2978048"/>
                </a:lnTo>
                <a:lnTo>
                  <a:pt x="4527664" y="3000984"/>
                </a:lnTo>
                <a:lnTo>
                  <a:pt x="4567910" y="3015602"/>
                </a:lnTo>
                <a:lnTo>
                  <a:pt x="4611751" y="3020733"/>
                </a:lnTo>
                <a:lnTo>
                  <a:pt x="4655591" y="3015602"/>
                </a:lnTo>
                <a:lnTo>
                  <a:pt x="4695837" y="3000984"/>
                </a:lnTo>
                <a:lnTo>
                  <a:pt x="4731334" y="2978048"/>
                </a:lnTo>
                <a:lnTo>
                  <a:pt x="4760950" y="2947962"/>
                </a:lnTo>
                <a:lnTo>
                  <a:pt x="4783518" y="2911881"/>
                </a:lnTo>
                <a:lnTo>
                  <a:pt x="4797895" y="2870987"/>
                </a:lnTo>
                <a:lnTo>
                  <a:pt x="4802949" y="2826423"/>
                </a:lnTo>
                <a:close/>
              </a:path>
              <a:path w="4842509" h="4812030">
                <a:moveTo>
                  <a:pt x="4841951" y="3211792"/>
                </a:moveTo>
                <a:lnTo>
                  <a:pt x="4773104" y="3214001"/>
                </a:lnTo>
                <a:lnTo>
                  <a:pt x="4732858" y="3228619"/>
                </a:lnTo>
                <a:lnTo>
                  <a:pt x="4697349" y="3251555"/>
                </a:lnTo>
                <a:lnTo>
                  <a:pt x="4667745" y="3281642"/>
                </a:lnTo>
                <a:lnTo>
                  <a:pt x="4645177" y="3317722"/>
                </a:lnTo>
                <a:lnTo>
                  <a:pt x="4630788" y="3358629"/>
                </a:lnTo>
                <a:lnTo>
                  <a:pt x="4625746" y="3403181"/>
                </a:lnTo>
                <a:lnTo>
                  <a:pt x="4630788" y="3447732"/>
                </a:lnTo>
                <a:lnTo>
                  <a:pt x="4645177" y="3488626"/>
                </a:lnTo>
                <a:lnTo>
                  <a:pt x="4667745" y="3524707"/>
                </a:lnTo>
                <a:lnTo>
                  <a:pt x="4697349" y="3554806"/>
                </a:lnTo>
                <a:lnTo>
                  <a:pt x="4732858" y="3577742"/>
                </a:lnTo>
                <a:lnTo>
                  <a:pt x="4773104" y="3592360"/>
                </a:lnTo>
                <a:lnTo>
                  <a:pt x="4816945" y="3597491"/>
                </a:lnTo>
                <a:lnTo>
                  <a:pt x="4841951" y="3594557"/>
                </a:lnTo>
                <a:lnTo>
                  <a:pt x="4841951" y="3211792"/>
                </a:lnTo>
                <a:close/>
              </a:path>
              <a:path w="4842509" h="4812030">
                <a:moveTo>
                  <a:pt x="4841951" y="1851342"/>
                </a:moveTo>
                <a:lnTo>
                  <a:pt x="4807712" y="1884832"/>
                </a:lnTo>
                <a:lnTo>
                  <a:pt x="4783315" y="1919909"/>
                </a:lnTo>
                <a:lnTo>
                  <a:pt x="4765014" y="1959063"/>
                </a:lnTo>
                <a:lnTo>
                  <a:pt x="4753534" y="2001583"/>
                </a:lnTo>
                <a:lnTo>
                  <a:pt x="4749546" y="2046757"/>
                </a:lnTo>
                <a:lnTo>
                  <a:pt x="4753534" y="2091944"/>
                </a:lnTo>
                <a:lnTo>
                  <a:pt x="4765014" y="2134463"/>
                </a:lnTo>
                <a:lnTo>
                  <a:pt x="4783315" y="2173617"/>
                </a:lnTo>
                <a:lnTo>
                  <a:pt x="4807712" y="2208695"/>
                </a:lnTo>
                <a:lnTo>
                  <a:pt x="4837519" y="2238997"/>
                </a:lnTo>
                <a:lnTo>
                  <a:pt x="4841951" y="2242185"/>
                </a:lnTo>
                <a:lnTo>
                  <a:pt x="4841951" y="1851342"/>
                </a:lnTo>
                <a:close/>
              </a:path>
              <a:path w="4842509" h="4812030">
                <a:moveTo>
                  <a:pt x="4841951" y="582485"/>
                </a:moveTo>
                <a:lnTo>
                  <a:pt x="4189387" y="582485"/>
                </a:lnTo>
                <a:lnTo>
                  <a:pt x="4140073" y="592455"/>
                </a:lnTo>
                <a:lnTo>
                  <a:pt x="4099814" y="619594"/>
                </a:lnTo>
                <a:lnTo>
                  <a:pt x="4072674" y="659866"/>
                </a:lnTo>
                <a:lnTo>
                  <a:pt x="4062730" y="709168"/>
                </a:lnTo>
                <a:lnTo>
                  <a:pt x="4072674" y="758482"/>
                </a:lnTo>
                <a:lnTo>
                  <a:pt x="4099814" y="798753"/>
                </a:lnTo>
                <a:lnTo>
                  <a:pt x="4140073" y="825906"/>
                </a:lnTo>
                <a:lnTo>
                  <a:pt x="4189387" y="835850"/>
                </a:lnTo>
                <a:lnTo>
                  <a:pt x="4767542" y="835850"/>
                </a:lnTo>
                <a:lnTo>
                  <a:pt x="4736668" y="873556"/>
                </a:lnTo>
                <a:lnTo>
                  <a:pt x="4705045" y="911199"/>
                </a:lnTo>
                <a:lnTo>
                  <a:pt x="4672723" y="948778"/>
                </a:lnTo>
                <a:lnTo>
                  <a:pt x="4639742" y="986294"/>
                </a:lnTo>
                <a:lnTo>
                  <a:pt x="4606137" y="1023747"/>
                </a:lnTo>
                <a:lnTo>
                  <a:pt x="4571949" y="1061110"/>
                </a:lnTo>
                <a:lnTo>
                  <a:pt x="4537214" y="1098384"/>
                </a:lnTo>
                <a:lnTo>
                  <a:pt x="4501985" y="1135583"/>
                </a:lnTo>
                <a:lnTo>
                  <a:pt x="4466285" y="1172667"/>
                </a:lnTo>
                <a:lnTo>
                  <a:pt x="4430166" y="1209662"/>
                </a:lnTo>
                <a:lnTo>
                  <a:pt x="4393654" y="1246543"/>
                </a:lnTo>
                <a:lnTo>
                  <a:pt x="4356811" y="1283309"/>
                </a:lnTo>
                <a:lnTo>
                  <a:pt x="4319663" y="1319961"/>
                </a:lnTo>
                <a:lnTo>
                  <a:pt x="4282249" y="1356474"/>
                </a:lnTo>
                <a:lnTo>
                  <a:pt x="4206786" y="1429118"/>
                </a:lnTo>
                <a:lnTo>
                  <a:pt x="4092625" y="1536966"/>
                </a:lnTo>
                <a:lnTo>
                  <a:pt x="3735552" y="1867319"/>
                </a:lnTo>
                <a:lnTo>
                  <a:pt x="3567468" y="2024532"/>
                </a:lnTo>
                <a:lnTo>
                  <a:pt x="3485985" y="2102446"/>
                </a:lnTo>
                <a:lnTo>
                  <a:pt x="3446056" y="2141245"/>
                </a:lnTo>
                <a:lnTo>
                  <a:pt x="3406711" y="2179929"/>
                </a:lnTo>
                <a:lnTo>
                  <a:pt x="3368014" y="2218512"/>
                </a:lnTo>
                <a:lnTo>
                  <a:pt x="3330003" y="2256993"/>
                </a:lnTo>
                <a:lnTo>
                  <a:pt x="3292716" y="2295372"/>
                </a:lnTo>
                <a:lnTo>
                  <a:pt x="3256216" y="2333663"/>
                </a:lnTo>
                <a:lnTo>
                  <a:pt x="3220529" y="2371852"/>
                </a:lnTo>
                <a:lnTo>
                  <a:pt x="3185718" y="2409952"/>
                </a:lnTo>
                <a:lnTo>
                  <a:pt x="3151809" y="2447963"/>
                </a:lnTo>
                <a:lnTo>
                  <a:pt x="3118866" y="2485885"/>
                </a:lnTo>
                <a:lnTo>
                  <a:pt x="3086925" y="2523731"/>
                </a:lnTo>
                <a:lnTo>
                  <a:pt x="3056039" y="2561488"/>
                </a:lnTo>
                <a:lnTo>
                  <a:pt x="3026245" y="2599169"/>
                </a:lnTo>
                <a:lnTo>
                  <a:pt x="2997581" y="2636761"/>
                </a:lnTo>
                <a:lnTo>
                  <a:pt x="2970111" y="2674289"/>
                </a:lnTo>
                <a:lnTo>
                  <a:pt x="2943860" y="2711742"/>
                </a:lnTo>
                <a:lnTo>
                  <a:pt x="2918904" y="2749118"/>
                </a:lnTo>
                <a:lnTo>
                  <a:pt x="2895257" y="2786430"/>
                </a:lnTo>
                <a:lnTo>
                  <a:pt x="2872981" y="2823680"/>
                </a:lnTo>
                <a:lnTo>
                  <a:pt x="2852102" y="2860865"/>
                </a:lnTo>
                <a:lnTo>
                  <a:pt x="2832697" y="2898000"/>
                </a:lnTo>
                <a:lnTo>
                  <a:pt x="2814790" y="2935059"/>
                </a:lnTo>
                <a:lnTo>
                  <a:pt x="2798432" y="2972066"/>
                </a:lnTo>
                <a:lnTo>
                  <a:pt x="2783662" y="3009023"/>
                </a:lnTo>
                <a:lnTo>
                  <a:pt x="2770543" y="3045930"/>
                </a:lnTo>
                <a:lnTo>
                  <a:pt x="2749334" y="3114700"/>
                </a:lnTo>
                <a:lnTo>
                  <a:pt x="2731732" y="3182582"/>
                </a:lnTo>
                <a:lnTo>
                  <a:pt x="2717584" y="3249536"/>
                </a:lnTo>
                <a:lnTo>
                  <a:pt x="2706751" y="3315551"/>
                </a:lnTo>
                <a:lnTo>
                  <a:pt x="2699054" y="3380562"/>
                </a:lnTo>
                <a:lnTo>
                  <a:pt x="2694368" y="3444557"/>
                </a:lnTo>
                <a:lnTo>
                  <a:pt x="2692539" y="3507486"/>
                </a:lnTo>
                <a:lnTo>
                  <a:pt x="2693416" y="3569322"/>
                </a:lnTo>
                <a:lnTo>
                  <a:pt x="2696845" y="3630015"/>
                </a:lnTo>
                <a:lnTo>
                  <a:pt x="2702687" y="3689553"/>
                </a:lnTo>
                <a:lnTo>
                  <a:pt x="2710777" y="3747884"/>
                </a:lnTo>
                <a:lnTo>
                  <a:pt x="2720975" y="3804970"/>
                </a:lnTo>
                <a:lnTo>
                  <a:pt x="2733116" y="3860787"/>
                </a:lnTo>
                <a:lnTo>
                  <a:pt x="2747073" y="3915295"/>
                </a:lnTo>
                <a:lnTo>
                  <a:pt x="2762681" y="3968458"/>
                </a:lnTo>
                <a:lnTo>
                  <a:pt x="2779801" y="4020235"/>
                </a:lnTo>
                <a:lnTo>
                  <a:pt x="2798267" y="4070591"/>
                </a:lnTo>
                <a:lnTo>
                  <a:pt x="2817952" y="4119499"/>
                </a:lnTo>
                <a:lnTo>
                  <a:pt x="2838678" y="4166908"/>
                </a:lnTo>
                <a:lnTo>
                  <a:pt x="2860319" y="4212806"/>
                </a:lnTo>
                <a:lnTo>
                  <a:pt x="2882709" y="4257129"/>
                </a:lnTo>
                <a:lnTo>
                  <a:pt x="2905709" y="4299864"/>
                </a:lnTo>
                <a:lnTo>
                  <a:pt x="2929166" y="4340974"/>
                </a:lnTo>
                <a:lnTo>
                  <a:pt x="2952927" y="4380408"/>
                </a:lnTo>
                <a:lnTo>
                  <a:pt x="2976854" y="4418139"/>
                </a:lnTo>
                <a:lnTo>
                  <a:pt x="3000768" y="4454131"/>
                </a:lnTo>
                <a:lnTo>
                  <a:pt x="3024555" y="4488345"/>
                </a:lnTo>
                <a:lnTo>
                  <a:pt x="3048038" y="4520755"/>
                </a:lnTo>
                <a:lnTo>
                  <a:pt x="3071076" y="4551324"/>
                </a:lnTo>
                <a:lnTo>
                  <a:pt x="3115233" y="4606772"/>
                </a:lnTo>
                <a:lnTo>
                  <a:pt x="3155810" y="4654410"/>
                </a:lnTo>
                <a:lnTo>
                  <a:pt x="3191624" y="4693945"/>
                </a:lnTo>
                <a:lnTo>
                  <a:pt x="3221456" y="4725098"/>
                </a:lnTo>
                <a:lnTo>
                  <a:pt x="3252393" y="4755489"/>
                </a:lnTo>
                <a:lnTo>
                  <a:pt x="3289871" y="4785195"/>
                </a:lnTo>
                <a:lnTo>
                  <a:pt x="3352101" y="4808791"/>
                </a:lnTo>
                <a:lnTo>
                  <a:pt x="3384816" y="4811725"/>
                </a:lnTo>
                <a:lnTo>
                  <a:pt x="3422065" y="4807928"/>
                </a:lnTo>
                <a:lnTo>
                  <a:pt x="3491369" y="4777714"/>
                </a:lnTo>
                <a:lnTo>
                  <a:pt x="3520922" y="4751438"/>
                </a:lnTo>
                <a:lnTo>
                  <a:pt x="3548837" y="4710963"/>
                </a:lnTo>
                <a:lnTo>
                  <a:pt x="3564598" y="4666081"/>
                </a:lnTo>
                <a:lnTo>
                  <a:pt x="3568331" y="4619295"/>
                </a:lnTo>
                <a:lnTo>
                  <a:pt x="3560165" y="4573067"/>
                </a:lnTo>
                <a:lnTo>
                  <a:pt x="3540239" y="4529861"/>
                </a:lnTo>
                <a:lnTo>
                  <a:pt x="3508654" y="4492129"/>
                </a:lnTo>
                <a:lnTo>
                  <a:pt x="3500399" y="4484382"/>
                </a:lnTo>
                <a:lnTo>
                  <a:pt x="3484295" y="4468546"/>
                </a:lnTo>
                <a:lnTo>
                  <a:pt x="3433026" y="4413796"/>
                </a:lnTo>
                <a:lnTo>
                  <a:pt x="3400107" y="4375455"/>
                </a:lnTo>
                <a:lnTo>
                  <a:pt x="3363798" y="4330217"/>
                </a:lnTo>
                <a:lnTo>
                  <a:pt x="3325253" y="4278363"/>
                </a:lnTo>
                <a:lnTo>
                  <a:pt x="3285566" y="4220172"/>
                </a:lnTo>
                <a:lnTo>
                  <a:pt x="3245878" y="4155960"/>
                </a:lnTo>
                <a:lnTo>
                  <a:pt x="3207283" y="4085996"/>
                </a:lnTo>
                <a:lnTo>
                  <a:pt x="3803065" y="4085996"/>
                </a:lnTo>
                <a:lnTo>
                  <a:pt x="3852380" y="4076039"/>
                </a:lnTo>
                <a:lnTo>
                  <a:pt x="3892639" y="4048887"/>
                </a:lnTo>
                <a:lnTo>
                  <a:pt x="3919766" y="4008628"/>
                </a:lnTo>
                <a:lnTo>
                  <a:pt x="3929723" y="3959314"/>
                </a:lnTo>
                <a:lnTo>
                  <a:pt x="3919766" y="3910012"/>
                </a:lnTo>
                <a:lnTo>
                  <a:pt x="3892639" y="3869740"/>
                </a:lnTo>
                <a:lnTo>
                  <a:pt x="3852380" y="3842588"/>
                </a:lnTo>
                <a:lnTo>
                  <a:pt x="3803065" y="3832631"/>
                </a:lnTo>
                <a:lnTo>
                  <a:pt x="3106051" y="3832631"/>
                </a:lnTo>
                <a:lnTo>
                  <a:pt x="3093821" y="3786289"/>
                </a:lnTo>
                <a:lnTo>
                  <a:pt x="3083318" y="3738765"/>
                </a:lnTo>
                <a:lnTo>
                  <a:pt x="3074657" y="3690099"/>
                </a:lnTo>
                <a:lnTo>
                  <a:pt x="3068002" y="3640340"/>
                </a:lnTo>
                <a:lnTo>
                  <a:pt x="3063494" y="3589528"/>
                </a:lnTo>
                <a:lnTo>
                  <a:pt x="3061284" y="3537686"/>
                </a:lnTo>
                <a:lnTo>
                  <a:pt x="4186415" y="3537686"/>
                </a:lnTo>
                <a:lnTo>
                  <a:pt x="4235729" y="3527742"/>
                </a:lnTo>
                <a:lnTo>
                  <a:pt x="4275988" y="3500590"/>
                </a:lnTo>
                <a:lnTo>
                  <a:pt x="4303128" y="3460318"/>
                </a:lnTo>
                <a:lnTo>
                  <a:pt x="4313072" y="3411004"/>
                </a:lnTo>
                <a:lnTo>
                  <a:pt x="4303128" y="3361702"/>
                </a:lnTo>
                <a:lnTo>
                  <a:pt x="4275988" y="3321431"/>
                </a:lnTo>
                <a:lnTo>
                  <a:pt x="4235729" y="3294291"/>
                </a:lnTo>
                <a:lnTo>
                  <a:pt x="4186415" y="3284321"/>
                </a:lnTo>
                <a:lnTo>
                  <a:pt x="3085935" y="3284321"/>
                </a:lnTo>
                <a:lnTo>
                  <a:pt x="3092831" y="3254083"/>
                </a:lnTo>
                <a:lnTo>
                  <a:pt x="3109315" y="3192983"/>
                </a:lnTo>
                <a:lnTo>
                  <a:pt x="3133902" y="3122079"/>
                </a:lnTo>
                <a:lnTo>
                  <a:pt x="3151809" y="3081401"/>
                </a:lnTo>
                <a:lnTo>
                  <a:pt x="3172637" y="3040075"/>
                </a:lnTo>
                <a:lnTo>
                  <a:pt x="3196209" y="2998165"/>
                </a:lnTo>
                <a:lnTo>
                  <a:pt x="3222371" y="2955658"/>
                </a:lnTo>
                <a:lnTo>
                  <a:pt x="3222929" y="2955658"/>
                </a:lnTo>
                <a:lnTo>
                  <a:pt x="3223450" y="2955823"/>
                </a:lnTo>
                <a:lnTo>
                  <a:pt x="4085818" y="2955823"/>
                </a:lnTo>
                <a:lnTo>
                  <a:pt x="4086631" y="2955658"/>
                </a:lnTo>
                <a:lnTo>
                  <a:pt x="4135132" y="2945866"/>
                </a:lnTo>
                <a:lnTo>
                  <a:pt x="4175391" y="2918714"/>
                </a:lnTo>
                <a:lnTo>
                  <a:pt x="4202519" y="2878455"/>
                </a:lnTo>
                <a:lnTo>
                  <a:pt x="4212475" y="2829141"/>
                </a:lnTo>
                <a:lnTo>
                  <a:pt x="4202519" y="2779839"/>
                </a:lnTo>
                <a:lnTo>
                  <a:pt x="4175391" y="2739567"/>
                </a:lnTo>
                <a:lnTo>
                  <a:pt x="4135132" y="2712415"/>
                </a:lnTo>
                <a:lnTo>
                  <a:pt x="4085818" y="2702458"/>
                </a:lnTo>
                <a:lnTo>
                  <a:pt x="3416541" y="2702458"/>
                </a:lnTo>
                <a:lnTo>
                  <a:pt x="3446754" y="2668371"/>
                </a:lnTo>
                <a:lnTo>
                  <a:pt x="3477958" y="2634030"/>
                </a:lnTo>
                <a:lnTo>
                  <a:pt x="3510102" y="2599436"/>
                </a:lnTo>
                <a:lnTo>
                  <a:pt x="3543135" y="2564612"/>
                </a:lnTo>
                <a:lnTo>
                  <a:pt x="3577018" y="2529548"/>
                </a:lnTo>
                <a:lnTo>
                  <a:pt x="3611702" y="2494267"/>
                </a:lnTo>
                <a:lnTo>
                  <a:pt x="3647122" y="2458758"/>
                </a:lnTo>
                <a:lnTo>
                  <a:pt x="3683254" y="2423045"/>
                </a:lnTo>
                <a:lnTo>
                  <a:pt x="3720046" y="2387117"/>
                </a:lnTo>
                <a:lnTo>
                  <a:pt x="3795395" y="2314702"/>
                </a:lnTo>
                <a:lnTo>
                  <a:pt x="3912184" y="2204707"/>
                </a:lnTo>
                <a:lnTo>
                  <a:pt x="4351325" y="1798180"/>
                </a:lnTo>
                <a:lnTo>
                  <a:pt x="4468863" y="1687245"/>
                </a:lnTo>
                <a:lnTo>
                  <a:pt x="4546206" y="1612912"/>
                </a:lnTo>
                <a:lnTo>
                  <a:pt x="4584484" y="1575625"/>
                </a:lnTo>
                <a:lnTo>
                  <a:pt x="4622444" y="1538236"/>
                </a:lnTo>
                <a:lnTo>
                  <a:pt x="4660087" y="1500771"/>
                </a:lnTo>
                <a:lnTo>
                  <a:pt x="4697361" y="1463205"/>
                </a:lnTo>
                <a:lnTo>
                  <a:pt x="4734242" y="1425549"/>
                </a:lnTo>
                <a:lnTo>
                  <a:pt x="4770691" y="1387792"/>
                </a:lnTo>
                <a:lnTo>
                  <a:pt x="4806696" y="1349933"/>
                </a:lnTo>
                <a:lnTo>
                  <a:pt x="4841951" y="1312240"/>
                </a:lnTo>
                <a:lnTo>
                  <a:pt x="4841951" y="582485"/>
                </a:lnTo>
                <a:close/>
              </a:path>
              <a:path w="4842509" h="4812030">
                <a:moveTo>
                  <a:pt x="4841951" y="7937"/>
                </a:moveTo>
                <a:lnTo>
                  <a:pt x="4133786" y="7937"/>
                </a:lnTo>
                <a:lnTo>
                  <a:pt x="4084472" y="17907"/>
                </a:lnTo>
                <a:lnTo>
                  <a:pt x="4044213" y="45046"/>
                </a:lnTo>
                <a:lnTo>
                  <a:pt x="4017073" y="85318"/>
                </a:lnTo>
                <a:lnTo>
                  <a:pt x="4007129" y="134620"/>
                </a:lnTo>
                <a:lnTo>
                  <a:pt x="4017073" y="183934"/>
                </a:lnTo>
                <a:lnTo>
                  <a:pt x="4044213" y="224205"/>
                </a:lnTo>
                <a:lnTo>
                  <a:pt x="4084472" y="251358"/>
                </a:lnTo>
                <a:lnTo>
                  <a:pt x="4133786" y="261315"/>
                </a:lnTo>
                <a:lnTo>
                  <a:pt x="4841951" y="261315"/>
                </a:lnTo>
                <a:lnTo>
                  <a:pt x="4841951" y="7937"/>
                </a:lnTo>
                <a:close/>
              </a:path>
            </a:pathLst>
          </a:custGeom>
          <a:solidFill>
            <a:srgbClr val="0E5C77">
              <a:alpha val="23999"/>
            </a:srgbClr>
          </a:solidFill>
        </p:spPr>
        <p:txBody>
          <a:bodyPr wrap="square" lIns="0" tIns="0" rIns="0" bIns="0" rtlCol="0"/>
          <a:lstStyle/>
          <a:p>
            <a:endParaRPr/>
          </a:p>
        </p:txBody>
      </p:sp>
      <p:grpSp>
        <p:nvGrpSpPr>
          <p:cNvPr id="8" name="Group 7">
            <a:extLst>
              <a:ext uri="{FF2B5EF4-FFF2-40B4-BE49-F238E27FC236}">
                <a16:creationId xmlns:a16="http://schemas.microsoft.com/office/drawing/2014/main" id="{B5C08C7F-F671-37EF-FA4F-14868BE5D34B}"/>
              </a:ext>
            </a:extLst>
          </p:cNvPr>
          <p:cNvGrpSpPr/>
          <p:nvPr userDrawn="1"/>
        </p:nvGrpSpPr>
        <p:grpSpPr>
          <a:xfrm>
            <a:off x="391375" y="5191214"/>
            <a:ext cx="2957963" cy="1664692"/>
            <a:chOff x="391375" y="5191214"/>
            <a:chExt cx="2957963" cy="1664692"/>
          </a:xfrm>
        </p:grpSpPr>
        <p:sp>
          <p:nvSpPr>
            <p:cNvPr id="9" name="object 5">
              <a:extLst>
                <a:ext uri="{FF2B5EF4-FFF2-40B4-BE49-F238E27FC236}">
                  <a16:creationId xmlns:a16="http://schemas.microsoft.com/office/drawing/2014/main" id="{7CF38E78-8B18-E2DD-57F6-5A3EBF4CFBF8}"/>
                </a:ext>
              </a:extLst>
            </p:cNvPr>
            <p:cNvSpPr/>
            <p:nvPr/>
          </p:nvSpPr>
          <p:spPr>
            <a:xfrm>
              <a:off x="1985572" y="6805678"/>
              <a:ext cx="238965" cy="50095"/>
            </a:xfrm>
            <a:custGeom>
              <a:avLst/>
              <a:gdLst/>
              <a:ahLst/>
              <a:cxnLst/>
              <a:rect l="l" t="t" r="r" b="b"/>
              <a:pathLst>
                <a:path w="263525" h="55245">
                  <a:moveTo>
                    <a:pt x="131560" y="0"/>
                  </a:moveTo>
                  <a:lnTo>
                    <a:pt x="87719" y="5131"/>
                  </a:lnTo>
                  <a:lnTo>
                    <a:pt x="47474" y="19749"/>
                  </a:lnTo>
                  <a:lnTo>
                    <a:pt x="11974" y="42686"/>
                  </a:lnTo>
                  <a:lnTo>
                    <a:pt x="0" y="54855"/>
                  </a:lnTo>
                  <a:lnTo>
                    <a:pt x="263121" y="54855"/>
                  </a:lnTo>
                  <a:lnTo>
                    <a:pt x="251147" y="42686"/>
                  </a:lnTo>
                  <a:lnTo>
                    <a:pt x="215647" y="19749"/>
                  </a:lnTo>
                  <a:lnTo>
                    <a:pt x="175402" y="5131"/>
                  </a:lnTo>
                  <a:lnTo>
                    <a:pt x="131560" y="0"/>
                  </a:lnTo>
                  <a:close/>
                </a:path>
              </a:pathLst>
            </a:custGeom>
            <a:solidFill>
              <a:srgbClr val="0E5C77">
                <a:alpha val="23999"/>
              </a:srgbClr>
            </a:solidFill>
          </p:spPr>
          <p:txBody>
            <a:bodyPr wrap="square" lIns="0" tIns="0" rIns="0" bIns="0" rtlCol="0"/>
            <a:lstStyle/>
            <a:p>
              <a:endParaRPr/>
            </a:p>
          </p:txBody>
        </p:sp>
        <p:sp>
          <p:nvSpPr>
            <p:cNvPr id="10" name="object 6">
              <a:extLst>
                <a:ext uri="{FF2B5EF4-FFF2-40B4-BE49-F238E27FC236}">
                  <a16:creationId xmlns:a16="http://schemas.microsoft.com/office/drawing/2014/main" id="{01B1EF4C-ACBC-8DF2-F98F-A520632D49A8}"/>
                </a:ext>
              </a:extLst>
            </p:cNvPr>
            <p:cNvSpPr/>
            <p:nvPr/>
          </p:nvSpPr>
          <p:spPr>
            <a:xfrm>
              <a:off x="3002119" y="6641559"/>
              <a:ext cx="347219" cy="214205"/>
            </a:xfrm>
            <a:custGeom>
              <a:avLst/>
              <a:gdLst/>
              <a:ahLst/>
              <a:cxnLst/>
              <a:rect l="l" t="t" r="r" b="b"/>
              <a:pathLst>
                <a:path w="382904" h="236220">
                  <a:moveTo>
                    <a:pt x="191198" y="0"/>
                  </a:moveTo>
                  <a:lnTo>
                    <a:pt x="147357" y="5131"/>
                  </a:lnTo>
                  <a:lnTo>
                    <a:pt x="107112" y="19749"/>
                  </a:lnTo>
                  <a:lnTo>
                    <a:pt x="71611" y="42687"/>
                  </a:lnTo>
                  <a:lnTo>
                    <a:pt x="42002" y="72778"/>
                  </a:lnTo>
                  <a:lnTo>
                    <a:pt x="19432" y="108857"/>
                  </a:lnTo>
                  <a:lnTo>
                    <a:pt x="5049" y="149756"/>
                  </a:lnTo>
                  <a:lnTo>
                    <a:pt x="0" y="194310"/>
                  </a:lnTo>
                  <a:lnTo>
                    <a:pt x="4706" y="235840"/>
                  </a:lnTo>
                  <a:lnTo>
                    <a:pt x="377689" y="235840"/>
                  </a:lnTo>
                  <a:lnTo>
                    <a:pt x="382397" y="194310"/>
                  </a:lnTo>
                  <a:lnTo>
                    <a:pt x="377346" y="149756"/>
                  </a:lnTo>
                  <a:lnTo>
                    <a:pt x="362961" y="108857"/>
                  </a:lnTo>
                  <a:lnTo>
                    <a:pt x="340390" y="72778"/>
                  </a:lnTo>
                  <a:lnTo>
                    <a:pt x="310779" y="42687"/>
                  </a:lnTo>
                  <a:lnTo>
                    <a:pt x="275279" y="19749"/>
                  </a:lnTo>
                  <a:lnTo>
                    <a:pt x="235035" y="5131"/>
                  </a:lnTo>
                  <a:lnTo>
                    <a:pt x="191198" y="0"/>
                  </a:lnTo>
                  <a:close/>
                </a:path>
              </a:pathLst>
            </a:custGeom>
            <a:solidFill>
              <a:srgbClr val="0E5C77">
                <a:alpha val="23999"/>
              </a:srgbClr>
            </a:solidFill>
          </p:spPr>
          <p:txBody>
            <a:bodyPr wrap="square" lIns="0" tIns="0" rIns="0" bIns="0" rtlCol="0"/>
            <a:lstStyle/>
            <a:p>
              <a:endParaRPr/>
            </a:p>
          </p:txBody>
        </p:sp>
        <p:sp>
          <p:nvSpPr>
            <p:cNvPr id="11" name="object 7">
              <a:extLst>
                <a:ext uri="{FF2B5EF4-FFF2-40B4-BE49-F238E27FC236}">
                  <a16:creationId xmlns:a16="http://schemas.microsoft.com/office/drawing/2014/main" id="{C69F5CB4-EE4D-3E00-9E24-A5394A4C5C0E}"/>
                </a:ext>
              </a:extLst>
            </p:cNvPr>
            <p:cNvSpPr/>
            <p:nvPr/>
          </p:nvSpPr>
          <p:spPr>
            <a:xfrm>
              <a:off x="2877401" y="6040817"/>
              <a:ext cx="347219" cy="352401"/>
            </a:xfrm>
            <a:custGeom>
              <a:avLst/>
              <a:gdLst/>
              <a:ahLst/>
              <a:cxnLst/>
              <a:rect l="l" t="t" r="r" b="b"/>
              <a:pathLst>
                <a:path w="382904" h="388620">
                  <a:moveTo>
                    <a:pt x="191198" y="0"/>
                  </a:moveTo>
                  <a:lnTo>
                    <a:pt x="147357" y="5131"/>
                  </a:lnTo>
                  <a:lnTo>
                    <a:pt x="107112" y="19749"/>
                  </a:lnTo>
                  <a:lnTo>
                    <a:pt x="71611" y="42687"/>
                  </a:lnTo>
                  <a:lnTo>
                    <a:pt x="42002" y="72778"/>
                  </a:lnTo>
                  <a:lnTo>
                    <a:pt x="19432" y="108857"/>
                  </a:lnTo>
                  <a:lnTo>
                    <a:pt x="5049" y="149756"/>
                  </a:lnTo>
                  <a:lnTo>
                    <a:pt x="0" y="194309"/>
                  </a:lnTo>
                  <a:lnTo>
                    <a:pt x="5049" y="238863"/>
                  </a:lnTo>
                  <a:lnTo>
                    <a:pt x="19432" y="279762"/>
                  </a:lnTo>
                  <a:lnTo>
                    <a:pt x="42002" y="315841"/>
                  </a:lnTo>
                  <a:lnTo>
                    <a:pt x="71611" y="345932"/>
                  </a:lnTo>
                  <a:lnTo>
                    <a:pt x="107112" y="368870"/>
                  </a:lnTo>
                  <a:lnTo>
                    <a:pt x="147357" y="383488"/>
                  </a:lnTo>
                  <a:lnTo>
                    <a:pt x="191198" y="388619"/>
                  </a:lnTo>
                  <a:lnTo>
                    <a:pt x="235039" y="383488"/>
                  </a:lnTo>
                  <a:lnTo>
                    <a:pt x="275284" y="368870"/>
                  </a:lnTo>
                  <a:lnTo>
                    <a:pt x="310785" y="345932"/>
                  </a:lnTo>
                  <a:lnTo>
                    <a:pt x="340394" y="315841"/>
                  </a:lnTo>
                  <a:lnTo>
                    <a:pt x="362964" y="279762"/>
                  </a:lnTo>
                  <a:lnTo>
                    <a:pt x="377347" y="238863"/>
                  </a:lnTo>
                  <a:lnTo>
                    <a:pt x="382397" y="194309"/>
                  </a:lnTo>
                  <a:lnTo>
                    <a:pt x="377347" y="149756"/>
                  </a:lnTo>
                  <a:lnTo>
                    <a:pt x="362964" y="108857"/>
                  </a:lnTo>
                  <a:lnTo>
                    <a:pt x="340394" y="72778"/>
                  </a:lnTo>
                  <a:lnTo>
                    <a:pt x="310785" y="42687"/>
                  </a:lnTo>
                  <a:lnTo>
                    <a:pt x="275284" y="19749"/>
                  </a:lnTo>
                  <a:lnTo>
                    <a:pt x="235039" y="5131"/>
                  </a:lnTo>
                  <a:lnTo>
                    <a:pt x="191198" y="0"/>
                  </a:lnTo>
                  <a:close/>
                </a:path>
              </a:pathLst>
            </a:custGeom>
            <a:solidFill>
              <a:srgbClr val="0E5C77">
                <a:alpha val="23999"/>
              </a:srgbClr>
            </a:solidFill>
          </p:spPr>
          <p:txBody>
            <a:bodyPr wrap="square" lIns="0" tIns="0" rIns="0" bIns="0" rtlCol="0"/>
            <a:lstStyle/>
            <a:p>
              <a:endParaRPr/>
            </a:p>
          </p:txBody>
        </p:sp>
        <p:sp>
          <p:nvSpPr>
            <p:cNvPr id="12" name="object 8">
              <a:extLst>
                <a:ext uri="{FF2B5EF4-FFF2-40B4-BE49-F238E27FC236}">
                  <a16:creationId xmlns:a16="http://schemas.microsoft.com/office/drawing/2014/main" id="{D5CB64B5-EAB4-764D-E33F-11B3A4C5099E}"/>
                </a:ext>
              </a:extLst>
            </p:cNvPr>
            <p:cNvSpPr/>
            <p:nvPr/>
          </p:nvSpPr>
          <p:spPr>
            <a:xfrm>
              <a:off x="2210807" y="6183673"/>
              <a:ext cx="415741" cy="422651"/>
            </a:xfrm>
            <a:custGeom>
              <a:avLst/>
              <a:gdLst/>
              <a:ahLst/>
              <a:cxnLst/>
              <a:rect l="l" t="t" r="r" b="b"/>
              <a:pathLst>
                <a:path w="458469" h="466090">
                  <a:moveTo>
                    <a:pt x="229044" y="0"/>
                  </a:moveTo>
                  <a:lnTo>
                    <a:pt x="182885" y="4728"/>
                  </a:lnTo>
                  <a:lnTo>
                    <a:pt x="139892" y="18290"/>
                  </a:lnTo>
                  <a:lnTo>
                    <a:pt x="100986" y="39750"/>
                  </a:lnTo>
                  <a:lnTo>
                    <a:pt x="67087" y="68172"/>
                  </a:lnTo>
                  <a:lnTo>
                    <a:pt x="39118" y="102620"/>
                  </a:lnTo>
                  <a:lnTo>
                    <a:pt x="18000" y="142158"/>
                  </a:lnTo>
                  <a:lnTo>
                    <a:pt x="4653" y="185852"/>
                  </a:lnTo>
                  <a:lnTo>
                    <a:pt x="0" y="232765"/>
                  </a:lnTo>
                  <a:lnTo>
                    <a:pt x="4653" y="279679"/>
                  </a:lnTo>
                  <a:lnTo>
                    <a:pt x="18000" y="323374"/>
                  </a:lnTo>
                  <a:lnTo>
                    <a:pt x="39118" y="362915"/>
                  </a:lnTo>
                  <a:lnTo>
                    <a:pt x="67087" y="397365"/>
                  </a:lnTo>
                  <a:lnTo>
                    <a:pt x="100986" y="425789"/>
                  </a:lnTo>
                  <a:lnTo>
                    <a:pt x="139892" y="447251"/>
                  </a:lnTo>
                  <a:lnTo>
                    <a:pt x="182885" y="460814"/>
                  </a:lnTo>
                  <a:lnTo>
                    <a:pt x="229044" y="465543"/>
                  </a:lnTo>
                  <a:lnTo>
                    <a:pt x="275207" y="460814"/>
                  </a:lnTo>
                  <a:lnTo>
                    <a:pt x="318203" y="447251"/>
                  </a:lnTo>
                  <a:lnTo>
                    <a:pt x="357112" y="425789"/>
                  </a:lnTo>
                  <a:lnTo>
                    <a:pt x="391012" y="397365"/>
                  </a:lnTo>
                  <a:lnTo>
                    <a:pt x="418982" y="362915"/>
                  </a:lnTo>
                  <a:lnTo>
                    <a:pt x="440101" y="323374"/>
                  </a:lnTo>
                  <a:lnTo>
                    <a:pt x="453448" y="279679"/>
                  </a:lnTo>
                  <a:lnTo>
                    <a:pt x="458101" y="232765"/>
                  </a:lnTo>
                  <a:lnTo>
                    <a:pt x="453448" y="185852"/>
                  </a:lnTo>
                  <a:lnTo>
                    <a:pt x="440101" y="142158"/>
                  </a:lnTo>
                  <a:lnTo>
                    <a:pt x="418982" y="102620"/>
                  </a:lnTo>
                  <a:lnTo>
                    <a:pt x="391012" y="68172"/>
                  </a:lnTo>
                  <a:lnTo>
                    <a:pt x="357112" y="39750"/>
                  </a:lnTo>
                  <a:lnTo>
                    <a:pt x="318203" y="18290"/>
                  </a:lnTo>
                  <a:lnTo>
                    <a:pt x="275207" y="4728"/>
                  </a:lnTo>
                  <a:lnTo>
                    <a:pt x="229044" y="0"/>
                  </a:lnTo>
                  <a:close/>
                </a:path>
              </a:pathLst>
            </a:custGeom>
            <a:solidFill>
              <a:srgbClr val="0E5C77">
                <a:alpha val="23999"/>
              </a:srgbClr>
            </a:solidFill>
          </p:spPr>
          <p:txBody>
            <a:bodyPr wrap="square" lIns="0" tIns="0" rIns="0" bIns="0" rtlCol="0"/>
            <a:lstStyle/>
            <a:p>
              <a:endParaRPr/>
            </a:p>
          </p:txBody>
        </p:sp>
        <p:sp>
          <p:nvSpPr>
            <p:cNvPr id="13" name="object 9">
              <a:extLst>
                <a:ext uri="{FF2B5EF4-FFF2-40B4-BE49-F238E27FC236}">
                  <a16:creationId xmlns:a16="http://schemas.microsoft.com/office/drawing/2014/main" id="{544E0DFF-B974-C185-F664-2BB8D65D3E1C}"/>
                </a:ext>
              </a:extLst>
            </p:cNvPr>
            <p:cNvSpPr/>
            <p:nvPr/>
          </p:nvSpPr>
          <p:spPr>
            <a:xfrm>
              <a:off x="1993834" y="5340502"/>
              <a:ext cx="536087" cy="545300"/>
            </a:xfrm>
            <a:custGeom>
              <a:avLst/>
              <a:gdLst/>
              <a:ahLst/>
              <a:cxnLst/>
              <a:rect l="l" t="t" r="r" b="b"/>
              <a:pathLst>
                <a:path w="591185" h="601345">
                  <a:moveTo>
                    <a:pt x="295554" y="0"/>
                  </a:moveTo>
                  <a:lnTo>
                    <a:pt x="247613" y="3930"/>
                  </a:lnTo>
                  <a:lnTo>
                    <a:pt x="202135" y="15311"/>
                  </a:lnTo>
                  <a:lnTo>
                    <a:pt x="159728" y="33523"/>
                  </a:lnTo>
                  <a:lnTo>
                    <a:pt x="121002" y="57949"/>
                  </a:lnTo>
                  <a:lnTo>
                    <a:pt x="86564" y="87969"/>
                  </a:lnTo>
                  <a:lnTo>
                    <a:pt x="57024" y="122966"/>
                  </a:lnTo>
                  <a:lnTo>
                    <a:pt x="32988" y="162321"/>
                  </a:lnTo>
                  <a:lnTo>
                    <a:pt x="15067" y="205417"/>
                  </a:lnTo>
                  <a:lnTo>
                    <a:pt x="3868" y="251634"/>
                  </a:lnTo>
                  <a:lnTo>
                    <a:pt x="0" y="300354"/>
                  </a:lnTo>
                  <a:lnTo>
                    <a:pt x="3868" y="349075"/>
                  </a:lnTo>
                  <a:lnTo>
                    <a:pt x="15067" y="395294"/>
                  </a:lnTo>
                  <a:lnTo>
                    <a:pt x="32988" y="438390"/>
                  </a:lnTo>
                  <a:lnTo>
                    <a:pt x="57024" y="477747"/>
                  </a:lnTo>
                  <a:lnTo>
                    <a:pt x="86564" y="512746"/>
                  </a:lnTo>
                  <a:lnTo>
                    <a:pt x="121002" y="542768"/>
                  </a:lnTo>
                  <a:lnTo>
                    <a:pt x="159728" y="567195"/>
                  </a:lnTo>
                  <a:lnTo>
                    <a:pt x="202135" y="585409"/>
                  </a:lnTo>
                  <a:lnTo>
                    <a:pt x="247613" y="596791"/>
                  </a:lnTo>
                  <a:lnTo>
                    <a:pt x="295554" y="600722"/>
                  </a:lnTo>
                  <a:lnTo>
                    <a:pt x="343495" y="596791"/>
                  </a:lnTo>
                  <a:lnTo>
                    <a:pt x="388973" y="585409"/>
                  </a:lnTo>
                  <a:lnTo>
                    <a:pt x="431379" y="567195"/>
                  </a:lnTo>
                  <a:lnTo>
                    <a:pt x="470106" y="542768"/>
                  </a:lnTo>
                  <a:lnTo>
                    <a:pt x="504544" y="512746"/>
                  </a:lnTo>
                  <a:lnTo>
                    <a:pt x="534084" y="477747"/>
                  </a:lnTo>
                  <a:lnTo>
                    <a:pt x="558120" y="438390"/>
                  </a:lnTo>
                  <a:lnTo>
                    <a:pt x="576041" y="395294"/>
                  </a:lnTo>
                  <a:lnTo>
                    <a:pt x="587240" y="349075"/>
                  </a:lnTo>
                  <a:lnTo>
                    <a:pt x="591108" y="300354"/>
                  </a:lnTo>
                  <a:lnTo>
                    <a:pt x="587240" y="251634"/>
                  </a:lnTo>
                  <a:lnTo>
                    <a:pt x="576041" y="205417"/>
                  </a:lnTo>
                  <a:lnTo>
                    <a:pt x="558120" y="162321"/>
                  </a:lnTo>
                  <a:lnTo>
                    <a:pt x="534084" y="122966"/>
                  </a:lnTo>
                  <a:lnTo>
                    <a:pt x="504544" y="87969"/>
                  </a:lnTo>
                  <a:lnTo>
                    <a:pt x="470106" y="57949"/>
                  </a:lnTo>
                  <a:lnTo>
                    <a:pt x="431379" y="33523"/>
                  </a:lnTo>
                  <a:lnTo>
                    <a:pt x="388973" y="15311"/>
                  </a:lnTo>
                  <a:lnTo>
                    <a:pt x="343495" y="3930"/>
                  </a:lnTo>
                  <a:lnTo>
                    <a:pt x="295554" y="0"/>
                  </a:lnTo>
                  <a:close/>
                </a:path>
              </a:pathLst>
            </a:custGeom>
            <a:solidFill>
              <a:srgbClr val="0E5C77">
                <a:alpha val="23999"/>
              </a:srgbClr>
            </a:solidFill>
          </p:spPr>
          <p:txBody>
            <a:bodyPr wrap="square" lIns="0" tIns="0" rIns="0" bIns="0" rtlCol="0"/>
            <a:lstStyle/>
            <a:p>
              <a:endParaRPr/>
            </a:p>
          </p:txBody>
        </p:sp>
        <p:sp>
          <p:nvSpPr>
            <p:cNvPr id="14" name="object 10">
              <a:extLst>
                <a:ext uri="{FF2B5EF4-FFF2-40B4-BE49-F238E27FC236}">
                  <a16:creationId xmlns:a16="http://schemas.microsoft.com/office/drawing/2014/main" id="{BAF8C586-5508-CCC1-A9F6-94AC7AFA27D1}"/>
                </a:ext>
              </a:extLst>
            </p:cNvPr>
            <p:cNvSpPr/>
            <p:nvPr/>
          </p:nvSpPr>
          <p:spPr>
            <a:xfrm>
              <a:off x="391375" y="5191214"/>
              <a:ext cx="1400967" cy="1664692"/>
            </a:xfrm>
            <a:custGeom>
              <a:avLst/>
              <a:gdLst/>
              <a:ahLst/>
              <a:cxnLst/>
              <a:rect l="l" t="t" r="r" b="b"/>
              <a:pathLst>
                <a:path w="1544955" h="1835784">
                  <a:moveTo>
                    <a:pt x="925999" y="0"/>
                  </a:moveTo>
                  <a:lnTo>
                    <a:pt x="880349" y="10091"/>
                  </a:lnTo>
                  <a:lnTo>
                    <a:pt x="838161" y="31783"/>
                  </a:lnTo>
                  <a:lnTo>
                    <a:pt x="801852" y="64835"/>
                  </a:lnTo>
                  <a:lnTo>
                    <a:pt x="775520" y="106276"/>
                  </a:lnTo>
                  <a:lnTo>
                    <a:pt x="761475" y="151656"/>
                  </a:lnTo>
                  <a:lnTo>
                    <a:pt x="759491" y="198513"/>
                  </a:lnTo>
                  <a:lnTo>
                    <a:pt x="769344" y="244387"/>
                  </a:lnTo>
                  <a:lnTo>
                    <a:pt x="790808" y="286817"/>
                  </a:lnTo>
                  <a:lnTo>
                    <a:pt x="823658" y="323343"/>
                  </a:lnTo>
                  <a:lnTo>
                    <a:pt x="831988" y="330759"/>
                  </a:lnTo>
                  <a:lnTo>
                    <a:pt x="849099" y="347051"/>
                  </a:lnTo>
                  <a:lnTo>
                    <a:pt x="903479" y="405526"/>
                  </a:lnTo>
                  <a:lnTo>
                    <a:pt x="937656" y="447339"/>
                  </a:lnTo>
                  <a:lnTo>
                    <a:pt x="974430" y="497291"/>
                  </a:lnTo>
                  <a:lnTo>
                    <a:pt x="1012254" y="555196"/>
                  </a:lnTo>
                  <a:lnTo>
                    <a:pt x="1049583" y="620872"/>
                  </a:lnTo>
                  <a:lnTo>
                    <a:pt x="1084872" y="694132"/>
                  </a:lnTo>
                  <a:lnTo>
                    <a:pt x="513257" y="694132"/>
                  </a:lnTo>
                  <a:lnTo>
                    <a:pt x="463952" y="704088"/>
                  </a:lnTo>
                  <a:lnTo>
                    <a:pt x="423684" y="731237"/>
                  </a:lnTo>
                  <a:lnTo>
                    <a:pt x="396532" y="771504"/>
                  </a:lnTo>
                  <a:lnTo>
                    <a:pt x="386575" y="820815"/>
                  </a:lnTo>
                  <a:lnTo>
                    <a:pt x="396532" y="870120"/>
                  </a:lnTo>
                  <a:lnTo>
                    <a:pt x="423684" y="910388"/>
                  </a:lnTo>
                  <a:lnTo>
                    <a:pt x="463952" y="937540"/>
                  </a:lnTo>
                  <a:lnTo>
                    <a:pt x="513257" y="947497"/>
                  </a:lnTo>
                  <a:lnTo>
                    <a:pt x="1161059" y="947497"/>
                  </a:lnTo>
                  <a:lnTo>
                    <a:pt x="1168059" y="994539"/>
                  </a:lnTo>
                  <a:lnTo>
                    <a:pt x="1173078" y="1043098"/>
                  </a:lnTo>
                  <a:lnTo>
                    <a:pt x="1175954" y="1093166"/>
                  </a:lnTo>
                  <a:lnTo>
                    <a:pt x="1176527" y="1144733"/>
                  </a:lnTo>
                  <a:lnTo>
                    <a:pt x="1174633" y="1197788"/>
                  </a:lnTo>
                  <a:lnTo>
                    <a:pt x="1170114" y="1252323"/>
                  </a:lnTo>
                  <a:lnTo>
                    <a:pt x="1163053" y="1251103"/>
                  </a:lnTo>
                  <a:lnTo>
                    <a:pt x="1155890" y="1250138"/>
                  </a:lnTo>
                  <a:lnTo>
                    <a:pt x="126682" y="1250138"/>
                  </a:lnTo>
                  <a:lnTo>
                    <a:pt x="77372" y="1260095"/>
                  </a:lnTo>
                  <a:lnTo>
                    <a:pt x="37104" y="1287248"/>
                  </a:lnTo>
                  <a:lnTo>
                    <a:pt x="9955" y="1327516"/>
                  </a:lnTo>
                  <a:lnTo>
                    <a:pt x="0" y="1376821"/>
                  </a:lnTo>
                  <a:lnTo>
                    <a:pt x="9955" y="1426133"/>
                  </a:lnTo>
                  <a:lnTo>
                    <a:pt x="37104" y="1466405"/>
                  </a:lnTo>
                  <a:lnTo>
                    <a:pt x="77372" y="1493559"/>
                  </a:lnTo>
                  <a:lnTo>
                    <a:pt x="126682" y="1503516"/>
                  </a:lnTo>
                  <a:lnTo>
                    <a:pt x="1109611" y="1503516"/>
                  </a:lnTo>
                  <a:lnTo>
                    <a:pt x="1091637" y="1549292"/>
                  </a:lnTo>
                  <a:lnTo>
                    <a:pt x="1071709" y="1595118"/>
                  </a:lnTo>
                  <a:lnTo>
                    <a:pt x="1049893" y="1640986"/>
                  </a:lnTo>
                  <a:lnTo>
                    <a:pt x="1026255" y="1686883"/>
                  </a:lnTo>
                  <a:lnTo>
                    <a:pt x="1000859" y="1732802"/>
                  </a:lnTo>
                  <a:lnTo>
                    <a:pt x="973771" y="1778731"/>
                  </a:lnTo>
                  <a:lnTo>
                    <a:pt x="945057" y="1824661"/>
                  </a:lnTo>
                  <a:lnTo>
                    <a:pt x="182283" y="1824661"/>
                  </a:lnTo>
                  <a:lnTo>
                    <a:pt x="132972" y="1834618"/>
                  </a:lnTo>
                  <a:lnTo>
                    <a:pt x="132035" y="1835250"/>
                  </a:lnTo>
                  <a:lnTo>
                    <a:pt x="1365030" y="1835250"/>
                  </a:lnTo>
                  <a:lnTo>
                    <a:pt x="1398211" y="1767887"/>
                  </a:lnTo>
                  <a:lnTo>
                    <a:pt x="1416703" y="1726988"/>
                  </a:lnTo>
                  <a:lnTo>
                    <a:pt x="1434056" y="1685916"/>
                  </a:lnTo>
                  <a:lnTo>
                    <a:pt x="1450240" y="1644667"/>
                  </a:lnTo>
                  <a:lnTo>
                    <a:pt x="1465225" y="1603237"/>
                  </a:lnTo>
                  <a:lnTo>
                    <a:pt x="1478982" y="1561625"/>
                  </a:lnTo>
                  <a:lnTo>
                    <a:pt x="1491481" y="1519827"/>
                  </a:lnTo>
                  <a:lnTo>
                    <a:pt x="1502692" y="1477840"/>
                  </a:lnTo>
                  <a:lnTo>
                    <a:pt x="1512585" y="1435660"/>
                  </a:lnTo>
                  <a:lnTo>
                    <a:pt x="1521130" y="1393285"/>
                  </a:lnTo>
                  <a:lnTo>
                    <a:pt x="1528298" y="1350711"/>
                  </a:lnTo>
                  <a:lnTo>
                    <a:pt x="1534058" y="1307936"/>
                  </a:lnTo>
                  <a:lnTo>
                    <a:pt x="1541211" y="1230596"/>
                  </a:lnTo>
                  <a:lnTo>
                    <a:pt x="1544382" y="1155425"/>
                  </a:lnTo>
                  <a:lnTo>
                    <a:pt x="1543828" y="1082452"/>
                  </a:lnTo>
                  <a:lnTo>
                    <a:pt x="1539804" y="1011702"/>
                  </a:lnTo>
                  <a:lnTo>
                    <a:pt x="1532569" y="943204"/>
                  </a:lnTo>
                  <a:lnTo>
                    <a:pt x="1522380" y="876984"/>
                  </a:lnTo>
                  <a:lnTo>
                    <a:pt x="1509492" y="813069"/>
                  </a:lnTo>
                  <a:lnTo>
                    <a:pt x="1494164" y="751487"/>
                  </a:lnTo>
                  <a:lnTo>
                    <a:pt x="1476653" y="692264"/>
                  </a:lnTo>
                  <a:lnTo>
                    <a:pt x="1457214" y="635429"/>
                  </a:lnTo>
                  <a:lnTo>
                    <a:pt x="1436106" y="581007"/>
                  </a:lnTo>
                  <a:lnTo>
                    <a:pt x="1413584" y="529026"/>
                  </a:lnTo>
                  <a:lnTo>
                    <a:pt x="1389907" y="479514"/>
                  </a:lnTo>
                  <a:lnTo>
                    <a:pt x="1365331" y="432497"/>
                  </a:lnTo>
                  <a:lnTo>
                    <a:pt x="1340113" y="388002"/>
                  </a:lnTo>
                  <a:lnTo>
                    <a:pt x="1314510" y="346057"/>
                  </a:lnTo>
                  <a:lnTo>
                    <a:pt x="1288779" y="306688"/>
                  </a:lnTo>
                  <a:lnTo>
                    <a:pt x="1263177" y="269924"/>
                  </a:lnTo>
                  <a:lnTo>
                    <a:pt x="1237961" y="235790"/>
                  </a:lnTo>
                  <a:lnTo>
                    <a:pt x="1213388" y="204314"/>
                  </a:lnTo>
                  <a:lnTo>
                    <a:pt x="1167198" y="149446"/>
                  </a:lnTo>
                  <a:lnTo>
                    <a:pt x="1126663" y="105535"/>
                  </a:lnTo>
                  <a:lnTo>
                    <a:pt x="1093839" y="72800"/>
                  </a:lnTo>
                  <a:lnTo>
                    <a:pt x="1059548" y="41721"/>
                  </a:lnTo>
                  <a:lnTo>
                    <a:pt x="1018016" y="15575"/>
                  </a:lnTo>
                  <a:lnTo>
                    <a:pt x="972694" y="1748"/>
                  </a:lnTo>
                  <a:lnTo>
                    <a:pt x="925999" y="0"/>
                  </a:lnTo>
                  <a:close/>
                </a:path>
              </a:pathLst>
            </a:custGeom>
            <a:solidFill>
              <a:srgbClr val="0E5C77">
                <a:alpha val="23999"/>
              </a:srgbClr>
            </a:solidFill>
          </p:spPr>
          <p:txBody>
            <a:bodyPr wrap="square" lIns="0" tIns="0" rIns="0" bIns="0" rtlCol="0"/>
            <a:lstStyle/>
            <a:p>
              <a:endParaRPr/>
            </a:p>
          </p:txBody>
        </p:sp>
      </p:grpSp>
      <p:sp>
        <p:nvSpPr>
          <p:cNvPr id="30" name="Footer Placeholder 4">
            <a:extLst>
              <a:ext uri="{FF2B5EF4-FFF2-40B4-BE49-F238E27FC236}">
                <a16:creationId xmlns:a16="http://schemas.microsoft.com/office/drawing/2014/main" id="{02C401B5-B453-3BF0-01CE-3F0F63B03A02}"/>
              </a:ext>
            </a:extLst>
          </p:cNvPr>
          <p:cNvSpPr>
            <a:spLocks noGrp="1"/>
          </p:cNvSpPr>
          <p:nvPr>
            <p:ph type="ftr" sz="quarter" idx="3"/>
          </p:nvPr>
        </p:nvSpPr>
        <p:spPr>
          <a:xfrm>
            <a:off x="731520" y="6114954"/>
            <a:ext cx="8924387" cy="365125"/>
          </a:xfrm>
          <a:prstGeom prst="rect">
            <a:avLst/>
          </a:prstGeom>
        </p:spPr>
        <p:txBody>
          <a:bodyPr/>
          <a:lstStyle>
            <a:lvl1pPr>
              <a:defRPr sz="1400">
                <a:solidFill>
                  <a:schemeClr val="bg1"/>
                </a:solidFill>
              </a:defRPr>
            </a:lvl1pPr>
          </a:lstStyle>
          <a:p>
            <a:endParaRPr lang="en-GB" dirty="0"/>
          </a:p>
        </p:txBody>
      </p:sp>
      <p:grpSp>
        <p:nvGrpSpPr>
          <p:cNvPr id="4" name="object 41">
            <a:extLst>
              <a:ext uri="{FF2B5EF4-FFF2-40B4-BE49-F238E27FC236}">
                <a16:creationId xmlns:a16="http://schemas.microsoft.com/office/drawing/2014/main" id="{4AA4F7D3-F6E8-EAB2-F7FF-BD27C0DB60AC}"/>
              </a:ext>
            </a:extLst>
          </p:cNvPr>
          <p:cNvGrpSpPr/>
          <p:nvPr userDrawn="1"/>
        </p:nvGrpSpPr>
        <p:grpSpPr>
          <a:xfrm>
            <a:off x="10681097" y="5820975"/>
            <a:ext cx="651156" cy="708550"/>
            <a:chOff x="5598848" y="1620229"/>
            <a:chExt cx="2190115" cy="2383155"/>
          </a:xfrm>
        </p:grpSpPr>
        <p:pic>
          <p:nvPicPr>
            <p:cNvPr id="5" name="object 42">
              <a:extLst>
                <a:ext uri="{FF2B5EF4-FFF2-40B4-BE49-F238E27FC236}">
                  <a16:creationId xmlns:a16="http://schemas.microsoft.com/office/drawing/2014/main" id="{E917381C-8FE5-3CAD-273B-51DCDB6727FC}"/>
                </a:ext>
              </a:extLst>
            </p:cNvPr>
            <p:cNvPicPr/>
            <p:nvPr/>
          </p:nvPicPr>
          <p:blipFill>
            <a:blip r:embed="rId2" cstate="print"/>
            <a:stretch>
              <a:fillRect/>
            </a:stretch>
          </p:blipFill>
          <p:spPr>
            <a:xfrm>
              <a:off x="7161630" y="1899091"/>
              <a:ext cx="113817" cy="115671"/>
            </a:xfrm>
            <a:prstGeom prst="rect">
              <a:avLst/>
            </a:prstGeom>
          </p:spPr>
        </p:pic>
        <p:pic>
          <p:nvPicPr>
            <p:cNvPr id="6" name="object 43">
              <a:extLst>
                <a:ext uri="{FF2B5EF4-FFF2-40B4-BE49-F238E27FC236}">
                  <a16:creationId xmlns:a16="http://schemas.microsoft.com/office/drawing/2014/main" id="{6EC3B691-15D3-272C-C984-5D8D7AB4D44B}"/>
                </a:ext>
              </a:extLst>
            </p:cNvPr>
            <p:cNvPicPr/>
            <p:nvPr/>
          </p:nvPicPr>
          <p:blipFill>
            <a:blip r:embed="rId3" cstate="print"/>
            <a:stretch>
              <a:fillRect/>
            </a:stretch>
          </p:blipFill>
          <p:spPr>
            <a:xfrm>
              <a:off x="5598848" y="1620229"/>
              <a:ext cx="2189904" cy="2382902"/>
            </a:xfrm>
            <a:prstGeom prst="rect">
              <a:avLst/>
            </a:prstGeom>
          </p:spPr>
        </p:pic>
        <p:pic>
          <p:nvPicPr>
            <p:cNvPr id="7" name="object 44">
              <a:extLst>
                <a:ext uri="{FF2B5EF4-FFF2-40B4-BE49-F238E27FC236}">
                  <a16:creationId xmlns:a16="http://schemas.microsoft.com/office/drawing/2014/main" id="{26C44628-116B-F318-B8E0-DE32F2332BC6}"/>
                </a:ext>
              </a:extLst>
            </p:cNvPr>
            <p:cNvPicPr/>
            <p:nvPr/>
          </p:nvPicPr>
          <p:blipFill>
            <a:blip r:embed="rId4" cstate="print"/>
            <a:stretch>
              <a:fillRect/>
            </a:stretch>
          </p:blipFill>
          <p:spPr>
            <a:xfrm>
              <a:off x="6871611" y="1669224"/>
              <a:ext cx="175945" cy="178803"/>
            </a:xfrm>
            <a:prstGeom prst="rect">
              <a:avLst/>
            </a:prstGeom>
          </p:spPr>
        </p:pic>
      </p:grpSp>
      <p:sp>
        <p:nvSpPr>
          <p:cNvPr id="15" name="object 14">
            <a:extLst>
              <a:ext uri="{FF2B5EF4-FFF2-40B4-BE49-F238E27FC236}">
                <a16:creationId xmlns:a16="http://schemas.microsoft.com/office/drawing/2014/main" id="{45F4DC08-150F-4A25-716A-90191F21FDC9}"/>
              </a:ext>
            </a:extLst>
          </p:cNvPr>
          <p:cNvSpPr/>
          <p:nvPr userDrawn="1"/>
        </p:nvSpPr>
        <p:spPr>
          <a:xfrm rot="10800000">
            <a:off x="-308147" y="5862122"/>
            <a:ext cx="562114" cy="584428"/>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sp>
        <p:nvSpPr>
          <p:cNvPr id="16" name="object 14">
            <a:extLst>
              <a:ext uri="{FF2B5EF4-FFF2-40B4-BE49-F238E27FC236}">
                <a16:creationId xmlns:a16="http://schemas.microsoft.com/office/drawing/2014/main" id="{01D5C4C6-F307-4C2A-EEA2-C7230077C63A}"/>
              </a:ext>
            </a:extLst>
          </p:cNvPr>
          <p:cNvSpPr/>
          <p:nvPr userDrawn="1"/>
        </p:nvSpPr>
        <p:spPr>
          <a:xfrm rot="10800000">
            <a:off x="-650" y="6776735"/>
            <a:ext cx="360745" cy="375065"/>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sp>
        <p:nvSpPr>
          <p:cNvPr id="17" name="object 14">
            <a:extLst>
              <a:ext uri="{FF2B5EF4-FFF2-40B4-BE49-F238E27FC236}">
                <a16:creationId xmlns:a16="http://schemas.microsoft.com/office/drawing/2014/main" id="{ED0436A5-966C-D05D-FD27-2ED35FF09750}"/>
              </a:ext>
            </a:extLst>
          </p:cNvPr>
          <p:cNvSpPr/>
          <p:nvPr userDrawn="1"/>
        </p:nvSpPr>
        <p:spPr>
          <a:xfrm rot="10800000">
            <a:off x="8761227" y="264563"/>
            <a:ext cx="262322" cy="272735"/>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sp>
        <p:nvSpPr>
          <p:cNvPr id="19" name="object 14">
            <a:extLst>
              <a:ext uri="{FF2B5EF4-FFF2-40B4-BE49-F238E27FC236}">
                <a16:creationId xmlns:a16="http://schemas.microsoft.com/office/drawing/2014/main" id="{B1D59208-AF3F-67F9-AFEE-0B79028CDC85}"/>
              </a:ext>
            </a:extLst>
          </p:cNvPr>
          <p:cNvSpPr/>
          <p:nvPr userDrawn="1"/>
        </p:nvSpPr>
        <p:spPr>
          <a:xfrm rot="10800000">
            <a:off x="8268251" y="-287815"/>
            <a:ext cx="492976" cy="512545"/>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sp>
        <p:nvSpPr>
          <p:cNvPr id="2" name="Title 1">
            <a:extLst>
              <a:ext uri="{FF2B5EF4-FFF2-40B4-BE49-F238E27FC236}">
                <a16:creationId xmlns:a16="http://schemas.microsoft.com/office/drawing/2014/main" id="{E70AF5EC-C3A2-AE47-AC58-C795316B7127}"/>
              </a:ext>
            </a:extLst>
          </p:cNvPr>
          <p:cNvSpPr>
            <a:spLocks noGrp="1"/>
          </p:cNvSpPr>
          <p:nvPr>
            <p:ph type="title"/>
          </p:nvPr>
        </p:nvSpPr>
        <p:spPr>
          <a:xfrm>
            <a:off x="737870" y="593213"/>
            <a:ext cx="8910320" cy="752109"/>
          </a:xfrm>
        </p:spPr>
        <p:txBody>
          <a:bodyPr anchor="b">
            <a:normAutofit/>
          </a:bodyPr>
          <a:lstStyle>
            <a:lvl1pPr>
              <a:defRPr sz="4400">
                <a:solidFill>
                  <a:schemeClr val="bg2"/>
                </a:solidFill>
                <a:latin typeface="Quicksand" pitchFamily="2" charset="0"/>
              </a:defRPr>
            </a:lvl1pPr>
          </a:lstStyle>
          <a:p>
            <a:r>
              <a:rPr lang="en-GB"/>
              <a:t>Click to edit Master title style</a:t>
            </a:r>
            <a:endParaRPr lang="en-GB" dirty="0"/>
          </a:p>
        </p:txBody>
      </p:sp>
      <p:sp>
        <p:nvSpPr>
          <p:cNvPr id="21" name="Content Placeholder 2">
            <a:extLst>
              <a:ext uri="{FF2B5EF4-FFF2-40B4-BE49-F238E27FC236}">
                <a16:creationId xmlns:a16="http://schemas.microsoft.com/office/drawing/2014/main" id="{AAEEF4C6-3B07-140E-7DCD-3597EF49B188}"/>
              </a:ext>
            </a:extLst>
          </p:cNvPr>
          <p:cNvSpPr>
            <a:spLocks noGrp="1"/>
          </p:cNvSpPr>
          <p:nvPr>
            <p:ph idx="1"/>
          </p:nvPr>
        </p:nvSpPr>
        <p:spPr>
          <a:xfrm>
            <a:off x="751840" y="1825625"/>
            <a:ext cx="10703150" cy="3772535"/>
          </a:xfrm>
          <a:prstGeom prst="rect">
            <a:avLst/>
          </a:prstGeom>
        </p:spPr>
        <p:txBody>
          <a:bodyPr/>
          <a:lstStyle>
            <a:lvl1pPr>
              <a:buClr>
                <a:schemeClr val="bg2"/>
              </a:buClr>
              <a:defRPr sz="2800">
                <a:solidFill>
                  <a:schemeClr val="accent3"/>
                </a:solidFill>
                <a:latin typeface="Quicksand" pitchFamily="2" charset="0"/>
              </a:defRPr>
            </a:lvl1pPr>
            <a:lvl2pPr marL="182563" indent="-182563">
              <a:buClr>
                <a:schemeClr val="bg2"/>
              </a:buClr>
              <a:buFont typeface="Arial" panose="020B0604020202020204" pitchFamily="34" charset="0"/>
              <a:buChar char="•"/>
              <a:defRPr>
                <a:solidFill>
                  <a:schemeClr val="accent3"/>
                </a:solidFill>
                <a:latin typeface="Quicksand" pitchFamily="2" charset="0"/>
              </a:defRPr>
            </a:lvl2pPr>
            <a:lvl3pPr marL="684000" indent="-182563">
              <a:buClr>
                <a:schemeClr val="bg2"/>
              </a:buClr>
              <a:buFont typeface="System Font Regular"/>
              <a:buChar char="-"/>
              <a:defRPr>
                <a:solidFill>
                  <a:schemeClr val="accent3"/>
                </a:solidFill>
                <a:latin typeface="Quicksand" pitchFamily="2" charset="0"/>
              </a:defRPr>
            </a:lvl3pPr>
            <a:lvl4pPr marL="1368000" indent="-182563">
              <a:buClr>
                <a:schemeClr val="bg2"/>
              </a:buClr>
              <a:buFont typeface="Arial" panose="020B0604020202020204" pitchFamily="34" charset="0"/>
              <a:buChar char="•"/>
              <a:defRPr>
                <a:solidFill>
                  <a:schemeClr val="accent3"/>
                </a:solidFill>
                <a:latin typeface="Quicksand" pitchFamily="2" charset="0"/>
              </a:defRPr>
            </a:lvl4pPr>
            <a:lvl5pPr marL="2052000" indent="-182563">
              <a:buClr>
                <a:schemeClr val="bg2"/>
              </a:buClr>
              <a:buFont typeface="System Font Regular"/>
              <a:buChar char="-"/>
              <a:defRPr>
                <a:solidFill>
                  <a:schemeClr val="accent3"/>
                </a:solidFill>
                <a:latin typeface="Quicksand"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464907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 Black">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2D00DCAC-C40F-C3B9-F022-BCEE66A66A0B}"/>
              </a:ext>
            </a:extLst>
          </p:cNvPr>
          <p:cNvSpPr/>
          <p:nvPr userDrawn="1"/>
        </p:nvSpPr>
        <p:spPr>
          <a:xfrm>
            <a:off x="0" y="0"/>
            <a:ext cx="12192000" cy="6855696"/>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chemeClr val="tx1"/>
          </a:solidFill>
        </p:spPr>
        <p:txBody>
          <a:bodyPr wrap="square" lIns="0" tIns="0" rIns="0" bIns="0" rtlCol="0"/>
          <a:lstStyle/>
          <a:p>
            <a:endParaRPr sz="2000"/>
          </a:p>
        </p:txBody>
      </p:sp>
      <p:sp>
        <p:nvSpPr>
          <p:cNvPr id="2" name="Title 1">
            <a:extLst>
              <a:ext uri="{FF2B5EF4-FFF2-40B4-BE49-F238E27FC236}">
                <a16:creationId xmlns:a16="http://schemas.microsoft.com/office/drawing/2014/main" id="{E70AF5EC-C3A2-AE47-AC58-C795316B7127}"/>
              </a:ext>
            </a:extLst>
          </p:cNvPr>
          <p:cNvSpPr>
            <a:spLocks noGrp="1"/>
          </p:cNvSpPr>
          <p:nvPr>
            <p:ph type="title"/>
          </p:nvPr>
        </p:nvSpPr>
        <p:spPr>
          <a:xfrm>
            <a:off x="744122" y="593213"/>
            <a:ext cx="8904068" cy="752109"/>
          </a:xfrm>
        </p:spPr>
        <p:txBody>
          <a:bodyPr anchor="b">
            <a:normAutofit/>
          </a:bodyPr>
          <a:lstStyle>
            <a:lvl1pPr>
              <a:defRPr sz="4400">
                <a:solidFill>
                  <a:schemeClr val="tx2"/>
                </a:solidFill>
                <a:latin typeface="Quicksand" pitchFamily="2" charset="0"/>
              </a:defRPr>
            </a:lvl1pPr>
          </a:lstStyle>
          <a:p>
            <a:r>
              <a:rPr lang="en-GB"/>
              <a:t>Click to edit Master title style</a:t>
            </a:r>
            <a:endParaRPr lang="en-GB" dirty="0"/>
          </a:p>
        </p:txBody>
      </p:sp>
      <p:grpSp>
        <p:nvGrpSpPr>
          <p:cNvPr id="4" name="object 41">
            <a:extLst>
              <a:ext uri="{FF2B5EF4-FFF2-40B4-BE49-F238E27FC236}">
                <a16:creationId xmlns:a16="http://schemas.microsoft.com/office/drawing/2014/main" id="{FBC006D3-0A54-93B6-4CCC-16B74A7470A7}"/>
              </a:ext>
            </a:extLst>
          </p:cNvPr>
          <p:cNvGrpSpPr/>
          <p:nvPr userDrawn="1"/>
        </p:nvGrpSpPr>
        <p:grpSpPr>
          <a:xfrm>
            <a:off x="10681097" y="5820975"/>
            <a:ext cx="651156" cy="708550"/>
            <a:chOff x="5598848" y="1620229"/>
            <a:chExt cx="2190115" cy="2383155"/>
          </a:xfrm>
        </p:grpSpPr>
        <p:pic>
          <p:nvPicPr>
            <p:cNvPr id="5" name="object 42">
              <a:extLst>
                <a:ext uri="{FF2B5EF4-FFF2-40B4-BE49-F238E27FC236}">
                  <a16:creationId xmlns:a16="http://schemas.microsoft.com/office/drawing/2014/main" id="{3DC9DC2C-26DF-CC61-5EF9-0D16A177B12B}"/>
                </a:ext>
              </a:extLst>
            </p:cNvPr>
            <p:cNvPicPr/>
            <p:nvPr/>
          </p:nvPicPr>
          <p:blipFill>
            <a:blip r:embed="rId2" cstate="print"/>
            <a:stretch>
              <a:fillRect/>
            </a:stretch>
          </p:blipFill>
          <p:spPr>
            <a:xfrm>
              <a:off x="7161630" y="1899091"/>
              <a:ext cx="113817" cy="115671"/>
            </a:xfrm>
            <a:prstGeom prst="rect">
              <a:avLst/>
            </a:prstGeom>
          </p:spPr>
        </p:pic>
        <p:pic>
          <p:nvPicPr>
            <p:cNvPr id="6" name="object 43">
              <a:extLst>
                <a:ext uri="{FF2B5EF4-FFF2-40B4-BE49-F238E27FC236}">
                  <a16:creationId xmlns:a16="http://schemas.microsoft.com/office/drawing/2014/main" id="{DE522677-B305-5913-4089-A926AF11D491}"/>
                </a:ext>
              </a:extLst>
            </p:cNvPr>
            <p:cNvPicPr/>
            <p:nvPr/>
          </p:nvPicPr>
          <p:blipFill>
            <a:blip r:embed="rId3" cstate="print"/>
            <a:stretch>
              <a:fillRect/>
            </a:stretch>
          </p:blipFill>
          <p:spPr>
            <a:xfrm>
              <a:off x="5598848" y="1620229"/>
              <a:ext cx="2189904" cy="2382902"/>
            </a:xfrm>
            <a:prstGeom prst="rect">
              <a:avLst/>
            </a:prstGeom>
          </p:spPr>
        </p:pic>
        <p:pic>
          <p:nvPicPr>
            <p:cNvPr id="7" name="object 44">
              <a:extLst>
                <a:ext uri="{FF2B5EF4-FFF2-40B4-BE49-F238E27FC236}">
                  <a16:creationId xmlns:a16="http://schemas.microsoft.com/office/drawing/2014/main" id="{54E2F8A9-7845-E09E-8B79-723848C5AA1D}"/>
                </a:ext>
              </a:extLst>
            </p:cNvPr>
            <p:cNvPicPr/>
            <p:nvPr/>
          </p:nvPicPr>
          <p:blipFill>
            <a:blip r:embed="rId4" cstate="print"/>
            <a:stretch>
              <a:fillRect/>
            </a:stretch>
          </p:blipFill>
          <p:spPr>
            <a:xfrm>
              <a:off x="6871611" y="1669224"/>
              <a:ext cx="175945" cy="178803"/>
            </a:xfrm>
            <a:prstGeom prst="rect">
              <a:avLst/>
            </a:prstGeom>
          </p:spPr>
        </p:pic>
      </p:grpSp>
      <p:grpSp>
        <p:nvGrpSpPr>
          <p:cNvPr id="8" name="Group 7">
            <a:extLst>
              <a:ext uri="{FF2B5EF4-FFF2-40B4-BE49-F238E27FC236}">
                <a16:creationId xmlns:a16="http://schemas.microsoft.com/office/drawing/2014/main" id="{1FBF597C-A0FC-EE2B-C75A-6AFEBEC69750}"/>
              </a:ext>
            </a:extLst>
          </p:cNvPr>
          <p:cNvGrpSpPr/>
          <p:nvPr userDrawn="1"/>
        </p:nvGrpSpPr>
        <p:grpSpPr>
          <a:xfrm>
            <a:off x="9598" y="4391414"/>
            <a:ext cx="3729812" cy="2464571"/>
            <a:chOff x="9598" y="4391414"/>
            <a:chExt cx="3729812" cy="2464571"/>
          </a:xfrm>
        </p:grpSpPr>
        <p:sp>
          <p:nvSpPr>
            <p:cNvPr id="9" name="object 3">
              <a:extLst>
                <a:ext uri="{FF2B5EF4-FFF2-40B4-BE49-F238E27FC236}">
                  <a16:creationId xmlns:a16="http://schemas.microsoft.com/office/drawing/2014/main" id="{8FECB771-16CA-A0E5-0DFE-DEA5D2B1B8F4}"/>
                </a:ext>
              </a:extLst>
            </p:cNvPr>
            <p:cNvSpPr/>
            <p:nvPr/>
          </p:nvSpPr>
          <p:spPr>
            <a:xfrm>
              <a:off x="1102322" y="6790972"/>
              <a:ext cx="599427" cy="64492"/>
            </a:xfrm>
            <a:custGeom>
              <a:avLst/>
              <a:gdLst/>
              <a:ahLst/>
              <a:cxnLst/>
              <a:rect l="l" t="t" r="r" b="b"/>
              <a:pathLst>
                <a:path w="661035" h="71120">
                  <a:moveTo>
                    <a:pt x="547984" y="0"/>
                  </a:moveTo>
                  <a:lnTo>
                    <a:pt x="112463" y="0"/>
                  </a:lnTo>
                  <a:lnTo>
                    <a:pt x="63146" y="9955"/>
                  </a:lnTo>
                  <a:lnTo>
                    <a:pt x="22888" y="37104"/>
                  </a:lnTo>
                  <a:lnTo>
                    <a:pt x="0" y="71071"/>
                  </a:lnTo>
                  <a:lnTo>
                    <a:pt x="660448" y="71071"/>
                  </a:lnTo>
                  <a:lnTo>
                    <a:pt x="637559" y="37104"/>
                  </a:lnTo>
                  <a:lnTo>
                    <a:pt x="597301" y="9955"/>
                  </a:lnTo>
                  <a:lnTo>
                    <a:pt x="547984" y="0"/>
                  </a:lnTo>
                  <a:close/>
                </a:path>
              </a:pathLst>
            </a:custGeom>
            <a:solidFill>
              <a:srgbClr val="00AFFF">
                <a:alpha val="23999"/>
              </a:srgbClr>
            </a:solidFill>
          </p:spPr>
          <p:txBody>
            <a:bodyPr wrap="square" lIns="0" tIns="0" rIns="0" bIns="0" rtlCol="0"/>
            <a:lstStyle/>
            <a:p>
              <a:endParaRPr/>
            </a:p>
          </p:txBody>
        </p:sp>
        <p:sp>
          <p:nvSpPr>
            <p:cNvPr id="10" name="object 4">
              <a:extLst>
                <a:ext uri="{FF2B5EF4-FFF2-40B4-BE49-F238E27FC236}">
                  <a16:creationId xmlns:a16="http://schemas.microsoft.com/office/drawing/2014/main" id="{D3CA8ECF-9710-8720-2CD0-DA636B54B0B5}"/>
                </a:ext>
              </a:extLst>
            </p:cNvPr>
            <p:cNvSpPr/>
            <p:nvPr/>
          </p:nvSpPr>
          <p:spPr>
            <a:xfrm>
              <a:off x="1847987" y="6161548"/>
              <a:ext cx="770445" cy="694437"/>
            </a:xfrm>
            <a:custGeom>
              <a:avLst/>
              <a:gdLst/>
              <a:ahLst/>
              <a:cxnLst/>
              <a:rect l="l" t="t" r="r" b="b"/>
              <a:pathLst>
                <a:path w="849630" h="765809">
                  <a:moveTo>
                    <a:pt x="277797" y="0"/>
                  </a:moveTo>
                  <a:lnTo>
                    <a:pt x="232138" y="10089"/>
                  </a:lnTo>
                  <a:lnTo>
                    <a:pt x="189939" y="31774"/>
                  </a:lnTo>
                  <a:lnTo>
                    <a:pt x="153625" y="64816"/>
                  </a:lnTo>
                  <a:lnTo>
                    <a:pt x="127301" y="106257"/>
                  </a:lnTo>
                  <a:lnTo>
                    <a:pt x="113256" y="151637"/>
                  </a:lnTo>
                  <a:lnTo>
                    <a:pt x="111269" y="198494"/>
                  </a:lnTo>
                  <a:lnTo>
                    <a:pt x="121117" y="244368"/>
                  </a:lnTo>
                  <a:lnTo>
                    <a:pt x="142578" y="286798"/>
                  </a:lnTo>
                  <a:lnTo>
                    <a:pt x="175431" y="323324"/>
                  </a:lnTo>
                  <a:lnTo>
                    <a:pt x="183761" y="330740"/>
                  </a:lnTo>
                  <a:lnTo>
                    <a:pt x="200872" y="347032"/>
                  </a:lnTo>
                  <a:lnTo>
                    <a:pt x="255253" y="405507"/>
                  </a:lnTo>
                  <a:lnTo>
                    <a:pt x="289431" y="447320"/>
                  </a:lnTo>
                  <a:lnTo>
                    <a:pt x="326206" y="497272"/>
                  </a:lnTo>
                  <a:lnTo>
                    <a:pt x="364033" y="555177"/>
                  </a:lnTo>
                  <a:lnTo>
                    <a:pt x="401365" y="620853"/>
                  </a:lnTo>
                  <a:lnTo>
                    <a:pt x="436657" y="694113"/>
                  </a:lnTo>
                  <a:lnTo>
                    <a:pt x="112464" y="694113"/>
                  </a:lnTo>
                  <a:lnTo>
                    <a:pt x="63147" y="704069"/>
                  </a:lnTo>
                  <a:lnTo>
                    <a:pt x="22889" y="731218"/>
                  </a:lnTo>
                  <a:lnTo>
                    <a:pt x="0" y="765186"/>
                  </a:lnTo>
                  <a:lnTo>
                    <a:pt x="849346" y="765186"/>
                  </a:lnTo>
                  <a:lnTo>
                    <a:pt x="828420" y="692250"/>
                  </a:lnTo>
                  <a:lnTo>
                    <a:pt x="808980" y="635413"/>
                  </a:lnTo>
                  <a:lnTo>
                    <a:pt x="787871" y="580991"/>
                  </a:lnTo>
                  <a:lnTo>
                    <a:pt x="765348" y="529010"/>
                  </a:lnTo>
                  <a:lnTo>
                    <a:pt x="741670" y="479497"/>
                  </a:lnTo>
                  <a:lnTo>
                    <a:pt x="717092" y="432480"/>
                  </a:lnTo>
                  <a:lnTo>
                    <a:pt x="691873" y="387985"/>
                  </a:lnTo>
                  <a:lnTo>
                    <a:pt x="666269" y="346039"/>
                  </a:lnTo>
                  <a:lnTo>
                    <a:pt x="640536" y="306670"/>
                  </a:lnTo>
                  <a:lnTo>
                    <a:pt x="614933" y="269906"/>
                  </a:lnTo>
                  <a:lnTo>
                    <a:pt x="589716" y="235772"/>
                  </a:lnTo>
                  <a:lnTo>
                    <a:pt x="565141" y="204296"/>
                  </a:lnTo>
                  <a:lnTo>
                    <a:pt x="518949" y="149427"/>
                  </a:lnTo>
                  <a:lnTo>
                    <a:pt x="478413" y="105516"/>
                  </a:lnTo>
                  <a:lnTo>
                    <a:pt x="445588" y="72781"/>
                  </a:lnTo>
                  <a:lnTo>
                    <a:pt x="411295" y="41702"/>
                  </a:lnTo>
                  <a:lnTo>
                    <a:pt x="369801" y="15566"/>
                  </a:lnTo>
                  <a:lnTo>
                    <a:pt x="324493" y="1745"/>
                  </a:lnTo>
                  <a:lnTo>
                    <a:pt x="277797" y="0"/>
                  </a:lnTo>
                  <a:close/>
                </a:path>
              </a:pathLst>
            </a:custGeom>
            <a:solidFill>
              <a:srgbClr val="00AFFF">
                <a:alpha val="23999"/>
              </a:srgbClr>
            </a:solidFill>
          </p:spPr>
          <p:txBody>
            <a:bodyPr wrap="square" lIns="0" tIns="0" rIns="0" bIns="0" rtlCol="0"/>
            <a:lstStyle/>
            <a:p>
              <a:endParaRPr/>
            </a:p>
          </p:txBody>
        </p:sp>
        <p:sp>
          <p:nvSpPr>
            <p:cNvPr id="11" name="object 5">
              <a:extLst>
                <a:ext uri="{FF2B5EF4-FFF2-40B4-BE49-F238E27FC236}">
                  <a16:creationId xmlns:a16="http://schemas.microsoft.com/office/drawing/2014/main" id="{2862B2D7-BDD5-F2B2-3968-D2FDB60BD32C}"/>
                </a:ext>
              </a:extLst>
            </p:cNvPr>
            <p:cNvSpPr/>
            <p:nvPr/>
          </p:nvSpPr>
          <p:spPr>
            <a:xfrm>
              <a:off x="1441820" y="6005878"/>
              <a:ext cx="347219" cy="352401"/>
            </a:xfrm>
            <a:custGeom>
              <a:avLst/>
              <a:gdLst/>
              <a:ahLst/>
              <a:cxnLst/>
              <a:rect l="l" t="t" r="r" b="b"/>
              <a:pathLst>
                <a:path w="382905" h="388620">
                  <a:moveTo>
                    <a:pt x="191198" y="0"/>
                  </a:moveTo>
                  <a:lnTo>
                    <a:pt x="147357" y="5131"/>
                  </a:lnTo>
                  <a:lnTo>
                    <a:pt x="107112" y="19749"/>
                  </a:lnTo>
                  <a:lnTo>
                    <a:pt x="71611" y="42686"/>
                  </a:lnTo>
                  <a:lnTo>
                    <a:pt x="42002" y="72776"/>
                  </a:lnTo>
                  <a:lnTo>
                    <a:pt x="19432" y="108852"/>
                  </a:lnTo>
                  <a:lnTo>
                    <a:pt x="5049" y="149748"/>
                  </a:lnTo>
                  <a:lnTo>
                    <a:pt x="0" y="194297"/>
                  </a:lnTo>
                  <a:lnTo>
                    <a:pt x="5049" y="238850"/>
                  </a:lnTo>
                  <a:lnTo>
                    <a:pt x="19432" y="279750"/>
                  </a:lnTo>
                  <a:lnTo>
                    <a:pt x="42002" y="315828"/>
                  </a:lnTo>
                  <a:lnTo>
                    <a:pt x="71611" y="345919"/>
                  </a:lnTo>
                  <a:lnTo>
                    <a:pt x="107112" y="368857"/>
                  </a:lnTo>
                  <a:lnTo>
                    <a:pt x="147357" y="383475"/>
                  </a:lnTo>
                  <a:lnTo>
                    <a:pt x="191198" y="388607"/>
                  </a:lnTo>
                  <a:lnTo>
                    <a:pt x="235039" y="383475"/>
                  </a:lnTo>
                  <a:lnTo>
                    <a:pt x="275284" y="368857"/>
                  </a:lnTo>
                  <a:lnTo>
                    <a:pt x="310785" y="345919"/>
                  </a:lnTo>
                  <a:lnTo>
                    <a:pt x="340394" y="315828"/>
                  </a:lnTo>
                  <a:lnTo>
                    <a:pt x="362964" y="279750"/>
                  </a:lnTo>
                  <a:lnTo>
                    <a:pt x="377347" y="238850"/>
                  </a:lnTo>
                  <a:lnTo>
                    <a:pt x="382397" y="194297"/>
                  </a:lnTo>
                  <a:lnTo>
                    <a:pt x="377347" y="149748"/>
                  </a:lnTo>
                  <a:lnTo>
                    <a:pt x="362964" y="108852"/>
                  </a:lnTo>
                  <a:lnTo>
                    <a:pt x="340394" y="72776"/>
                  </a:lnTo>
                  <a:lnTo>
                    <a:pt x="310785" y="42686"/>
                  </a:lnTo>
                  <a:lnTo>
                    <a:pt x="275284" y="19749"/>
                  </a:lnTo>
                  <a:lnTo>
                    <a:pt x="235039" y="5131"/>
                  </a:lnTo>
                  <a:lnTo>
                    <a:pt x="191198" y="0"/>
                  </a:lnTo>
                  <a:close/>
                </a:path>
              </a:pathLst>
            </a:custGeom>
            <a:solidFill>
              <a:srgbClr val="00AFFF">
                <a:alpha val="23999"/>
              </a:srgbClr>
            </a:solidFill>
          </p:spPr>
          <p:txBody>
            <a:bodyPr wrap="square" lIns="0" tIns="0" rIns="0" bIns="0" rtlCol="0"/>
            <a:lstStyle/>
            <a:p>
              <a:endParaRPr/>
            </a:p>
          </p:txBody>
        </p:sp>
        <p:sp>
          <p:nvSpPr>
            <p:cNvPr id="12" name="object 6">
              <a:extLst>
                <a:ext uri="{FF2B5EF4-FFF2-40B4-BE49-F238E27FC236}">
                  <a16:creationId xmlns:a16="http://schemas.microsoft.com/office/drawing/2014/main" id="{2D450728-55B2-39CD-7B12-8A800D0D1A22}"/>
                </a:ext>
              </a:extLst>
            </p:cNvPr>
            <p:cNvSpPr/>
            <p:nvPr/>
          </p:nvSpPr>
          <p:spPr>
            <a:xfrm>
              <a:off x="2512448" y="5841762"/>
              <a:ext cx="347219" cy="352401"/>
            </a:xfrm>
            <a:custGeom>
              <a:avLst/>
              <a:gdLst/>
              <a:ahLst/>
              <a:cxnLst/>
              <a:rect l="l" t="t" r="r" b="b"/>
              <a:pathLst>
                <a:path w="382905" h="388620">
                  <a:moveTo>
                    <a:pt x="191198" y="0"/>
                  </a:moveTo>
                  <a:lnTo>
                    <a:pt x="147357" y="5131"/>
                  </a:lnTo>
                  <a:lnTo>
                    <a:pt x="107112" y="19749"/>
                  </a:lnTo>
                  <a:lnTo>
                    <a:pt x="71611" y="42687"/>
                  </a:lnTo>
                  <a:lnTo>
                    <a:pt x="42002" y="72778"/>
                  </a:lnTo>
                  <a:lnTo>
                    <a:pt x="19432" y="108857"/>
                  </a:lnTo>
                  <a:lnTo>
                    <a:pt x="5049" y="149756"/>
                  </a:lnTo>
                  <a:lnTo>
                    <a:pt x="0" y="194310"/>
                  </a:lnTo>
                  <a:lnTo>
                    <a:pt x="5049" y="238863"/>
                  </a:lnTo>
                  <a:lnTo>
                    <a:pt x="19432" y="279762"/>
                  </a:lnTo>
                  <a:lnTo>
                    <a:pt x="42002" y="315841"/>
                  </a:lnTo>
                  <a:lnTo>
                    <a:pt x="71611" y="345932"/>
                  </a:lnTo>
                  <a:lnTo>
                    <a:pt x="107112" y="368870"/>
                  </a:lnTo>
                  <a:lnTo>
                    <a:pt x="147357" y="383488"/>
                  </a:lnTo>
                  <a:lnTo>
                    <a:pt x="191198" y="388620"/>
                  </a:lnTo>
                  <a:lnTo>
                    <a:pt x="235035" y="383488"/>
                  </a:lnTo>
                  <a:lnTo>
                    <a:pt x="275279" y="368870"/>
                  </a:lnTo>
                  <a:lnTo>
                    <a:pt x="310779" y="345932"/>
                  </a:lnTo>
                  <a:lnTo>
                    <a:pt x="340390" y="315841"/>
                  </a:lnTo>
                  <a:lnTo>
                    <a:pt x="362961" y="279762"/>
                  </a:lnTo>
                  <a:lnTo>
                    <a:pt x="377346" y="238863"/>
                  </a:lnTo>
                  <a:lnTo>
                    <a:pt x="382397" y="194310"/>
                  </a:lnTo>
                  <a:lnTo>
                    <a:pt x="377346" y="149756"/>
                  </a:lnTo>
                  <a:lnTo>
                    <a:pt x="362961" y="108857"/>
                  </a:lnTo>
                  <a:lnTo>
                    <a:pt x="340390" y="72778"/>
                  </a:lnTo>
                  <a:lnTo>
                    <a:pt x="310779" y="42687"/>
                  </a:lnTo>
                  <a:lnTo>
                    <a:pt x="275279" y="19749"/>
                  </a:lnTo>
                  <a:lnTo>
                    <a:pt x="235035" y="5131"/>
                  </a:lnTo>
                  <a:lnTo>
                    <a:pt x="191198" y="0"/>
                  </a:lnTo>
                  <a:close/>
                </a:path>
              </a:pathLst>
            </a:custGeom>
            <a:solidFill>
              <a:srgbClr val="00AFFF">
                <a:alpha val="23999"/>
              </a:srgbClr>
            </a:solidFill>
          </p:spPr>
          <p:txBody>
            <a:bodyPr wrap="square" lIns="0" tIns="0" rIns="0" bIns="0" rtlCol="0"/>
            <a:lstStyle/>
            <a:p>
              <a:endParaRPr/>
            </a:p>
          </p:txBody>
        </p:sp>
        <p:sp>
          <p:nvSpPr>
            <p:cNvPr id="13" name="object 7">
              <a:extLst>
                <a:ext uri="{FF2B5EF4-FFF2-40B4-BE49-F238E27FC236}">
                  <a16:creationId xmlns:a16="http://schemas.microsoft.com/office/drawing/2014/main" id="{14B3E2E4-7B25-7179-7814-2E18247203F3}"/>
                </a:ext>
              </a:extLst>
            </p:cNvPr>
            <p:cNvSpPr/>
            <p:nvPr/>
          </p:nvSpPr>
          <p:spPr>
            <a:xfrm>
              <a:off x="2387729" y="5241019"/>
              <a:ext cx="347219" cy="352401"/>
            </a:xfrm>
            <a:custGeom>
              <a:avLst/>
              <a:gdLst/>
              <a:ahLst/>
              <a:cxnLst/>
              <a:rect l="l" t="t" r="r" b="b"/>
              <a:pathLst>
                <a:path w="382905" h="388620">
                  <a:moveTo>
                    <a:pt x="191198" y="0"/>
                  </a:moveTo>
                  <a:lnTo>
                    <a:pt x="147357" y="5131"/>
                  </a:lnTo>
                  <a:lnTo>
                    <a:pt x="107112" y="19749"/>
                  </a:lnTo>
                  <a:lnTo>
                    <a:pt x="71611" y="42687"/>
                  </a:lnTo>
                  <a:lnTo>
                    <a:pt x="42002" y="72778"/>
                  </a:lnTo>
                  <a:lnTo>
                    <a:pt x="19432" y="108857"/>
                  </a:lnTo>
                  <a:lnTo>
                    <a:pt x="5049" y="149756"/>
                  </a:lnTo>
                  <a:lnTo>
                    <a:pt x="0" y="194309"/>
                  </a:lnTo>
                  <a:lnTo>
                    <a:pt x="5049" y="238863"/>
                  </a:lnTo>
                  <a:lnTo>
                    <a:pt x="19432" y="279762"/>
                  </a:lnTo>
                  <a:lnTo>
                    <a:pt x="42002" y="315841"/>
                  </a:lnTo>
                  <a:lnTo>
                    <a:pt x="71611" y="345932"/>
                  </a:lnTo>
                  <a:lnTo>
                    <a:pt x="107112" y="368870"/>
                  </a:lnTo>
                  <a:lnTo>
                    <a:pt x="147357" y="383488"/>
                  </a:lnTo>
                  <a:lnTo>
                    <a:pt x="191198" y="388619"/>
                  </a:lnTo>
                  <a:lnTo>
                    <a:pt x="235039" y="383488"/>
                  </a:lnTo>
                  <a:lnTo>
                    <a:pt x="275284" y="368870"/>
                  </a:lnTo>
                  <a:lnTo>
                    <a:pt x="310785" y="345932"/>
                  </a:lnTo>
                  <a:lnTo>
                    <a:pt x="340394" y="315841"/>
                  </a:lnTo>
                  <a:lnTo>
                    <a:pt x="362964" y="279762"/>
                  </a:lnTo>
                  <a:lnTo>
                    <a:pt x="377347" y="238863"/>
                  </a:lnTo>
                  <a:lnTo>
                    <a:pt x="382397" y="194309"/>
                  </a:lnTo>
                  <a:lnTo>
                    <a:pt x="377347" y="149756"/>
                  </a:lnTo>
                  <a:lnTo>
                    <a:pt x="362964" y="108857"/>
                  </a:lnTo>
                  <a:lnTo>
                    <a:pt x="340394" y="72778"/>
                  </a:lnTo>
                  <a:lnTo>
                    <a:pt x="310785" y="42687"/>
                  </a:lnTo>
                  <a:lnTo>
                    <a:pt x="275284" y="19749"/>
                  </a:lnTo>
                  <a:lnTo>
                    <a:pt x="235039" y="5131"/>
                  </a:lnTo>
                  <a:lnTo>
                    <a:pt x="191198" y="0"/>
                  </a:lnTo>
                  <a:close/>
                </a:path>
              </a:pathLst>
            </a:custGeom>
            <a:solidFill>
              <a:srgbClr val="00AFFF">
                <a:alpha val="23999"/>
              </a:srgbClr>
            </a:solidFill>
          </p:spPr>
          <p:txBody>
            <a:bodyPr wrap="square" lIns="0" tIns="0" rIns="0" bIns="0" rtlCol="0"/>
            <a:lstStyle/>
            <a:p>
              <a:endParaRPr/>
            </a:p>
          </p:txBody>
        </p:sp>
        <p:sp>
          <p:nvSpPr>
            <p:cNvPr id="14" name="object 8">
              <a:extLst>
                <a:ext uri="{FF2B5EF4-FFF2-40B4-BE49-F238E27FC236}">
                  <a16:creationId xmlns:a16="http://schemas.microsoft.com/office/drawing/2014/main" id="{2CFC7019-072F-B9FC-DA69-CEFBC5ABD001}"/>
                </a:ext>
              </a:extLst>
            </p:cNvPr>
            <p:cNvSpPr/>
            <p:nvPr/>
          </p:nvSpPr>
          <p:spPr>
            <a:xfrm>
              <a:off x="1721136" y="5383874"/>
              <a:ext cx="415741" cy="422651"/>
            </a:xfrm>
            <a:custGeom>
              <a:avLst/>
              <a:gdLst/>
              <a:ahLst/>
              <a:cxnLst/>
              <a:rect l="l" t="t" r="r" b="b"/>
              <a:pathLst>
                <a:path w="458469" h="466089">
                  <a:moveTo>
                    <a:pt x="229044" y="0"/>
                  </a:moveTo>
                  <a:lnTo>
                    <a:pt x="182885" y="4728"/>
                  </a:lnTo>
                  <a:lnTo>
                    <a:pt x="139892" y="18290"/>
                  </a:lnTo>
                  <a:lnTo>
                    <a:pt x="100986" y="39750"/>
                  </a:lnTo>
                  <a:lnTo>
                    <a:pt x="67087" y="68172"/>
                  </a:lnTo>
                  <a:lnTo>
                    <a:pt x="39118" y="102620"/>
                  </a:lnTo>
                  <a:lnTo>
                    <a:pt x="18000" y="142158"/>
                  </a:lnTo>
                  <a:lnTo>
                    <a:pt x="4653" y="185852"/>
                  </a:lnTo>
                  <a:lnTo>
                    <a:pt x="0" y="232765"/>
                  </a:lnTo>
                  <a:lnTo>
                    <a:pt x="4653" y="279679"/>
                  </a:lnTo>
                  <a:lnTo>
                    <a:pt x="18000" y="323374"/>
                  </a:lnTo>
                  <a:lnTo>
                    <a:pt x="39118" y="362915"/>
                  </a:lnTo>
                  <a:lnTo>
                    <a:pt x="67087" y="397365"/>
                  </a:lnTo>
                  <a:lnTo>
                    <a:pt x="100986" y="425789"/>
                  </a:lnTo>
                  <a:lnTo>
                    <a:pt x="139892" y="447251"/>
                  </a:lnTo>
                  <a:lnTo>
                    <a:pt x="182885" y="460814"/>
                  </a:lnTo>
                  <a:lnTo>
                    <a:pt x="229044" y="465543"/>
                  </a:lnTo>
                  <a:lnTo>
                    <a:pt x="275207" y="460814"/>
                  </a:lnTo>
                  <a:lnTo>
                    <a:pt x="318203" y="447251"/>
                  </a:lnTo>
                  <a:lnTo>
                    <a:pt x="357112" y="425789"/>
                  </a:lnTo>
                  <a:lnTo>
                    <a:pt x="391012" y="397365"/>
                  </a:lnTo>
                  <a:lnTo>
                    <a:pt x="418982" y="362915"/>
                  </a:lnTo>
                  <a:lnTo>
                    <a:pt x="440101" y="323374"/>
                  </a:lnTo>
                  <a:lnTo>
                    <a:pt x="453448" y="279679"/>
                  </a:lnTo>
                  <a:lnTo>
                    <a:pt x="458101" y="232765"/>
                  </a:lnTo>
                  <a:lnTo>
                    <a:pt x="453448" y="185852"/>
                  </a:lnTo>
                  <a:lnTo>
                    <a:pt x="440101" y="142158"/>
                  </a:lnTo>
                  <a:lnTo>
                    <a:pt x="418982" y="102620"/>
                  </a:lnTo>
                  <a:lnTo>
                    <a:pt x="391012" y="68172"/>
                  </a:lnTo>
                  <a:lnTo>
                    <a:pt x="357112" y="39750"/>
                  </a:lnTo>
                  <a:lnTo>
                    <a:pt x="318203" y="18290"/>
                  </a:lnTo>
                  <a:lnTo>
                    <a:pt x="275207" y="4728"/>
                  </a:lnTo>
                  <a:lnTo>
                    <a:pt x="229044" y="0"/>
                  </a:lnTo>
                  <a:close/>
                </a:path>
              </a:pathLst>
            </a:custGeom>
            <a:solidFill>
              <a:srgbClr val="00AFFF">
                <a:alpha val="23999"/>
              </a:srgbClr>
            </a:solidFill>
          </p:spPr>
          <p:txBody>
            <a:bodyPr wrap="square" lIns="0" tIns="0" rIns="0" bIns="0" rtlCol="0"/>
            <a:lstStyle/>
            <a:p>
              <a:endParaRPr/>
            </a:p>
          </p:txBody>
        </p:sp>
        <p:sp>
          <p:nvSpPr>
            <p:cNvPr id="15" name="object 9">
              <a:extLst>
                <a:ext uri="{FF2B5EF4-FFF2-40B4-BE49-F238E27FC236}">
                  <a16:creationId xmlns:a16="http://schemas.microsoft.com/office/drawing/2014/main" id="{EA3EC4CC-0D07-2030-5906-D47FB104B0F3}"/>
                </a:ext>
              </a:extLst>
            </p:cNvPr>
            <p:cNvSpPr/>
            <p:nvPr/>
          </p:nvSpPr>
          <p:spPr>
            <a:xfrm>
              <a:off x="3097372" y="6327434"/>
              <a:ext cx="642038" cy="528026"/>
            </a:xfrm>
            <a:custGeom>
              <a:avLst/>
              <a:gdLst/>
              <a:ahLst/>
              <a:cxnLst/>
              <a:rect l="l" t="t" r="r" b="b"/>
              <a:pathLst>
                <a:path w="708025" h="582295">
                  <a:moveTo>
                    <a:pt x="353898" y="0"/>
                  </a:moveTo>
                  <a:lnTo>
                    <a:pt x="305876" y="3283"/>
                  </a:lnTo>
                  <a:lnTo>
                    <a:pt x="259817" y="12847"/>
                  </a:lnTo>
                  <a:lnTo>
                    <a:pt x="216144" y="28263"/>
                  </a:lnTo>
                  <a:lnTo>
                    <a:pt x="175278" y="49103"/>
                  </a:lnTo>
                  <a:lnTo>
                    <a:pt x="137641" y="74938"/>
                  </a:lnTo>
                  <a:lnTo>
                    <a:pt x="103654" y="105340"/>
                  </a:lnTo>
                  <a:lnTo>
                    <a:pt x="73739" y="139879"/>
                  </a:lnTo>
                  <a:lnTo>
                    <a:pt x="48317" y="178129"/>
                  </a:lnTo>
                  <a:lnTo>
                    <a:pt x="27811" y="219659"/>
                  </a:lnTo>
                  <a:lnTo>
                    <a:pt x="12641" y="264042"/>
                  </a:lnTo>
                  <a:lnTo>
                    <a:pt x="3230" y="310849"/>
                  </a:lnTo>
                  <a:lnTo>
                    <a:pt x="0" y="359651"/>
                  </a:lnTo>
                  <a:lnTo>
                    <a:pt x="3230" y="408453"/>
                  </a:lnTo>
                  <a:lnTo>
                    <a:pt x="12641" y="455260"/>
                  </a:lnTo>
                  <a:lnTo>
                    <a:pt x="27811" y="499643"/>
                  </a:lnTo>
                  <a:lnTo>
                    <a:pt x="48317" y="541173"/>
                  </a:lnTo>
                  <a:lnTo>
                    <a:pt x="73739" y="579422"/>
                  </a:lnTo>
                  <a:lnTo>
                    <a:pt x="76190" y="582253"/>
                  </a:lnTo>
                  <a:lnTo>
                    <a:pt x="631605" y="582253"/>
                  </a:lnTo>
                  <a:lnTo>
                    <a:pt x="659479" y="541173"/>
                  </a:lnTo>
                  <a:lnTo>
                    <a:pt x="679985" y="499643"/>
                  </a:lnTo>
                  <a:lnTo>
                    <a:pt x="695154" y="455260"/>
                  </a:lnTo>
                  <a:lnTo>
                    <a:pt x="704565" y="408453"/>
                  </a:lnTo>
                  <a:lnTo>
                    <a:pt x="707796" y="359651"/>
                  </a:lnTo>
                  <a:lnTo>
                    <a:pt x="704565" y="310849"/>
                  </a:lnTo>
                  <a:lnTo>
                    <a:pt x="695154" y="264042"/>
                  </a:lnTo>
                  <a:lnTo>
                    <a:pt x="679985" y="219659"/>
                  </a:lnTo>
                  <a:lnTo>
                    <a:pt x="659479" y="178129"/>
                  </a:lnTo>
                  <a:lnTo>
                    <a:pt x="634057" y="139879"/>
                  </a:lnTo>
                  <a:lnTo>
                    <a:pt x="604142" y="105340"/>
                  </a:lnTo>
                  <a:lnTo>
                    <a:pt x="570155" y="74938"/>
                  </a:lnTo>
                  <a:lnTo>
                    <a:pt x="532517" y="49103"/>
                  </a:lnTo>
                  <a:lnTo>
                    <a:pt x="491651" y="28263"/>
                  </a:lnTo>
                  <a:lnTo>
                    <a:pt x="447978" y="12847"/>
                  </a:lnTo>
                  <a:lnTo>
                    <a:pt x="401920" y="3283"/>
                  </a:lnTo>
                  <a:lnTo>
                    <a:pt x="353898" y="0"/>
                  </a:lnTo>
                  <a:close/>
                </a:path>
              </a:pathLst>
            </a:custGeom>
            <a:solidFill>
              <a:srgbClr val="00AFFF">
                <a:alpha val="23999"/>
              </a:srgbClr>
            </a:solidFill>
          </p:spPr>
          <p:txBody>
            <a:bodyPr wrap="square" lIns="0" tIns="0" rIns="0" bIns="0" rtlCol="0"/>
            <a:lstStyle/>
            <a:p>
              <a:endParaRPr/>
            </a:p>
          </p:txBody>
        </p:sp>
        <p:sp>
          <p:nvSpPr>
            <p:cNvPr id="16" name="object 10">
              <a:extLst>
                <a:ext uri="{FF2B5EF4-FFF2-40B4-BE49-F238E27FC236}">
                  <a16:creationId xmlns:a16="http://schemas.microsoft.com/office/drawing/2014/main" id="{DB3AFB29-2CA1-6E61-DF86-C2BFC5F2BB0C}"/>
                </a:ext>
              </a:extLst>
            </p:cNvPr>
            <p:cNvSpPr/>
            <p:nvPr/>
          </p:nvSpPr>
          <p:spPr>
            <a:xfrm>
              <a:off x="1504163" y="4540703"/>
              <a:ext cx="536087" cy="545300"/>
            </a:xfrm>
            <a:custGeom>
              <a:avLst/>
              <a:gdLst/>
              <a:ahLst/>
              <a:cxnLst/>
              <a:rect l="l" t="t" r="r" b="b"/>
              <a:pathLst>
                <a:path w="591185" h="601345">
                  <a:moveTo>
                    <a:pt x="295554" y="0"/>
                  </a:moveTo>
                  <a:lnTo>
                    <a:pt x="247613" y="3930"/>
                  </a:lnTo>
                  <a:lnTo>
                    <a:pt x="202135" y="15311"/>
                  </a:lnTo>
                  <a:lnTo>
                    <a:pt x="159728" y="33523"/>
                  </a:lnTo>
                  <a:lnTo>
                    <a:pt x="121002" y="57949"/>
                  </a:lnTo>
                  <a:lnTo>
                    <a:pt x="86564" y="87969"/>
                  </a:lnTo>
                  <a:lnTo>
                    <a:pt x="57024" y="122966"/>
                  </a:lnTo>
                  <a:lnTo>
                    <a:pt x="32988" y="162321"/>
                  </a:lnTo>
                  <a:lnTo>
                    <a:pt x="15067" y="205417"/>
                  </a:lnTo>
                  <a:lnTo>
                    <a:pt x="3868" y="251634"/>
                  </a:lnTo>
                  <a:lnTo>
                    <a:pt x="0" y="300354"/>
                  </a:lnTo>
                  <a:lnTo>
                    <a:pt x="3868" y="349075"/>
                  </a:lnTo>
                  <a:lnTo>
                    <a:pt x="15067" y="395294"/>
                  </a:lnTo>
                  <a:lnTo>
                    <a:pt x="32988" y="438390"/>
                  </a:lnTo>
                  <a:lnTo>
                    <a:pt x="57024" y="477747"/>
                  </a:lnTo>
                  <a:lnTo>
                    <a:pt x="86564" y="512746"/>
                  </a:lnTo>
                  <a:lnTo>
                    <a:pt x="121002" y="542768"/>
                  </a:lnTo>
                  <a:lnTo>
                    <a:pt x="159728" y="567195"/>
                  </a:lnTo>
                  <a:lnTo>
                    <a:pt x="202135" y="585409"/>
                  </a:lnTo>
                  <a:lnTo>
                    <a:pt x="247613" y="596791"/>
                  </a:lnTo>
                  <a:lnTo>
                    <a:pt x="295554" y="600722"/>
                  </a:lnTo>
                  <a:lnTo>
                    <a:pt x="343495" y="596791"/>
                  </a:lnTo>
                  <a:lnTo>
                    <a:pt x="388973" y="585409"/>
                  </a:lnTo>
                  <a:lnTo>
                    <a:pt x="431379" y="567195"/>
                  </a:lnTo>
                  <a:lnTo>
                    <a:pt x="470106" y="542768"/>
                  </a:lnTo>
                  <a:lnTo>
                    <a:pt x="504544" y="512746"/>
                  </a:lnTo>
                  <a:lnTo>
                    <a:pt x="534084" y="477747"/>
                  </a:lnTo>
                  <a:lnTo>
                    <a:pt x="558120" y="438390"/>
                  </a:lnTo>
                  <a:lnTo>
                    <a:pt x="576041" y="395294"/>
                  </a:lnTo>
                  <a:lnTo>
                    <a:pt x="587240" y="349075"/>
                  </a:lnTo>
                  <a:lnTo>
                    <a:pt x="591108" y="300354"/>
                  </a:lnTo>
                  <a:lnTo>
                    <a:pt x="587240" y="251634"/>
                  </a:lnTo>
                  <a:lnTo>
                    <a:pt x="576041" y="205417"/>
                  </a:lnTo>
                  <a:lnTo>
                    <a:pt x="558120" y="162321"/>
                  </a:lnTo>
                  <a:lnTo>
                    <a:pt x="534084" y="122966"/>
                  </a:lnTo>
                  <a:lnTo>
                    <a:pt x="504544" y="87969"/>
                  </a:lnTo>
                  <a:lnTo>
                    <a:pt x="470106" y="57949"/>
                  </a:lnTo>
                  <a:lnTo>
                    <a:pt x="431379" y="33523"/>
                  </a:lnTo>
                  <a:lnTo>
                    <a:pt x="388973" y="15311"/>
                  </a:lnTo>
                  <a:lnTo>
                    <a:pt x="343495" y="3930"/>
                  </a:lnTo>
                  <a:lnTo>
                    <a:pt x="295554" y="0"/>
                  </a:lnTo>
                  <a:close/>
                </a:path>
              </a:pathLst>
            </a:custGeom>
            <a:solidFill>
              <a:srgbClr val="00AFFF">
                <a:alpha val="23999"/>
              </a:srgbClr>
            </a:solidFill>
          </p:spPr>
          <p:txBody>
            <a:bodyPr wrap="square" lIns="0" tIns="0" rIns="0" bIns="0" rtlCol="0"/>
            <a:lstStyle/>
            <a:p>
              <a:endParaRPr/>
            </a:p>
          </p:txBody>
        </p:sp>
        <p:sp>
          <p:nvSpPr>
            <p:cNvPr id="17" name="object 11">
              <a:extLst>
                <a:ext uri="{FF2B5EF4-FFF2-40B4-BE49-F238E27FC236}">
                  <a16:creationId xmlns:a16="http://schemas.microsoft.com/office/drawing/2014/main" id="{A1D57932-C3DE-E260-FEA6-803480C75E84}"/>
                </a:ext>
              </a:extLst>
            </p:cNvPr>
            <p:cNvSpPr/>
            <p:nvPr/>
          </p:nvSpPr>
          <p:spPr>
            <a:xfrm>
              <a:off x="9598" y="4391414"/>
              <a:ext cx="1292713" cy="2464504"/>
            </a:xfrm>
            <a:custGeom>
              <a:avLst/>
              <a:gdLst/>
              <a:ahLst/>
              <a:cxnLst/>
              <a:rect l="l" t="t" r="r" b="b"/>
              <a:pathLst>
                <a:path w="1425575" h="2717800">
                  <a:moveTo>
                    <a:pt x="1036905" y="1250138"/>
                  </a:moveTo>
                  <a:lnTo>
                    <a:pt x="7697" y="1250138"/>
                  </a:lnTo>
                  <a:lnTo>
                    <a:pt x="0" y="1251693"/>
                  </a:lnTo>
                  <a:lnTo>
                    <a:pt x="0" y="1501962"/>
                  </a:lnTo>
                  <a:lnTo>
                    <a:pt x="7697" y="1503516"/>
                  </a:lnTo>
                  <a:lnTo>
                    <a:pt x="990626" y="1503516"/>
                  </a:lnTo>
                  <a:lnTo>
                    <a:pt x="972652" y="1549292"/>
                  </a:lnTo>
                  <a:lnTo>
                    <a:pt x="952724" y="1595118"/>
                  </a:lnTo>
                  <a:lnTo>
                    <a:pt x="930908" y="1640986"/>
                  </a:lnTo>
                  <a:lnTo>
                    <a:pt x="907270" y="1686883"/>
                  </a:lnTo>
                  <a:lnTo>
                    <a:pt x="881874" y="1732802"/>
                  </a:lnTo>
                  <a:lnTo>
                    <a:pt x="854786" y="1778731"/>
                  </a:lnTo>
                  <a:lnTo>
                    <a:pt x="826072" y="1824661"/>
                  </a:lnTo>
                  <a:lnTo>
                    <a:pt x="63298" y="1824661"/>
                  </a:lnTo>
                  <a:lnTo>
                    <a:pt x="13987" y="1834618"/>
                  </a:lnTo>
                  <a:lnTo>
                    <a:pt x="0" y="1844050"/>
                  </a:lnTo>
                  <a:lnTo>
                    <a:pt x="0" y="2058640"/>
                  </a:lnTo>
                  <a:lnTo>
                    <a:pt x="13987" y="2068070"/>
                  </a:lnTo>
                  <a:lnTo>
                    <a:pt x="63298" y="2078026"/>
                  </a:lnTo>
                  <a:lnTo>
                    <a:pt x="641478" y="2078026"/>
                  </a:lnTo>
                  <a:lnTo>
                    <a:pt x="610598" y="2115724"/>
                  </a:lnTo>
                  <a:lnTo>
                    <a:pt x="578977" y="2153368"/>
                  </a:lnTo>
                  <a:lnTo>
                    <a:pt x="546654" y="2190951"/>
                  </a:lnTo>
                  <a:lnTo>
                    <a:pt x="513670" y="2228468"/>
                  </a:lnTo>
                  <a:lnTo>
                    <a:pt x="480063" y="2265912"/>
                  </a:lnTo>
                  <a:lnTo>
                    <a:pt x="445873" y="2303278"/>
                  </a:lnTo>
                  <a:lnTo>
                    <a:pt x="411141" y="2340559"/>
                  </a:lnTo>
                  <a:lnTo>
                    <a:pt x="375907" y="2377749"/>
                  </a:lnTo>
                  <a:lnTo>
                    <a:pt x="340209" y="2414843"/>
                  </a:lnTo>
                  <a:lnTo>
                    <a:pt x="304089" y="2451835"/>
                  </a:lnTo>
                  <a:lnTo>
                    <a:pt x="267585" y="2488718"/>
                  </a:lnTo>
                  <a:lnTo>
                    <a:pt x="230738" y="2525486"/>
                  </a:lnTo>
                  <a:lnTo>
                    <a:pt x="193588" y="2562134"/>
                  </a:lnTo>
                  <a:lnTo>
                    <a:pt x="118536" y="2635044"/>
                  </a:lnTo>
                  <a:lnTo>
                    <a:pt x="32318" y="2717250"/>
                  </a:lnTo>
                  <a:lnTo>
                    <a:pt x="559514" y="2717250"/>
                  </a:lnTo>
                  <a:lnTo>
                    <a:pt x="608152" y="2667742"/>
                  </a:lnTo>
                  <a:lnTo>
                    <a:pt x="644609" y="2629983"/>
                  </a:lnTo>
                  <a:lnTo>
                    <a:pt x="680613" y="2592122"/>
                  </a:lnTo>
                  <a:lnTo>
                    <a:pt x="716134" y="2554156"/>
                  </a:lnTo>
                  <a:lnTo>
                    <a:pt x="751143" y="2516081"/>
                  </a:lnTo>
                  <a:lnTo>
                    <a:pt x="785608" y="2477894"/>
                  </a:lnTo>
                  <a:lnTo>
                    <a:pt x="819502" y="2439592"/>
                  </a:lnTo>
                  <a:lnTo>
                    <a:pt x="852793" y="2401172"/>
                  </a:lnTo>
                  <a:lnTo>
                    <a:pt x="885453" y="2362631"/>
                  </a:lnTo>
                  <a:lnTo>
                    <a:pt x="917450" y="2323966"/>
                  </a:lnTo>
                  <a:lnTo>
                    <a:pt x="948756" y="2285174"/>
                  </a:lnTo>
                  <a:lnTo>
                    <a:pt x="979341" y="2246251"/>
                  </a:lnTo>
                  <a:lnTo>
                    <a:pt x="1009174" y="2207195"/>
                  </a:lnTo>
                  <a:lnTo>
                    <a:pt x="1038226" y="2168003"/>
                  </a:lnTo>
                  <a:lnTo>
                    <a:pt x="1066467" y="2128671"/>
                  </a:lnTo>
                  <a:lnTo>
                    <a:pt x="1093868" y="2089196"/>
                  </a:lnTo>
                  <a:lnTo>
                    <a:pt x="1120397" y="2049575"/>
                  </a:lnTo>
                  <a:lnTo>
                    <a:pt x="1146027" y="2009806"/>
                  </a:lnTo>
                  <a:lnTo>
                    <a:pt x="1170726" y="1969884"/>
                  </a:lnTo>
                  <a:lnTo>
                    <a:pt x="1194466" y="1929807"/>
                  </a:lnTo>
                  <a:lnTo>
                    <a:pt x="1217215" y="1889572"/>
                  </a:lnTo>
                  <a:lnTo>
                    <a:pt x="1238945" y="1849176"/>
                  </a:lnTo>
                  <a:lnTo>
                    <a:pt x="1259625" y="1808615"/>
                  </a:lnTo>
                  <a:lnTo>
                    <a:pt x="1279226" y="1767887"/>
                  </a:lnTo>
                  <a:lnTo>
                    <a:pt x="1297718" y="1726988"/>
                  </a:lnTo>
                  <a:lnTo>
                    <a:pt x="1315070" y="1685916"/>
                  </a:lnTo>
                  <a:lnTo>
                    <a:pt x="1331255" y="1644667"/>
                  </a:lnTo>
                  <a:lnTo>
                    <a:pt x="1346240" y="1603237"/>
                  </a:lnTo>
                  <a:lnTo>
                    <a:pt x="1359997" y="1561625"/>
                  </a:lnTo>
                  <a:lnTo>
                    <a:pt x="1372496" y="1519827"/>
                  </a:lnTo>
                  <a:lnTo>
                    <a:pt x="1383707" y="1477840"/>
                  </a:lnTo>
                  <a:lnTo>
                    <a:pt x="1393600" y="1435660"/>
                  </a:lnTo>
                  <a:lnTo>
                    <a:pt x="1402145" y="1393285"/>
                  </a:lnTo>
                  <a:lnTo>
                    <a:pt x="1409313" y="1350711"/>
                  </a:lnTo>
                  <a:lnTo>
                    <a:pt x="1415073" y="1307936"/>
                  </a:lnTo>
                  <a:lnTo>
                    <a:pt x="1420217" y="1252323"/>
                  </a:lnTo>
                  <a:lnTo>
                    <a:pt x="1051129" y="1252323"/>
                  </a:lnTo>
                  <a:lnTo>
                    <a:pt x="1044068" y="1251103"/>
                  </a:lnTo>
                  <a:lnTo>
                    <a:pt x="1036905" y="1250138"/>
                  </a:lnTo>
                  <a:close/>
                </a:path>
                <a:path w="1425575" h="2717800">
                  <a:moveTo>
                    <a:pt x="807014" y="0"/>
                  </a:moveTo>
                  <a:lnTo>
                    <a:pt x="761364" y="10091"/>
                  </a:lnTo>
                  <a:lnTo>
                    <a:pt x="719176" y="31783"/>
                  </a:lnTo>
                  <a:lnTo>
                    <a:pt x="682867" y="64835"/>
                  </a:lnTo>
                  <a:lnTo>
                    <a:pt x="656535" y="106276"/>
                  </a:lnTo>
                  <a:lnTo>
                    <a:pt x="642490" y="151656"/>
                  </a:lnTo>
                  <a:lnTo>
                    <a:pt x="640506" y="198513"/>
                  </a:lnTo>
                  <a:lnTo>
                    <a:pt x="650359" y="244387"/>
                  </a:lnTo>
                  <a:lnTo>
                    <a:pt x="671823" y="286817"/>
                  </a:lnTo>
                  <a:lnTo>
                    <a:pt x="704673" y="323343"/>
                  </a:lnTo>
                  <a:lnTo>
                    <a:pt x="713003" y="330759"/>
                  </a:lnTo>
                  <a:lnTo>
                    <a:pt x="730114" y="347051"/>
                  </a:lnTo>
                  <a:lnTo>
                    <a:pt x="784494" y="405526"/>
                  </a:lnTo>
                  <a:lnTo>
                    <a:pt x="818671" y="447339"/>
                  </a:lnTo>
                  <a:lnTo>
                    <a:pt x="855445" y="497291"/>
                  </a:lnTo>
                  <a:lnTo>
                    <a:pt x="893269" y="555196"/>
                  </a:lnTo>
                  <a:lnTo>
                    <a:pt x="930598" y="620872"/>
                  </a:lnTo>
                  <a:lnTo>
                    <a:pt x="965887" y="694132"/>
                  </a:lnTo>
                  <a:lnTo>
                    <a:pt x="394272" y="694132"/>
                  </a:lnTo>
                  <a:lnTo>
                    <a:pt x="344967" y="704088"/>
                  </a:lnTo>
                  <a:lnTo>
                    <a:pt x="304699" y="731237"/>
                  </a:lnTo>
                  <a:lnTo>
                    <a:pt x="277547" y="771504"/>
                  </a:lnTo>
                  <a:lnTo>
                    <a:pt x="267590" y="820815"/>
                  </a:lnTo>
                  <a:lnTo>
                    <a:pt x="277547" y="870120"/>
                  </a:lnTo>
                  <a:lnTo>
                    <a:pt x="304699" y="910388"/>
                  </a:lnTo>
                  <a:lnTo>
                    <a:pt x="344967" y="937540"/>
                  </a:lnTo>
                  <a:lnTo>
                    <a:pt x="394272" y="947497"/>
                  </a:lnTo>
                  <a:lnTo>
                    <a:pt x="1042074" y="947497"/>
                  </a:lnTo>
                  <a:lnTo>
                    <a:pt x="1049074" y="994539"/>
                  </a:lnTo>
                  <a:lnTo>
                    <a:pt x="1054093" y="1043098"/>
                  </a:lnTo>
                  <a:lnTo>
                    <a:pt x="1056969" y="1093166"/>
                  </a:lnTo>
                  <a:lnTo>
                    <a:pt x="1057542" y="1144733"/>
                  </a:lnTo>
                  <a:lnTo>
                    <a:pt x="1055648" y="1197788"/>
                  </a:lnTo>
                  <a:lnTo>
                    <a:pt x="1051129" y="1252323"/>
                  </a:lnTo>
                  <a:lnTo>
                    <a:pt x="1420217" y="1252323"/>
                  </a:lnTo>
                  <a:lnTo>
                    <a:pt x="1422226" y="1230596"/>
                  </a:lnTo>
                  <a:lnTo>
                    <a:pt x="1425397" y="1155425"/>
                  </a:lnTo>
                  <a:lnTo>
                    <a:pt x="1424842" y="1082452"/>
                  </a:lnTo>
                  <a:lnTo>
                    <a:pt x="1420819" y="1011702"/>
                  </a:lnTo>
                  <a:lnTo>
                    <a:pt x="1413584" y="943204"/>
                  </a:lnTo>
                  <a:lnTo>
                    <a:pt x="1403395" y="876984"/>
                  </a:lnTo>
                  <a:lnTo>
                    <a:pt x="1390507" y="813069"/>
                  </a:lnTo>
                  <a:lnTo>
                    <a:pt x="1375179" y="751487"/>
                  </a:lnTo>
                  <a:lnTo>
                    <a:pt x="1357668" y="692264"/>
                  </a:lnTo>
                  <a:lnTo>
                    <a:pt x="1338229" y="635429"/>
                  </a:lnTo>
                  <a:lnTo>
                    <a:pt x="1317120" y="581007"/>
                  </a:lnTo>
                  <a:lnTo>
                    <a:pt x="1294599" y="529026"/>
                  </a:lnTo>
                  <a:lnTo>
                    <a:pt x="1270922" y="479514"/>
                  </a:lnTo>
                  <a:lnTo>
                    <a:pt x="1246346" y="432497"/>
                  </a:lnTo>
                  <a:lnTo>
                    <a:pt x="1221128" y="388002"/>
                  </a:lnTo>
                  <a:lnTo>
                    <a:pt x="1195525" y="346057"/>
                  </a:lnTo>
                  <a:lnTo>
                    <a:pt x="1169794" y="306688"/>
                  </a:lnTo>
                  <a:lnTo>
                    <a:pt x="1144192" y="269924"/>
                  </a:lnTo>
                  <a:lnTo>
                    <a:pt x="1118976" y="235790"/>
                  </a:lnTo>
                  <a:lnTo>
                    <a:pt x="1094403" y="204314"/>
                  </a:lnTo>
                  <a:lnTo>
                    <a:pt x="1048213" y="149446"/>
                  </a:lnTo>
                  <a:lnTo>
                    <a:pt x="1007678" y="105535"/>
                  </a:lnTo>
                  <a:lnTo>
                    <a:pt x="974854" y="72800"/>
                  </a:lnTo>
                  <a:lnTo>
                    <a:pt x="944574" y="45123"/>
                  </a:lnTo>
                  <a:lnTo>
                    <a:pt x="899031" y="15575"/>
                  </a:lnTo>
                  <a:lnTo>
                    <a:pt x="853709" y="1748"/>
                  </a:lnTo>
                  <a:lnTo>
                    <a:pt x="807014" y="0"/>
                  </a:lnTo>
                  <a:close/>
                </a:path>
              </a:pathLst>
            </a:custGeom>
            <a:solidFill>
              <a:srgbClr val="00AFFF">
                <a:alpha val="23999"/>
              </a:srgbClr>
            </a:solidFill>
          </p:spPr>
          <p:txBody>
            <a:bodyPr wrap="square" lIns="0" tIns="0" rIns="0" bIns="0" rtlCol="0"/>
            <a:lstStyle/>
            <a:p>
              <a:endParaRPr/>
            </a:p>
          </p:txBody>
        </p:sp>
      </p:grpSp>
      <p:sp>
        <p:nvSpPr>
          <p:cNvPr id="30" name="Footer Placeholder 4">
            <a:extLst>
              <a:ext uri="{FF2B5EF4-FFF2-40B4-BE49-F238E27FC236}">
                <a16:creationId xmlns:a16="http://schemas.microsoft.com/office/drawing/2014/main" id="{02C401B5-B453-3BF0-01CE-3F0F63B03A02}"/>
              </a:ext>
            </a:extLst>
          </p:cNvPr>
          <p:cNvSpPr>
            <a:spLocks noGrp="1"/>
          </p:cNvSpPr>
          <p:nvPr>
            <p:ph type="ftr" sz="quarter" idx="3"/>
          </p:nvPr>
        </p:nvSpPr>
        <p:spPr>
          <a:xfrm>
            <a:off x="751840" y="6114954"/>
            <a:ext cx="8904068" cy="365125"/>
          </a:xfrm>
          <a:prstGeom prst="rect">
            <a:avLst/>
          </a:prstGeom>
        </p:spPr>
        <p:txBody>
          <a:bodyPr/>
          <a:lstStyle>
            <a:lvl1pPr>
              <a:defRPr sz="1400">
                <a:solidFill>
                  <a:schemeClr val="tx2"/>
                </a:solidFill>
              </a:defRPr>
            </a:lvl1pPr>
          </a:lstStyle>
          <a:p>
            <a:endParaRPr lang="en-GB" dirty="0"/>
          </a:p>
        </p:txBody>
      </p:sp>
      <p:sp>
        <p:nvSpPr>
          <p:cNvPr id="19" name="Content Placeholder 2">
            <a:extLst>
              <a:ext uri="{FF2B5EF4-FFF2-40B4-BE49-F238E27FC236}">
                <a16:creationId xmlns:a16="http://schemas.microsoft.com/office/drawing/2014/main" id="{72CD8E40-DA3B-E886-2C97-906DA16B7D72}"/>
              </a:ext>
            </a:extLst>
          </p:cNvPr>
          <p:cNvSpPr>
            <a:spLocks noGrp="1"/>
          </p:cNvSpPr>
          <p:nvPr>
            <p:ph idx="1"/>
          </p:nvPr>
        </p:nvSpPr>
        <p:spPr>
          <a:xfrm>
            <a:off x="751840" y="1825625"/>
            <a:ext cx="10703150" cy="3772535"/>
          </a:xfrm>
          <a:prstGeom prst="rect">
            <a:avLst/>
          </a:prstGeom>
        </p:spPr>
        <p:txBody>
          <a:bodyPr/>
          <a:lstStyle>
            <a:lvl1pPr>
              <a:defRPr sz="2800">
                <a:solidFill>
                  <a:schemeClr val="bg1"/>
                </a:solidFill>
                <a:latin typeface="Quicksand" pitchFamily="2" charset="0"/>
              </a:defRPr>
            </a:lvl1pPr>
            <a:lvl2pPr marL="182563" indent="-182563">
              <a:buClr>
                <a:schemeClr val="tx2"/>
              </a:buClr>
              <a:buFont typeface="Arial" panose="020B0604020202020204" pitchFamily="34" charset="0"/>
              <a:buChar char="•"/>
              <a:defRPr>
                <a:solidFill>
                  <a:schemeClr val="bg1"/>
                </a:solidFill>
                <a:latin typeface="Quicksand" pitchFamily="2" charset="0"/>
              </a:defRPr>
            </a:lvl2pPr>
            <a:lvl3pPr marL="684000" indent="-182563">
              <a:buClr>
                <a:schemeClr val="tx2"/>
              </a:buClr>
              <a:buFont typeface="System Font Regular"/>
              <a:buChar char="-"/>
              <a:defRPr>
                <a:solidFill>
                  <a:schemeClr val="bg1"/>
                </a:solidFill>
                <a:latin typeface="Quicksand" pitchFamily="2" charset="0"/>
              </a:defRPr>
            </a:lvl3pPr>
            <a:lvl4pPr marL="1368000" indent="-182563">
              <a:buClr>
                <a:schemeClr val="tx2"/>
              </a:buClr>
              <a:buFont typeface="Arial" panose="020B0604020202020204" pitchFamily="34" charset="0"/>
              <a:buChar char="•"/>
              <a:defRPr>
                <a:solidFill>
                  <a:schemeClr val="bg1"/>
                </a:solidFill>
                <a:latin typeface="Quicksand" pitchFamily="2" charset="0"/>
              </a:defRPr>
            </a:lvl4pPr>
            <a:lvl5pPr marL="2052000" indent="-182563">
              <a:buClr>
                <a:schemeClr val="tx2"/>
              </a:buClr>
              <a:buFont typeface="System Font Regular"/>
              <a:buChar char="-"/>
              <a:defRPr>
                <a:solidFill>
                  <a:schemeClr val="bg1"/>
                </a:solidFill>
                <a:latin typeface="Quicksand"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9947351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ation Slide -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4446D-3EC5-A487-67B6-AFE74A9C4781}"/>
              </a:ext>
            </a:extLst>
          </p:cNvPr>
          <p:cNvSpPr>
            <a:spLocks noGrp="1"/>
          </p:cNvSpPr>
          <p:nvPr>
            <p:ph type="title"/>
          </p:nvPr>
        </p:nvSpPr>
        <p:spPr>
          <a:xfrm>
            <a:off x="714520" y="365125"/>
            <a:ext cx="6475989" cy="4355493"/>
          </a:xfrm>
        </p:spPr>
        <p:txBody>
          <a:bodyPr anchor="t" anchorCtr="0">
            <a:normAutofit/>
          </a:bodyPr>
          <a:lstStyle>
            <a:lvl1pPr>
              <a:defRPr sz="4400">
                <a:solidFill>
                  <a:schemeClr val="accent3"/>
                </a:solidFill>
              </a:defRPr>
            </a:lvl1p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A5CA96E9-5766-B813-ED3A-78756E2A6A61}"/>
              </a:ext>
            </a:extLst>
          </p:cNvPr>
          <p:cNvSpPr>
            <a:spLocks noGrp="1"/>
          </p:cNvSpPr>
          <p:nvPr>
            <p:ph type="body" idx="1"/>
          </p:nvPr>
        </p:nvSpPr>
        <p:spPr>
          <a:xfrm>
            <a:off x="714520" y="4862945"/>
            <a:ext cx="6475989" cy="491375"/>
          </a:xfrm>
          <a:prstGeom prst="rect">
            <a:avLst/>
          </a:prstGeom>
        </p:spPr>
        <p:txBody>
          <a:bodyPr anchor="t" anchorCtr="0">
            <a:normAutofit/>
          </a:bodyPr>
          <a:lstStyle>
            <a:lvl1pPr marL="0" indent="0">
              <a:buNone/>
              <a:defRPr sz="20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8" name="Footer Placeholder 7">
            <a:extLst>
              <a:ext uri="{FF2B5EF4-FFF2-40B4-BE49-F238E27FC236}">
                <a16:creationId xmlns:a16="http://schemas.microsoft.com/office/drawing/2014/main" id="{49A034B4-D92B-161B-41A1-3DE14A2FB743}"/>
              </a:ext>
            </a:extLst>
          </p:cNvPr>
          <p:cNvSpPr>
            <a:spLocks noGrp="1"/>
          </p:cNvSpPr>
          <p:nvPr>
            <p:ph type="ftr" sz="quarter" idx="11"/>
          </p:nvPr>
        </p:nvSpPr>
        <p:spPr>
          <a:xfrm>
            <a:off x="746347" y="6127750"/>
            <a:ext cx="8927320" cy="365125"/>
          </a:xfrm>
          <a:prstGeom prst="rect">
            <a:avLst/>
          </a:prstGeom>
        </p:spPr>
        <p:txBody>
          <a:bodyPr/>
          <a:lstStyle/>
          <a:p>
            <a:endParaRPr lang="en-GB" dirty="0"/>
          </a:p>
        </p:txBody>
      </p:sp>
      <p:sp>
        <p:nvSpPr>
          <p:cNvPr id="10" name="object 2">
            <a:extLst>
              <a:ext uri="{FF2B5EF4-FFF2-40B4-BE49-F238E27FC236}">
                <a16:creationId xmlns:a16="http://schemas.microsoft.com/office/drawing/2014/main" id="{F387DD09-C436-5F8E-8C10-75D345EE965A}"/>
              </a:ext>
            </a:extLst>
          </p:cNvPr>
          <p:cNvSpPr/>
          <p:nvPr userDrawn="1"/>
        </p:nvSpPr>
        <p:spPr>
          <a:xfrm>
            <a:off x="7805550" y="0"/>
            <a:ext cx="4391193" cy="4355492"/>
          </a:xfrm>
          <a:custGeom>
            <a:avLst/>
            <a:gdLst/>
            <a:ahLst/>
            <a:cxnLst/>
            <a:rect l="l" t="t" r="r" b="b"/>
            <a:pathLst>
              <a:path w="4842509" h="4803140">
                <a:moveTo>
                  <a:pt x="747268" y="1282877"/>
                </a:moveTo>
                <a:lnTo>
                  <a:pt x="744347" y="1235252"/>
                </a:lnTo>
                <a:lnTo>
                  <a:pt x="735850" y="1189393"/>
                </a:lnTo>
                <a:lnTo>
                  <a:pt x="722109" y="1145654"/>
                </a:lnTo>
                <a:lnTo>
                  <a:pt x="703478" y="1104379"/>
                </a:lnTo>
                <a:lnTo>
                  <a:pt x="680313" y="1065949"/>
                </a:lnTo>
                <a:lnTo>
                  <a:pt x="652957" y="1030706"/>
                </a:lnTo>
                <a:lnTo>
                  <a:pt x="621766" y="999007"/>
                </a:lnTo>
                <a:lnTo>
                  <a:pt x="587095" y="971207"/>
                </a:lnTo>
                <a:lnTo>
                  <a:pt x="549275" y="947661"/>
                </a:lnTo>
                <a:lnTo>
                  <a:pt x="508673" y="928738"/>
                </a:lnTo>
                <a:lnTo>
                  <a:pt x="465620" y="914781"/>
                </a:lnTo>
                <a:lnTo>
                  <a:pt x="420497" y="906132"/>
                </a:lnTo>
                <a:lnTo>
                  <a:pt x="373634" y="903173"/>
                </a:lnTo>
                <a:lnTo>
                  <a:pt x="326758" y="906132"/>
                </a:lnTo>
                <a:lnTo>
                  <a:pt x="281635" y="914781"/>
                </a:lnTo>
                <a:lnTo>
                  <a:pt x="238582" y="928738"/>
                </a:lnTo>
                <a:lnTo>
                  <a:pt x="197980" y="947661"/>
                </a:lnTo>
                <a:lnTo>
                  <a:pt x="160159" y="971207"/>
                </a:lnTo>
                <a:lnTo>
                  <a:pt x="125488" y="999007"/>
                </a:lnTo>
                <a:lnTo>
                  <a:pt x="94297" y="1030706"/>
                </a:lnTo>
                <a:lnTo>
                  <a:pt x="66941" y="1065949"/>
                </a:lnTo>
                <a:lnTo>
                  <a:pt x="43776" y="1104379"/>
                </a:lnTo>
                <a:lnTo>
                  <a:pt x="25146" y="1145654"/>
                </a:lnTo>
                <a:lnTo>
                  <a:pt x="11404" y="1189393"/>
                </a:lnTo>
                <a:lnTo>
                  <a:pt x="2908" y="1235252"/>
                </a:lnTo>
                <a:lnTo>
                  <a:pt x="0" y="1282877"/>
                </a:lnTo>
                <a:lnTo>
                  <a:pt x="2908" y="1330515"/>
                </a:lnTo>
                <a:lnTo>
                  <a:pt x="11404" y="1376375"/>
                </a:lnTo>
                <a:lnTo>
                  <a:pt x="25146" y="1420126"/>
                </a:lnTo>
                <a:lnTo>
                  <a:pt x="43776" y="1461389"/>
                </a:lnTo>
                <a:lnTo>
                  <a:pt x="66941" y="1499819"/>
                </a:lnTo>
                <a:lnTo>
                  <a:pt x="94297" y="1535074"/>
                </a:lnTo>
                <a:lnTo>
                  <a:pt x="125488" y="1566773"/>
                </a:lnTo>
                <a:lnTo>
                  <a:pt x="160159" y="1594573"/>
                </a:lnTo>
                <a:lnTo>
                  <a:pt x="197980" y="1618107"/>
                </a:lnTo>
                <a:lnTo>
                  <a:pt x="238582" y="1637042"/>
                </a:lnTo>
                <a:lnTo>
                  <a:pt x="281635" y="1651000"/>
                </a:lnTo>
                <a:lnTo>
                  <a:pt x="326758" y="1659636"/>
                </a:lnTo>
                <a:lnTo>
                  <a:pt x="373634" y="1662595"/>
                </a:lnTo>
                <a:lnTo>
                  <a:pt x="420497" y="1659636"/>
                </a:lnTo>
                <a:lnTo>
                  <a:pt x="465620" y="1651000"/>
                </a:lnTo>
                <a:lnTo>
                  <a:pt x="508673" y="1637042"/>
                </a:lnTo>
                <a:lnTo>
                  <a:pt x="549275" y="1618107"/>
                </a:lnTo>
                <a:lnTo>
                  <a:pt x="587095" y="1594573"/>
                </a:lnTo>
                <a:lnTo>
                  <a:pt x="621766" y="1566773"/>
                </a:lnTo>
                <a:lnTo>
                  <a:pt x="652957" y="1535074"/>
                </a:lnTo>
                <a:lnTo>
                  <a:pt x="680313" y="1499819"/>
                </a:lnTo>
                <a:lnTo>
                  <a:pt x="703478" y="1461389"/>
                </a:lnTo>
                <a:lnTo>
                  <a:pt x="722109" y="1420126"/>
                </a:lnTo>
                <a:lnTo>
                  <a:pt x="735850" y="1376375"/>
                </a:lnTo>
                <a:lnTo>
                  <a:pt x="744347" y="1330515"/>
                </a:lnTo>
                <a:lnTo>
                  <a:pt x="747268" y="1282877"/>
                </a:lnTo>
                <a:close/>
              </a:path>
              <a:path w="4842509" h="4803140">
                <a:moveTo>
                  <a:pt x="1038237" y="2266010"/>
                </a:moveTo>
                <a:lnTo>
                  <a:pt x="1033195" y="2221458"/>
                </a:lnTo>
                <a:lnTo>
                  <a:pt x="1018806" y="2180552"/>
                </a:lnTo>
                <a:lnTo>
                  <a:pt x="996238" y="2144471"/>
                </a:lnTo>
                <a:lnTo>
                  <a:pt x="966635" y="2114385"/>
                </a:lnTo>
                <a:lnTo>
                  <a:pt x="931125" y="2091448"/>
                </a:lnTo>
                <a:lnTo>
                  <a:pt x="890879" y="2076831"/>
                </a:lnTo>
                <a:lnTo>
                  <a:pt x="847039" y="2071700"/>
                </a:lnTo>
                <a:lnTo>
                  <a:pt x="803198" y="2076831"/>
                </a:lnTo>
                <a:lnTo>
                  <a:pt x="762952" y="2091448"/>
                </a:lnTo>
                <a:lnTo>
                  <a:pt x="727456" y="2114385"/>
                </a:lnTo>
                <a:lnTo>
                  <a:pt x="697852" y="2144471"/>
                </a:lnTo>
                <a:lnTo>
                  <a:pt x="675284" y="2180552"/>
                </a:lnTo>
                <a:lnTo>
                  <a:pt x="660895" y="2221458"/>
                </a:lnTo>
                <a:lnTo>
                  <a:pt x="655840" y="2266010"/>
                </a:lnTo>
                <a:lnTo>
                  <a:pt x="660895" y="2310561"/>
                </a:lnTo>
                <a:lnTo>
                  <a:pt x="675284" y="2351455"/>
                </a:lnTo>
                <a:lnTo>
                  <a:pt x="697852" y="2387536"/>
                </a:lnTo>
                <a:lnTo>
                  <a:pt x="727456" y="2417635"/>
                </a:lnTo>
                <a:lnTo>
                  <a:pt x="762952" y="2440571"/>
                </a:lnTo>
                <a:lnTo>
                  <a:pt x="803198" y="2455189"/>
                </a:lnTo>
                <a:lnTo>
                  <a:pt x="847039" y="2460320"/>
                </a:lnTo>
                <a:lnTo>
                  <a:pt x="890879" y="2455189"/>
                </a:lnTo>
                <a:lnTo>
                  <a:pt x="931125" y="2440571"/>
                </a:lnTo>
                <a:lnTo>
                  <a:pt x="966635" y="2417635"/>
                </a:lnTo>
                <a:lnTo>
                  <a:pt x="996238" y="2387536"/>
                </a:lnTo>
                <a:lnTo>
                  <a:pt x="1018806" y="2351455"/>
                </a:lnTo>
                <a:lnTo>
                  <a:pt x="1033195" y="2310561"/>
                </a:lnTo>
                <a:lnTo>
                  <a:pt x="1038237" y="2266010"/>
                </a:lnTo>
                <a:close/>
              </a:path>
              <a:path w="4842509" h="4803140">
                <a:moveTo>
                  <a:pt x="1353693" y="196011"/>
                </a:moveTo>
                <a:lnTo>
                  <a:pt x="1349044" y="149148"/>
                </a:lnTo>
                <a:lnTo>
                  <a:pt x="1335709" y="105486"/>
                </a:lnTo>
                <a:lnTo>
                  <a:pt x="1314615" y="65989"/>
                </a:lnTo>
                <a:lnTo>
                  <a:pt x="1286675" y="31572"/>
                </a:lnTo>
                <a:lnTo>
                  <a:pt x="1252804" y="3175"/>
                </a:lnTo>
                <a:lnTo>
                  <a:pt x="1247063" y="0"/>
                </a:lnTo>
                <a:lnTo>
                  <a:pt x="1002677" y="0"/>
                </a:lnTo>
                <a:lnTo>
                  <a:pt x="963053" y="31572"/>
                </a:lnTo>
                <a:lnTo>
                  <a:pt x="935113" y="65989"/>
                </a:lnTo>
                <a:lnTo>
                  <a:pt x="914019" y="105486"/>
                </a:lnTo>
                <a:lnTo>
                  <a:pt x="900684" y="149148"/>
                </a:lnTo>
                <a:lnTo>
                  <a:pt x="896035" y="196011"/>
                </a:lnTo>
                <a:lnTo>
                  <a:pt x="900684" y="242874"/>
                </a:lnTo>
                <a:lnTo>
                  <a:pt x="914019" y="286524"/>
                </a:lnTo>
                <a:lnTo>
                  <a:pt x="935113" y="326034"/>
                </a:lnTo>
                <a:lnTo>
                  <a:pt x="963053" y="360451"/>
                </a:lnTo>
                <a:lnTo>
                  <a:pt x="996924" y="388848"/>
                </a:lnTo>
                <a:lnTo>
                  <a:pt x="1035799" y="410286"/>
                </a:lnTo>
                <a:lnTo>
                  <a:pt x="1078750" y="423837"/>
                </a:lnTo>
                <a:lnTo>
                  <a:pt x="1124864" y="428561"/>
                </a:lnTo>
                <a:lnTo>
                  <a:pt x="1170978" y="423837"/>
                </a:lnTo>
                <a:lnTo>
                  <a:pt x="1213929" y="410286"/>
                </a:lnTo>
                <a:lnTo>
                  <a:pt x="1252804" y="388848"/>
                </a:lnTo>
                <a:lnTo>
                  <a:pt x="1286675" y="360451"/>
                </a:lnTo>
                <a:lnTo>
                  <a:pt x="1314615" y="326034"/>
                </a:lnTo>
                <a:lnTo>
                  <a:pt x="1335709" y="286524"/>
                </a:lnTo>
                <a:lnTo>
                  <a:pt x="1349044" y="242874"/>
                </a:lnTo>
                <a:lnTo>
                  <a:pt x="1353693" y="196011"/>
                </a:lnTo>
                <a:close/>
              </a:path>
              <a:path w="4842509" h="4803140">
                <a:moveTo>
                  <a:pt x="2336165" y="3322891"/>
                </a:moveTo>
                <a:lnTo>
                  <a:pt x="2331415" y="3275126"/>
                </a:lnTo>
                <a:lnTo>
                  <a:pt x="2317826" y="3230638"/>
                </a:lnTo>
                <a:lnTo>
                  <a:pt x="2296325" y="3190392"/>
                </a:lnTo>
                <a:lnTo>
                  <a:pt x="2267851" y="3155315"/>
                </a:lnTo>
                <a:lnTo>
                  <a:pt x="2233333" y="3126371"/>
                </a:lnTo>
                <a:lnTo>
                  <a:pt x="2193721" y="3104527"/>
                </a:lnTo>
                <a:lnTo>
                  <a:pt x="2149945" y="3090710"/>
                </a:lnTo>
                <a:lnTo>
                  <a:pt x="2102954" y="3085896"/>
                </a:lnTo>
                <a:lnTo>
                  <a:pt x="2055952" y="3090710"/>
                </a:lnTo>
                <a:lnTo>
                  <a:pt x="2012175" y="3104527"/>
                </a:lnTo>
                <a:lnTo>
                  <a:pt x="1972564" y="3126371"/>
                </a:lnTo>
                <a:lnTo>
                  <a:pt x="1938058" y="3155315"/>
                </a:lnTo>
                <a:lnTo>
                  <a:pt x="1909572" y="3190392"/>
                </a:lnTo>
                <a:lnTo>
                  <a:pt x="1888070" y="3230638"/>
                </a:lnTo>
                <a:lnTo>
                  <a:pt x="1874494" y="3275126"/>
                </a:lnTo>
                <a:lnTo>
                  <a:pt x="1869757" y="3322891"/>
                </a:lnTo>
                <a:lnTo>
                  <a:pt x="1874494" y="3370656"/>
                </a:lnTo>
                <a:lnTo>
                  <a:pt x="1888070" y="3415144"/>
                </a:lnTo>
                <a:lnTo>
                  <a:pt x="1909572" y="3455403"/>
                </a:lnTo>
                <a:lnTo>
                  <a:pt x="1938058" y="3490480"/>
                </a:lnTo>
                <a:lnTo>
                  <a:pt x="1972564" y="3519424"/>
                </a:lnTo>
                <a:lnTo>
                  <a:pt x="2012175" y="3541280"/>
                </a:lnTo>
                <a:lnTo>
                  <a:pt x="2055952" y="3555085"/>
                </a:lnTo>
                <a:lnTo>
                  <a:pt x="2102954" y="3559899"/>
                </a:lnTo>
                <a:lnTo>
                  <a:pt x="2149945" y="3555085"/>
                </a:lnTo>
                <a:lnTo>
                  <a:pt x="2193721" y="3541280"/>
                </a:lnTo>
                <a:lnTo>
                  <a:pt x="2233333" y="3519424"/>
                </a:lnTo>
                <a:lnTo>
                  <a:pt x="2267851" y="3490480"/>
                </a:lnTo>
                <a:lnTo>
                  <a:pt x="2296325" y="3455403"/>
                </a:lnTo>
                <a:lnTo>
                  <a:pt x="2317826" y="3415144"/>
                </a:lnTo>
                <a:lnTo>
                  <a:pt x="2331415" y="3370656"/>
                </a:lnTo>
                <a:lnTo>
                  <a:pt x="2336165" y="3322891"/>
                </a:lnTo>
                <a:close/>
              </a:path>
              <a:path w="4842509" h="4803140">
                <a:moveTo>
                  <a:pt x="2815031" y="1449959"/>
                </a:moveTo>
                <a:lnTo>
                  <a:pt x="2805074" y="1400657"/>
                </a:lnTo>
                <a:lnTo>
                  <a:pt x="2777921" y="1360385"/>
                </a:lnTo>
                <a:lnTo>
                  <a:pt x="2737650" y="1333233"/>
                </a:lnTo>
                <a:lnTo>
                  <a:pt x="2688348" y="1323276"/>
                </a:lnTo>
                <a:lnTo>
                  <a:pt x="1587842" y="1323276"/>
                </a:lnTo>
                <a:lnTo>
                  <a:pt x="1594739" y="1293037"/>
                </a:lnTo>
                <a:lnTo>
                  <a:pt x="1611210" y="1231938"/>
                </a:lnTo>
                <a:lnTo>
                  <a:pt x="1635810" y="1161021"/>
                </a:lnTo>
                <a:lnTo>
                  <a:pt x="1653717" y="1120343"/>
                </a:lnTo>
                <a:lnTo>
                  <a:pt x="1674545" y="1079030"/>
                </a:lnTo>
                <a:lnTo>
                  <a:pt x="1698117" y="1037107"/>
                </a:lnTo>
                <a:lnTo>
                  <a:pt x="1724279" y="994613"/>
                </a:lnTo>
                <a:lnTo>
                  <a:pt x="1724837" y="994613"/>
                </a:lnTo>
                <a:lnTo>
                  <a:pt x="1725358" y="994778"/>
                </a:lnTo>
                <a:lnTo>
                  <a:pt x="2587726" y="994778"/>
                </a:lnTo>
                <a:lnTo>
                  <a:pt x="2588539" y="994613"/>
                </a:lnTo>
                <a:lnTo>
                  <a:pt x="2637028" y="984821"/>
                </a:lnTo>
                <a:lnTo>
                  <a:pt x="2677299" y="957668"/>
                </a:lnTo>
                <a:lnTo>
                  <a:pt x="2704452" y="917409"/>
                </a:lnTo>
                <a:lnTo>
                  <a:pt x="2714409" y="868095"/>
                </a:lnTo>
                <a:lnTo>
                  <a:pt x="2704452" y="818794"/>
                </a:lnTo>
                <a:lnTo>
                  <a:pt x="2677299" y="778522"/>
                </a:lnTo>
                <a:lnTo>
                  <a:pt x="2637028" y="751370"/>
                </a:lnTo>
                <a:lnTo>
                  <a:pt x="2587726" y="741413"/>
                </a:lnTo>
                <a:lnTo>
                  <a:pt x="1918449" y="741413"/>
                </a:lnTo>
                <a:lnTo>
                  <a:pt x="1948662" y="707326"/>
                </a:lnTo>
                <a:lnTo>
                  <a:pt x="1979866" y="672985"/>
                </a:lnTo>
                <a:lnTo>
                  <a:pt x="2012010" y="638390"/>
                </a:lnTo>
                <a:lnTo>
                  <a:pt x="2045055" y="603554"/>
                </a:lnTo>
                <a:lnTo>
                  <a:pt x="2078926" y="568502"/>
                </a:lnTo>
                <a:lnTo>
                  <a:pt x="2113610" y="533209"/>
                </a:lnTo>
                <a:lnTo>
                  <a:pt x="2149030" y="497700"/>
                </a:lnTo>
                <a:lnTo>
                  <a:pt x="2185162" y="461987"/>
                </a:lnTo>
                <a:lnTo>
                  <a:pt x="2221954" y="426072"/>
                </a:lnTo>
                <a:lnTo>
                  <a:pt x="2297303" y="353644"/>
                </a:lnTo>
                <a:lnTo>
                  <a:pt x="2414079" y="243662"/>
                </a:lnTo>
                <a:lnTo>
                  <a:pt x="2677630" y="12"/>
                </a:lnTo>
                <a:lnTo>
                  <a:pt x="2136800" y="12"/>
                </a:lnTo>
                <a:lnTo>
                  <a:pt x="2069376" y="63487"/>
                </a:lnTo>
                <a:lnTo>
                  <a:pt x="1987892" y="141401"/>
                </a:lnTo>
                <a:lnTo>
                  <a:pt x="1947964" y="180200"/>
                </a:lnTo>
                <a:lnTo>
                  <a:pt x="1908632" y="218884"/>
                </a:lnTo>
                <a:lnTo>
                  <a:pt x="1869922" y="257467"/>
                </a:lnTo>
                <a:lnTo>
                  <a:pt x="1831911" y="295948"/>
                </a:lnTo>
                <a:lnTo>
                  <a:pt x="1794637" y="334327"/>
                </a:lnTo>
                <a:lnTo>
                  <a:pt x="1758124" y="372618"/>
                </a:lnTo>
                <a:lnTo>
                  <a:pt x="1722450" y="410806"/>
                </a:lnTo>
                <a:lnTo>
                  <a:pt x="1687626" y="448906"/>
                </a:lnTo>
                <a:lnTo>
                  <a:pt x="1653730" y="486918"/>
                </a:lnTo>
                <a:lnTo>
                  <a:pt x="1620786" y="524840"/>
                </a:lnTo>
                <a:lnTo>
                  <a:pt x="1588846" y="562686"/>
                </a:lnTo>
                <a:lnTo>
                  <a:pt x="1557959" y="600443"/>
                </a:lnTo>
                <a:lnTo>
                  <a:pt x="1528152" y="638124"/>
                </a:lnTo>
                <a:lnTo>
                  <a:pt x="1499501" y="675716"/>
                </a:lnTo>
                <a:lnTo>
                  <a:pt x="1472018" y="713244"/>
                </a:lnTo>
                <a:lnTo>
                  <a:pt x="1445780" y="750697"/>
                </a:lnTo>
                <a:lnTo>
                  <a:pt x="1420812" y="788073"/>
                </a:lnTo>
                <a:lnTo>
                  <a:pt x="1397165" y="825385"/>
                </a:lnTo>
                <a:lnTo>
                  <a:pt x="1374889" y="862634"/>
                </a:lnTo>
                <a:lnTo>
                  <a:pt x="1354023" y="899820"/>
                </a:lnTo>
                <a:lnTo>
                  <a:pt x="1334604" y="936955"/>
                </a:lnTo>
                <a:lnTo>
                  <a:pt x="1316697" y="974013"/>
                </a:lnTo>
                <a:lnTo>
                  <a:pt x="1300340" y="1011021"/>
                </a:lnTo>
                <a:lnTo>
                  <a:pt x="1285570" y="1047978"/>
                </a:lnTo>
                <a:lnTo>
                  <a:pt x="1272451" y="1084884"/>
                </a:lnTo>
                <a:lnTo>
                  <a:pt x="1251242" y="1153655"/>
                </a:lnTo>
                <a:lnTo>
                  <a:pt x="1233639" y="1221536"/>
                </a:lnTo>
                <a:lnTo>
                  <a:pt x="1219492" y="1288491"/>
                </a:lnTo>
                <a:lnTo>
                  <a:pt x="1208646" y="1354493"/>
                </a:lnTo>
                <a:lnTo>
                  <a:pt x="1200962" y="1419517"/>
                </a:lnTo>
                <a:lnTo>
                  <a:pt x="1196276" y="1483499"/>
                </a:lnTo>
                <a:lnTo>
                  <a:pt x="1194447" y="1546440"/>
                </a:lnTo>
                <a:lnTo>
                  <a:pt x="1195324" y="1608264"/>
                </a:lnTo>
                <a:lnTo>
                  <a:pt x="1198753" y="1668970"/>
                </a:lnTo>
                <a:lnTo>
                  <a:pt x="1204595" y="1728508"/>
                </a:lnTo>
                <a:lnTo>
                  <a:pt x="1212684" y="1786839"/>
                </a:lnTo>
                <a:lnTo>
                  <a:pt x="1222870" y="1843925"/>
                </a:lnTo>
                <a:lnTo>
                  <a:pt x="1235024" y="1899742"/>
                </a:lnTo>
                <a:lnTo>
                  <a:pt x="1248981" y="1954237"/>
                </a:lnTo>
                <a:lnTo>
                  <a:pt x="1264589" y="2007400"/>
                </a:lnTo>
                <a:lnTo>
                  <a:pt x="1281709" y="2059178"/>
                </a:lnTo>
                <a:lnTo>
                  <a:pt x="1300175" y="2109533"/>
                </a:lnTo>
                <a:lnTo>
                  <a:pt x="1319860" y="2158441"/>
                </a:lnTo>
                <a:lnTo>
                  <a:pt x="1340586" y="2205863"/>
                </a:lnTo>
                <a:lnTo>
                  <a:pt x="1362227" y="2251748"/>
                </a:lnTo>
                <a:lnTo>
                  <a:pt x="1384617" y="2296083"/>
                </a:lnTo>
                <a:lnTo>
                  <a:pt x="1407617" y="2338819"/>
                </a:lnTo>
                <a:lnTo>
                  <a:pt x="1431074" y="2379916"/>
                </a:lnTo>
                <a:lnTo>
                  <a:pt x="1454835" y="2419350"/>
                </a:lnTo>
                <a:lnTo>
                  <a:pt x="1478749" y="2457081"/>
                </a:lnTo>
                <a:lnTo>
                  <a:pt x="1502676" y="2493073"/>
                </a:lnTo>
                <a:lnTo>
                  <a:pt x="1526451" y="2527300"/>
                </a:lnTo>
                <a:lnTo>
                  <a:pt x="1549946" y="2559710"/>
                </a:lnTo>
                <a:lnTo>
                  <a:pt x="1572983" y="2590266"/>
                </a:lnTo>
                <a:lnTo>
                  <a:pt x="1617141" y="2645714"/>
                </a:lnTo>
                <a:lnTo>
                  <a:pt x="1657718" y="2693352"/>
                </a:lnTo>
                <a:lnTo>
                  <a:pt x="1693532" y="2732887"/>
                </a:lnTo>
                <a:lnTo>
                  <a:pt x="1723364" y="2764040"/>
                </a:lnTo>
                <a:lnTo>
                  <a:pt x="1754289" y="2794431"/>
                </a:lnTo>
                <a:lnTo>
                  <a:pt x="1791779" y="2824124"/>
                </a:lnTo>
                <a:lnTo>
                  <a:pt x="1853996" y="2847721"/>
                </a:lnTo>
                <a:lnTo>
                  <a:pt x="1886724" y="2850654"/>
                </a:lnTo>
                <a:lnTo>
                  <a:pt x="1923973" y="2846857"/>
                </a:lnTo>
                <a:lnTo>
                  <a:pt x="1993277" y="2816644"/>
                </a:lnTo>
                <a:lnTo>
                  <a:pt x="2022830" y="2790367"/>
                </a:lnTo>
                <a:lnTo>
                  <a:pt x="2050745" y="2749880"/>
                </a:lnTo>
                <a:lnTo>
                  <a:pt x="2066505" y="2705011"/>
                </a:lnTo>
                <a:lnTo>
                  <a:pt x="2070239" y="2658224"/>
                </a:lnTo>
                <a:lnTo>
                  <a:pt x="2062073" y="2611996"/>
                </a:lnTo>
                <a:lnTo>
                  <a:pt x="2042134" y="2568778"/>
                </a:lnTo>
                <a:lnTo>
                  <a:pt x="2010562" y="2531059"/>
                </a:lnTo>
                <a:lnTo>
                  <a:pt x="2002307" y="2523312"/>
                </a:lnTo>
                <a:lnTo>
                  <a:pt x="1986203" y="2507475"/>
                </a:lnTo>
                <a:lnTo>
                  <a:pt x="1934933" y="2452725"/>
                </a:lnTo>
                <a:lnTo>
                  <a:pt x="1902015" y="2414397"/>
                </a:lnTo>
                <a:lnTo>
                  <a:pt x="1865718" y="2369159"/>
                </a:lnTo>
                <a:lnTo>
                  <a:pt x="1827174" y="2317305"/>
                </a:lnTo>
                <a:lnTo>
                  <a:pt x="1787486" y="2259114"/>
                </a:lnTo>
                <a:lnTo>
                  <a:pt x="1747786" y="2194903"/>
                </a:lnTo>
                <a:lnTo>
                  <a:pt x="1709204" y="2124951"/>
                </a:lnTo>
                <a:lnTo>
                  <a:pt x="2085060" y="2124951"/>
                </a:lnTo>
                <a:lnTo>
                  <a:pt x="2134362" y="2114994"/>
                </a:lnTo>
                <a:lnTo>
                  <a:pt x="2174633" y="2087841"/>
                </a:lnTo>
                <a:lnTo>
                  <a:pt x="2201786" y="2047582"/>
                </a:lnTo>
                <a:lnTo>
                  <a:pt x="2211743" y="1998268"/>
                </a:lnTo>
                <a:lnTo>
                  <a:pt x="2201786" y="1948967"/>
                </a:lnTo>
                <a:lnTo>
                  <a:pt x="2174633" y="1908695"/>
                </a:lnTo>
                <a:lnTo>
                  <a:pt x="2134362" y="1881543"/>
                </a:lnTo>
                <a:lnTo>
                  <a:pt x="2085060" y="1871586"/>
                </a:lnTo>
                <a:lnTo>
                  <a:pt x="1607959" y="1871586"/>
                </a:lnTo>
                <a:lnTo>
                  <a:pt x="1595729" y="1825244"/>
                </a:lnTo>
                <a:lnTo>
                  <a:pt x="1585214" y="1777720"/>
                </a:lnTo>
                <a:lnTo>
                  <a:pt x="1576565" y="1729054"/>
                </a:lnTo>
                <a:lnTo>
                  <a:pt x="1569910" y="1679295"/>
                </a:lnTo>
                <a:lnTo>
                  <a:pt x="1565402" y="1628482"/>
                </a:lnTo>
                <a:lnTo>
                  <a:pt x="1563192" y="1576641"/>
                </a:lnTo>
                <a:lnTo>
                  <a:pt x="2688348" y="1576641"/>
                </a:lnTo>
                <a:lnTo>
                  <a:pt x="2737650" y="1566697"/>
                </a:lnTo>
                <a:lnTo>
                  <a:pt x="2777921" y="1539544"/>
                </a:lnTo>
                <a:lnTo>
                  <a:pt x="2805074" y="1499273"/>
                </a:lnTo>
                <a:lnTo>
                  <a:pt x="2815031" y="1449959"/>
                </a:lnTo>
                <a:close/>
              </a:path>
              <a:path w="4842509" h="4803140">
                <a:moveTo>
                  <a:pt x="3022498" y="1998268"/>
                </a:moveTo>
                <a:lnTo>
                  <a:pt x="3012541" y="1948967"/>
                </a:lnTo>
                <a:lnTo>
                  <a:pt x="2985389" y="1908695"/>
                </a:lnTo>
                <a:lnTo>
                  <a:pt x="2945130" y="1881543"/>
                </a:lnTo>
                <a:lnTo>
                  <a:pt x="2895816" y="1871586"/>
                </a:lnTo>
                <a:lnTo>
                  <a:pt x="2492959" y="1871586"/>
                </a:lnTo>
                <a:lnTo>
                  <a:pt x="2443645" y="1881543"/>
                </a:lnTo>
                <a:lnTo>
                  <a:pt x="2403373" y="1908695"/>
                </a:lnTo>
                <a:lnTo>
                  <a:pt x="2376220" y="1948967"/>
                </a:lnTo>
                <a:lnTo>
                  <a:pt x="2366264" y="1998268"/>
                </a:lnTo>
                <a:lnTo>
                  <a:pt x="2376220" y="2047582"/>
                </a:lnTo>
                <a:lnTo>
                  <a:pt x="2403373" y="2087854"/>
                </a:lnTo>
                <a:lnTo>
                  <a:pt x="2443645" y="2114994"/>
                </a:lnTo>
                <a:lnTo>
                  <a:pt x="2492959" y="2124951"/>
                </a:lnTo>
                <a:lnTo>
                  <a:pt x="2895816" y="2124951"/>
                </a:lnTo>
                <a:lnTo>
                  <a:pt x="2945130" y="2114994"/>
                </a:lnTo>
                <a:lnTo>
                  <a:pt x="2985389" y="2087854"/>
                </a:lnTo>
                <a:lnTo>
                  <a:pt x="3012541" y="2047582"/>
                </a:lnTo>
                <a:lnTo>
                  <a:pt x="3022498" y="1998268"/>
                </a:lnTo>
                <a:close/>
              </a:path>
              <a:path w="4842509" h="4803140">
                <a:moveTo>
                  <a:pt x="3290455" y="860463"/>
                </a:moveTo>
                <a:lnTo>
                  <a:pt x="3285413" y="815911"/>
                </a:lnTo>
                <a:lnTo>
                  <a:pt x="3271024" y="775017"/>
                </a:lnTo>
                <a:lnTo>
                  <a:pt x="3248456" y="738936"/>
                </a:lnTo>
                <a:lnTo>
                  <a:pt x="3218853" y="708850"/>
                </a:lnTo>
                <a:lnTo>
                  <a:pt x="3183344" y="685914"/>
                </a:lnTo>
                <a:lnTo>
                  <a:pt x="3143097" y="671296"/>
                </a:lnTo>
                <a:lnTo>
                  <a:pt x="3099257" y="666165"/>
                </a:lnTo>
                <a:lnTo>
                  <a:pt x="3055429" y="671296"/>
                </a:lnTo>
                <a:lnTo>
                  <a:pt x="3015183" y="685914"/>
                </a:lnTo>
                <a:lnTo>
                  <a:pt x="2979674" y="708850"/>
                </a:lnTo>
                <a:lnTo>
                  <a:pt x="2950070" y="738936"/>
                </a:lnTo>
                <a:lnTo>
                  <a:pt x="2927502" y="775017"/>
                </a:lnTo>
                <a:lnTo>
                  <a:pt x="2913113" y="815911"/>
                </a:lnTo>
                <a:lnTo>
                  <a:pt x="2908058" y="860463"/>
                </a:lnTo>
                <a:lnTo>
                  <a:pt x="2913113" y="905027"/>
                </a:lnTo>
                <a:lnTo>
                  <a:pt x="2927502" y="945921"/>
                </a:lnTo>
                <a:lnTo>
                  <a:pt x="2950070" y="982002"/>
                </a:lnTo>
                <a:lnTo>
                  <a:pt x="2979674" y="1012088"/>
                </a:lnTo>
                <a:lnTo>
                  <a:pt x="3015183" y="1035024"/>
                </a:lnTo>
                <a:lnTo>
                  <a:pt x="3055429" y="1049642"/>
                </a:lnTo>
                <a:lnTo>
                  <a:pt x="3099257" y="1054773"/>
                </a:lnTo>
                <a:lnTo>
                  <a:pt x="3143097" y="1049642"/>
                </a:lnTo>
                <a:lnTo>
                  <a:pt x="3183344" y="1035024"/>
                </a:lnTo>
                <a:lnTo>
                  <a:pt x="3218853" y="1012088"/>
                </a:lnTo>
                <a:lnTo>
                  <a:pt x="3248456" y="982002"/>
                </a:lnTo>
                <a:lnTo>
                  <a:pt x="3271024" y="945921"/>
                </a:lnTo>
                <a:lnTo>
                  <a:pt x="3285413" y="905027"/>
                </a:lnTo>
                <a:lnTo>
                  <a:pt x="3290455" y="860463"/>
                </a:lnTo>
                <a:close/>
              </a:path>
              <a:path w="4842509" h="4803140">
                <a:moveTo>
                  <a:pt x="3455378" y="1436839"/>
                </a:moveTo>
                <a:lnTo>
                  <a:pt x="3449624" y="1393291"/>
                </a:lnTo>
                <a:lnTo>
                  <a:pt x="3433368" y="1354150"/>
                </a:lnTo>
                <a:lnTo>
                  <a:pt x="3408159" y="1320990"/>
                </a:lnTo>
                <a:lnTo>
                  <a:pt x="3375533" y="1295374"/>
                </a:lnTo>
                <a:lnTo>
                  <a:pt x="3337026" y="1278864"/>
                </a:lnTo>
                <a:lnTo>
                  <a:pt x="3294164" y="1273009"/>
                </a:lnTo>
                <a:lnTo>
                  <a:pt x="3251314" y="1278864"/>
                </a:lnTo>
                <a:lnTo>
                  <a:pt x="3212795" y="1295374"/>
                </a:lnTo>
                <a:lnTo>
                  <a:pt x="3180169" y="1320990"/>
                </a:lnTo>
                <a:lnTo>
                  <a:pt x="3154959" y="1354150"/>
                </a:lnTo>
                <a:lnTo>
                  <a:pt x="3138716" y="1393291"/>
                </a:lnTo>
                <a:lnTo>
                  <a:pt x="3132950" y="1436839"/>
                </a:lnTo>
                <a:lnTo>
                  <a:pt x="3138716" y="1480388"/>
                </a:lnTo>
                <a:lnTo>
                  <a:pt x="3154959" y="1519529"/>
                </a:lnTo>
                <a:lnTo>
                  <a:pt x="3180169" y="1552689"/>
                </a:lnTo>
                <a:lnTo>
                  <a:pt x="3212795" y="1578305"/>
                </a:lnTo>
                <a:lnTo>
                  <a:pt x="3251314" y="1594815"/>
                </a:lnTo>
                <a:lnTo>
                  <a:pt x="3294164" y="1600669"/>
                </a:lnTo>
                <a:lnTo>
                  <a:pt x="3337026" y="1594815"/>
                </a:lnTo>
                <a:lnTo>
                  <a:pt x="3375533" y="1578305"/>
                </a:lnTo>
                <a:lnTo>
                  <a:pt x="3408159" y="1552689"/>
                </a:lnTo>
                <a:lnTo>
                  <a:pt x="3433368" y="1519529"/>
                </a:lnTo>
                <a:lnTo>
                  <a:pt x="3449624" y="1480388"/>
                </a:lnTo>
                <a:lnTo>
                  <a:pt x="3455378" y="1436839"/>
                </a:lnTo>
                <a:close/>
              </a:path>
              <a:path w="4842509" h="4803140">
                <a:moveTo>
                  <a:pt x="3677882" y="141617"/>
                </a:moveTo>
                <a:lnTo>
                  <a:pt x="3669868" y="91109"/>
                </a:lnTo>
                <a:lnTo>
                  <a:pt x="3647541" y="47244"/>
                </a:lnTo>
                <a:lnTo>
                  <a:pt x="3613505" y="12661"/>
                </a:lnTo>
                <a:lnTo>
                  <a:pt x="3589439" y="0"/>
                </a:lnTo>
                <a:lnTo>
                  <a:pt x="3451847" y="0"/>
                </a:lnTo>
                <a:lnTo>
                  <a:pt x="3427780" y="12661"/>
                </a:lnTo>
                <a:lnTo>
                  <a:pt x="3393744" y="47244"/>
                </a:lnTo>
                <a:lnTo>
                  <a:pt x="3371418" y="91109"/>
                </a:lnTo>
                <a:lnTo>
                  <a:pt x="3363404" y="141617"/>
                </a:lnTo>
                <a:lnTo>
                  <a:pt x="3371418" y="192125"/>
                </a:lnTo>
                <a:lnTo>
                  <a:pt x="3393744" y="235991"/>
                </a:lnTo>
                <a:lnTo>
                  <a:pt x="3427780" y="270573"/>
                </a:lnTo>
                <a:lnTo>
                  <a:pt x="3470935" y="293268"/>
                </a:lnTo>
                <a:lnTo>
                  <a:pt x="3520643" y="301409"/>
                </a:lnTo>
                <a:lnTo>
                  <a:pt x="3570338" y="293268"/>
                </a:lnTo>
                <a:lnTo>
                  <a:pt x="3613505" y="270573"/>
                </a:lnTo>
                <a:lnTo>
                  <a:pt x="3647541" y="235991"/>
                </a:lnTo>
                <a:lnTo>
                  <a:pt x="3669868" y="192125"/>
                </a:lnTo>
                <a:lnTo>
                  <a:pt x="3677882" y="141617"/>
                </a:lnTo>
                <a:close/>
              </a:path>
              <a:path w="4842509" h="4803140">
                <a:moveTo>
                  <a:pt x="3887127" y="709460"/>
                </a:moveTo>
                <a:lnTo>
                  <a:pt x="3882085" y="664908"/>
                </a:lnTo>
                <a:lnTo>
                  <a:pt x="3867696" y="624001"/>
                </a:lnTo>
                <a:lnTo>
                  <a:pt x="3845128" y="587933"/>
                </a:lnTo>
                <a:lnTo>
                  <a:pt x="3815524" y="557834"/>
                </a:lnTo>
                <a:lnTo>
                  <a:pt x="3780015" y="534898"/>
                </a:lnTo>
                <a:lnTo>
                  <a:pt x="3739769" y="520280"/>
                </a:lnTo>
                <a:lnTo>
                  <a:pt x="3695928" y="515150"/>
                </a:lnTo>
                <a:lnTo>
                  <a:pt x="3652101" y="520280"/>
                </a:lnTo>
                <a:lnTo>
                  <a:pt x="3611854" y="534898"/>
                </a:lnTo>
                <a:lnTo>
                  <a:pt x="3576345" y="557834"/>
                </a:lnTo>
                <a:lnTo>
                  <a:pt x="3546741" y="587933"/>
                </a:lnTo>
                <a:lnTo>
                  <a:pt x="3524173" y="624001"/>
                </a:lnTo>
                <a:lnTo>
                  <a:pt x="3509784" y="664908"/>
                </a:lnTo>
                <a:lnTo>
                  <a:pt x="3504730" y="709460"/>
                </a:lnTo>
                <a:lnTo>
                  <a:pt x="3509784" y="754011"/>
                </a:lnTo>
                <a:lnTo>
                  <a:pt x="3524173" y="794918"/>
                </a:lnTo>
                <a:lnTo>
                  <a:pt x="3546741" y="830986"/>
                </a:lnTo>
                <a:lnTo>
                  <a:pt x="3576345" y="861085"/>
                </a:lnTo>
                <a:lnTo>
                  <a:pt x="3611854" y="884021"/>
                </a:lnTo>
                <a:lnTo>
                  <a:pt x="3652101" y="898639"/>
                </a:lnTo>
                <a:lnTo>
                  <a:pt x="3695928" y="903770"/>
                </a:lnTo>
                <a:lnTo>
                  <a:pt x="3739769" y="898639"/>
                </a:lnTo>
                <a:lnTo>
                  <a:pt x="3780015" y="884021"/>
                </a:lnTo>
                <a:lnTo>
                  <a:pt x="3815524" y="861085"/>
                </a:lnTo>
                <a:lnTo>
                  <a:pt x="3845128" y="830986"/>
                </a:lnTo>
                <a:lnTo>
                  <a:pt x="3867696" y="794918"/>
                </a:lnTo>
                <a:lnTo>
                  <a:pt x="3882085" y="754011"/>
                </a:lnTo>
                <a:lnTo>
                  <a:pt x="3887127" y="709460"/>
                </a:lnTo>
                <a:close/>
              </a:path>
              <a:path w="4842509" h="4803140">
                <a:moveTo>
                  <a:pt x="4802949" y="2817431"/>
                </a:moveTo>
                <a:lnTo>
                  <a:pt x="4797895" y="2772880"/>
                </a:lnTo>
                <a:lnTo>
                  <a:pt x="4783518" y="2731973"/>
                </a:lnTo>
                <a:lnTo>
                  <a:pt x="4760950" y="2695892"/>
                </a:lnTo>
                <a:lnTo>
                  <a:pt x="4731334" y="2665806"/>
                </a:lnTo>
                <a:lnTo>
                  <a:pt x="4695837" y="2642870"/>
                </a:lnTo>
                <a:lnTo>
                  <a:pt x="4655591" y="2628252"/>
                </a:lnTo>
                <a:lnTo>
                  <a:pt x="4611751" y="2623121"/>
                </a:lnTo>
                <a:lnTo>
                  <a:pt x="4567910" y="2628252"/>
                </a:lnTo>
                <a:lnTo>
                  <a:pt x="4527664" y="2642870"/>
                </a:lnTo>
                <a:lnTo>
                  <a:pt x="4492168" y="2665806"/>
                </a:lnTo>
                <a:lnTo>
                  <a:pt x="4462551" y="2695892"/>
                </a:lnTo>
                <a:lnTo>
                  <a:pt x="4439983" y="2731973"/>
                </a:lnTo>
                <a:lnTo>
                  <a:pt x="4425607" y="2772880"/>
                </a:lnTo>
                <a:lnTo>
                  <a:pt x="4420552" y="2817431"/>
                </a:lnTo>
                <a:lnTo>
                  <a:pt x="4425607" y="2861983"/>
                </a:lnTo>
                <a:lnTo>
                  <a:pt x="4439983" y="2902877"/>
                </a:lnTo>
                <a:lnTo>
                  <a:pt x="4462551" y="2938957"/>
                </a:lnTo>
                <a:lnTo>
                  <a:pt x="4492168" y="2969056"/>
                </a:lnTo>
                <a:lnTo>
                  <a:pt x="4527664" y="2991993"/>
                </a:lnTo>
                <a:lnTo>
                  <a:pt x="4567910" y="3006610"/>
                </a:lnTo>
                <a:lnTo>
                  <a:pt x="4611751" y="3011741"/>
                </a:lnTo>
                <a:lnTo>
                  <a:pt x="4655591" y="3006610"/>
                </a:lnTo>
                <a:lnTo>
                  <a:pt x="4695837" y="2991993"/>
                </a:lnTo>
                <a:lnTo>
                  <a:pt x="4731334" y="2969056"/>
                </a:lnTo>
                <a:lnTo>
                  <a:pt x="4760950" y="2938957"/>
                </a:lnTo>
                <a:lnTo>
                  <a:pt x="4783518" y="2902877"/>
                </a:lnTo>
                <a:lnTo>
                  <a:pt x="4797895" y="2861983"/>
                </a:lnTo>
                <a:lnTo>
                  <a:pt x="4802949" y="2817431"/>
                </a:lnTo>
                <a:close/>
              </a:path>
              <a:path w="4842509" h="4803140">
                <a:moveTo>
                  <a:pt x="4841951" y="3202800"/>
                </a:moveTo>
                <a:lnTo>
                  <a:pt x="4773104" y="3204997"/>
                </a:lnTo>
                <a:lnTo>
                  <a:pt x="4732858" y="3219615"/>
                </a:lnTo>
                <a:lnTo>
                  <a:pt x="4697349" y="3242551"/>
                </a:lnTo>
                <a:lnTo>
                  <a:pt x="4667745" y="3272650"/>
                </a:lnTo>
                <a:lnTo>
                  <a:pt x="4645177" y="3308718"/>
                </a:lnTo>
                <a:lnTo>
                  <a:pt x="4630788" y="3349625"/>
                </a:lnTo>
                <a:lnTo>
                  <a:pt x="4625746" y="3394176"/>
                </a:lnTo>
                <a:lnTo>
                  <a:pt x="4630788" y="3438728"/>
                </a:lnTo>
                <a:lnTo>
                  <a:pt x="4645177" y="3479635"/>
                </a:lnTo>
                <a:lnTo>
                  <a:pt x="4667745" y="3515703"/>
                </a:lnTo>
                <a:lnTo>
                  <a:pt x="4697349" y="3545802"/>
                </a:lnTo>
                <a:lnTo>
                  <a:pt x="4732858" y="3568738"/>
                </a:lnTo>
                <a:lnTo>
                  <a:pt x="4773104" y="3583355"/>
                </a:lnTo>
                <a:lnTo>
                  <a:pt x="4816945" y="3588486"/>
                </a:lnTo>
                <a:lnTo>
                  <a:pt x="4841951" y="3585553"/>
                </a:lnTo>
                <a:lnTo>
                  <a:pt x="4841951" y="3202800"/>
                </a:lnTo>
                <a:close/>
              </a:path>
              <a:path w="4842509" h="4803140">
                <a:moveTo>
                  <a:pt x="4841951" y="1842350"/>
                </a:moveTo>
                <a:lnTo>
                  <a:pt x="4807712" y="1875828"/>
                </a:lnTo>
                <a:lnTo>
                  <a:pt x="4783315" y="1910905"/>
                </a:lnTo>
                <a:lnTo>
                  <a:pt x="4765014" y="1950059"/>
                </a:lnTo>
                <a:lnTo>
                  <a:pt x="4753534" y="1992579"/>
                </a:lnTo>
                <a:lnTo>
                  <a:pt x="4749546" y="2037765"/>
                </a:lnTo>
                <a:lnTo>
                  <a:pt x="4753534" y="2082939"/>
                </a:lnTo>
                <a:lnTo>
                  <a:pt x="4765014" y="2125459"/>
                </a:lnTo>
                <a:lnTo>
                  <a:pt x="4783315" y="2164626"/>
                </a:lnTo>
                <a:lnTo>
                  <a:pt x="4807712" y="2199703"/>
                </a:lnTo>
                <a:lnTo>
                  <a:pt x="4837519" y="2229993"/>
                </a:lnTo>
                <a:lnTo>
                  <a:pt x="4841951" y="2233180"/>
                </a:lnTo>
                <a:lnTo>
                  <a:pt x="4841951" y="1842350"/>
                </a:lnTo>
                <a:close/>
              </a:path>
              <a:path w="4842509" h="4803140">
                <a:moveTo>
                  <a:pt x="4841951" y="573493"/>
                </a:moveTo>
                <a:lnTo>
                  <a:pt x="4189387" y="573493"/>
                </a:lnTo>
                <a:lnTo>
                  <a:pt x="4140073" y="583450"/>
                </a:lnTo>
                <a:lnTo>
                  <a:pt x="4099814" y="610603"/>
                </a:lnTo>
                <a:lnTo>
                  <a:pt x="4072674" y="650875"/>
                </a:lnTo>
                <a:lnTo>
                  <a:pt x="4062730" y="700176"/>
                </a:lnTo>
                <a:lnTo>
                  <a:pt x="4072674" y="749490"/>
                </a:lnTo>
                <a:lnTo>
                  <a:pt x="4099814" y="789749"/>
                </a:lnTo>
                <a:lnTo>
                  <a:pt x="4140073" y="816902"/>
                </a:lnTo>
                <a:lnTo>
                  <a:pt x="4189387" y="826858"/>
                </a:lnTo>
                <a:lnTo>
                  <a:pt x="4767542" y="826858"/>
                </a:lnTo>
                <a:lnTo>
                  <a:pt x="4736668" y="864552"/>
                </a:lnTo>
                <a:lnTo>
                  <a:pt x="4705045" y="902195"/>
                </a:lnTo>
                <a:lnTo>
                  <a:pt x="4672723" y="939787"/>
                </a:lnTo>
                <a:lnTo>
                  <a:pt x="4639742" y="977303"/>
                </a:lnTo>
                <a:lnTo>
                  <a:pt x="4606137" y="1014742"/>
                </a:lnTo>
                <a:lnTo>
                  <a:pt x="4571949" y="1052106"/>
                </a:lnTo>
                <a:lnTo>
                  <a:pt x="4537214" y="1089380"/>
                </a:lnTo>
                <a:lnTo>
                  <a:pt x="4501985" y="1126578"/>
                </a:lnTo>
                <a:lnTo>
                  <a:pt x="4466285" y="1163675"/>
                </a:lnTo>
                <a:lnTo>
                  <a:pt x="4430166" y="1200658"/>
                </a:lnTo>
                <a:lnTo>
                  <a:pt x="4393654" y="1237538"/>
                </a:lnTo>
                <a:lnTo>
                  <a:pt x="4356811" y="1274305"/>
                </a:lnTo>
                <a:lnTo>
                  <a:pt x="4319663" y="1310957"/>
                </a:lnTo>
                <a:lnTo>
                  <a:pt x="4282249" y="1347470"/>
                </a:lnTo>
                <a:lnTo>
                  <a:pt x="4206786" y="1420114"/>
                </a:lnTo>
                <a:lnTo>
                  <a:pt x="4092625" y="1527962"/>
                </a:lnTo>
                <a:lnTo>
                  <a:pt x="3735552" y="1858314"/>
                </a:lnTo>
                <a:lnTo>
                  <a:pt x="3567468" y="2015528"/>
                </a:lnTo>
                <a:lnTo>
                  <a:pt x="3485985" y="2093442"/>
                </a:lnTo>
                <a:lnTo>
                  <a:pt x="3446056" y="2132241"/>
                </a:lnTo>
                <a:lnTo>
                  <a:pt x="3406711" y="2170925"/>
                </a:lnTo>
                <a:lnTo>
                  <a:pt x="3368014" y="2209508"/>
                </a:lnTo>
                <a:lnTo>
                  <a:pt x="3330003" y="2247989"/>
                </a:lnTo>
                <a:lnTo>
                  <a:pt x="3292716" y="2286381"/>
                </a:lnTo>
                <a:lnTo>
                  <a:pt x="3256216" y="2324658"/>
                </a:lnTo>
                <a:lnTo>
                  <a:pt x="3220529" y="2362860"/>
                </a:lnTo>
                <a:lnTo>
                  <a:pt x="3185718" y="2400960"/>
                </a:lnTo>
                <a:lnTo>
                  <a:pt x="3151809" y="2438971"/>
                </a:lnTo>
                <a:lnTo>
                  <a:pt x="3118866" y="2476893"/>
                </a:lnTo>
                <a:lnTo>
                  <a:pt x="3086925" y="2514727"/>
                </a:lnTo>
                <a:lnTo>
                  <a:pt x="3056039" y="2552484"/>
                </a:lnTo>
                <a:lnTo>
                  <a:pt x="3026245" y="2590165"/>
                </a:lnTo>
                <a:lnTo>
                  <a:pt x="2997581" y="2627757"/>
                </a:lnTo>
                <a:lnTo>
                  <a:pt x="2970111" y="2665285"/>
                </a:lnTo>
                <a:lnTo>
                  <a:pt x="2943860" y="2702737"/>
                </a:lnTo>
                <a:lnTo>
                  <a:pt x="2918904" y="2740126"/>
                </a:lnTo>
                <a:lnTo>
                  <a:pt x="2895257" y="2777439"/>
                </a:lnTo>
                <a:lnTo>
                  <a:pt x="2872981" y="2814688"/>
                </a:lnTo>
                <a:lnTo>
                  <a:pt x="2852102" y="2851874"/>
                </a:lnTo>
                <a:lnTo>
                  <a:pt x="2832697" y="2888996"/>
                </a:lnTo>
                <a:lnTo>
                  <a:pt x="2814790" y="2926054"/>
                </a:lnTo>
                <a:lnTo>
                  <a:pt x="2798432" y="2963075"/>
                </a:lnTo>
                <a:lnTo>
                  <a:pt x="2783662" y="3000032"/>
                </a:lnTo>
                <a:lnTo>
                  <a:pt x="2770543" y="3036938"/>
                </a:lnTo>
                <a:lnTo>
                  <a:pt x="2749334" y="3105696"/>
                </a:lnTo>
                <a:lnTo>
                  <a:pt x="2731732" y="3173577"/>
                </a:lnTo>
                <a:lnTo>
                  <a:pt x="2717584" y="3240532"/>
                </a:lnTo>
                <a:lnTo>
                  <a:pt x="2706751" y="3306546"/>
                </a:lnTo>
                <a:lnTo>
                  <a:pt x="2699054" y="3371558"/>
                </a:lnTo>
                <a:lnTo>
                  <a:pt x="2694368" y="3435553"/>
                </a:lnTo>
                <a:lnTo>
                  <a:pt x="2692539" y="3498481"/>
                </a:lnTo>
                <a:lnTo>
                  <a:pt x="2693416" y="3560318"/>
                </a:lnTo>
                <a:lnTo>
                  <a:pt x="2696845" y="3621024"/>
                </a:lnTo>
                <a:lnTo>
                  <a:pt x="2702687" y="3680549"/>
                </a:lnTo>
                <a:lnTo>
                  <a:pt x="2710777" y="3738880"/>
                </a:lnTo>
                <a:lnTo>
                  <a:pt x="2720975" y="3795979"/>
                </a:lnTo>
                <a:lnTo>
                  <a:pt x="2733116" y="3851795"/>
                </a:lnTo>
                <a:lnTo>
                  <a:pt x="2747073" y="3906291"/>
                </a:lnTo>
                <a:lnTo>
                  <a:pt x="2762681" y="3959453"/>
                </a:lnTo>
                <a:lnTo>
                  <a:pt x="2779801" y="4011231"/>
                </a:lnTo>
                <a:lnTo>
                  <a:pt x="2798267" y="4061587"/>
                </a:lnTo>
                <a:lnTo>
                  <a:pt x="2817952" y="4110494"/>
                </a:lnTo>
                <a:lnTo>
                  <a:pt x="2838678" y="4157903"/>
                </a:lnTo>
                <a:lnTo>
                  <a:pt x="2860319" y="4203801"/>
                </a:lnTo>
                <a:lnTo>
                  <a:pt x="2882709" y="4248137"/>
                </a:lnTo>
                <a:lnTo>
                  <a:pt x="2905709" y="4290860"/>
                </a:lnTo>
                <a:lnTo>
                  <a:pt x="2929166" y="4331970"/>
                </a:lnTo>
                <a:lnTo>
                  <a:pt x="2952927" y="4371403"/>
                </a:lnTo>
                <a:lnTo>
                  <a:pt x="2976854" y="4409135"/>
                </a:lnTo>
                <a:lnTo>
                  <a:pt x="3000768" y="4445127"/>
                </a:lnTo>
                <a:lnTo>
                  <a:pt x="3024555" y="4479353"/>
                </a:lnTo>
                <a:lnTo>
                  <a:pt x="3048038" y="4511764"/>
                </a:lnTo>
                <a:lnTo>
                  <a:pt x="3071076" y="4542320"/>
                </a:lnTo>
                <a:lnTo>
                  <a:pt x="3115233" y="4597768"/>
                </a:lnTo>
                <a:lnTo>
                  <a:pt x="3155810" y="4645406"/>
                </a:lnTo>
                <a:lnTo>
                  <a:pt x="3191624" y="4684941"/>
                </a:lnTo>
                <a:lnTo>
                  <a:pt x="3221456" y="4716094"/>
                </a:lnTo>
                <a:lnTo>
                  <a:pt x="3252393" y="4746498"/>
                </a:lnTo>
                <a:lnTo>
                  <a:pt x="3289871" y="4776190"/>
                </a:lnTo>
                <a:lnTo>
                  <a:pt x="3352101" y="4799800"/>
                </a:lnTo>
                <a:lnTo>
                  <a:pt x="3384816" y="4802733"/>
                </a:lnTo>
                <a:lnTo>
                  <a:pt x="3422065" y="4798923"/>
                </a:lnTo>
                <a:lnTo>
                  <a:pt x="3491369" y="4768710"/>
                </a:lnTo>
                <a:lnTo>
                  <a:pt x="3520922" y="4742446"/>
                </a:lnTo>
                <a:lnTo>
                  <a:pt x="3548837" y="4701959"/>
                </a:lnTo>
                <a:lnTo>
                  <a:pt x="3564598" y="4657090"/>
                </a:lnTo>
                <a:lnTo>
                  <a:pt x="3568331" y="4610303"/>
                </a:lnTo>
                <a:lnTo>
                  <a:pt x="3560165" y="4564062"/>
                </a:lnTo>
                <a:lnTo>
                  <a:pt x="3540239" y="4520857"/>
                </a:lnTo>
                <a:lnTo>
                  <a:pt x="3508654" y="4483138"/>
                </a:lnTo>
                <a:lnTo>
                  <a:pt x="3500399" y="4475378"/>
                </a:lnTo>
                <a:lnTo>
                  <a:pt x="3484295" y="4459541"/>
                </a:lnTo>
                <a:lnTo>
                  <a:pt x="3433026" y="4404792"/>
                </a:lnTo>
                <a:lnTo>
                  <a:pt x="3400107" y="4366463"/>
                </a:lnTo>
                <a:lnTo>
                  <a:pt x="3363798" y="4321213"/>
                </a:lnTo>
                <a:lnTo>
                  <a:pt x="3325253" y="4269359"/>
                </a:lnTo>
                <a:lnTo>
                  <a:pt x="3285566" y="4211167"/>
                </a:lnTo>
                <a:lnTo>
                  <a:pt x="3245878" y="4146956"/>
                </a:lnTo>
                <a:lnTo>
                  <a:pt x="3207283" y="4077004"/>
                </a:lnTo>
                <a:lnTo>
                  <a:pt x="3803065" y="4077004"/>
                </a:lnTo>
                <a:lnTo>
                  <a:pt x="3852380" y="4067048"/>
                </a:lnTo>
                <a:lnTo>
                  <a:pt x="3892639" y="4039895"/>
                </a:lnTo>
                <a:lnTo>
                  <a:pt x="3919766" y="3999623"/>
                </a:lnTo>
                <a:lnTo>
                  <a:pt x="3929723" y="3950322"/>
                </a:lnTo>
                <a:lnTo>
                  <a:pt x="3919766" y="3901008"/>
                </a:lnTo>
                <a:lnTo>
                  <a:pt x="3892639" y="3860736"/>
                </a:lnTo>
                <a:lnTo>
                  <a:pt x="3852380" y="3833596"/>
                </a:lnTo>
                <a:lnTo>
                  <a:pt x="3803065" y="3823639"/>
                </a:lnTo>
                <a:lnTo>
                  <a:pt x="3106051" y="3823639"/>
                </a:lnTo>
                <a:lnTo>
                  <a:pt x="3093821" y="3777284"/>
                </a:lnTo>
                <a:lnTo>
                  <a:pt x="3083318" y="3729761"/>
                </a:lnTo>
                <a:lnTo>
                  <a:pt x="3074657" y="3681095"/>
                </a:lnTo>
                <a:lnTo>
                  <a:pt x="3068002" y="3631336"/>
                </a:lnTo>
                <a:lnTo>
                  <a:pt x="3063494" y="3580523"/>
                </a:lnTo>
                <a:lnTo>
                  <a:pt x="3061284" y="3528695"/>
                </a:lnTo>
                <a:lnTo>
                  <a:pt x="4186415" y="3528695"/>
                </a:lnTo>
                <a:lnTo>
                  <a:pt x="4235729" y="3518738"/>
                </a:lnTo>
                <a:lnTo>
                  <a:pt x="4275988" y="3491585"/>
                </a:lnTo>
                <a:lnTo>
                  <a:pt x="4303128" y="3451326"/>
                </a:lnTo>
                <a:lnTo>
                  <a:pt x="4313072" y="3402012"/>
                </a:lnTo>
                <a:lnTo>
                  <a:pt x="4303128" y="3352711"/>
                </a:lnTo>
                <a:lnTo>
                  <a:pt x="4275988" y="3312439"/>
                </a:lnTo>
                <a:lnTo>
                  <a:pt x="4235729" y="3285286"/>
                </a:lnTo>
                <a:lnTo>
                  <a:pt x="4186415" y="3275330"/>
                </a:lnTo>
                <a:lnTo>
                  <a:pt x="3085935" y="3275330"/>
                </a:lnTo>
                <a:lnTo>
                  <a:pt x="3092831" y="3245078"/>
                </a:lnTo>
                <a:lnTo>
                  <a:pt x="3109315" y="3183979"/>
                </a:lnTo>
                <a:lnTo>
                  <a:pt x="3133902" y="3113087"/>
                </a:lnTo>
                <a:lnTo>
                  <a:pt x="3151809" y="3072396"/>
                </a:lnTo>
                <a:lnTo>
                  <a:pt x="3172637" y="3031083"/>
                </a:lnTo>
                <a:lnTo>
                  <a:pt x="3196209" y="2989161"/>
                </a:lnTo>
                <a:lnTo>
                  <a:pt x="3222371" y="2946666"/>
                </a:lnTo>
                <a:lnTo>
                  <a:pt x="3222929" y="2946666"/>
                </a:lnTo>
                <a:lnTo>
                  <a:pt x="3223450" y="2946831"/>
                </a:lnTo>
                <a:lnTo>
                  <a:pt x="4085818" y="2946831"/>
                </a:lnTo>
                <a:lnTo>
                  <a:pt x="4086631" y="2946666"/>
                </a:lnTo>
                <a:lnTo>
                  <a:pt x="4135132" y="2936875"/>
                </a:lnTo>
                <a:lnTo>
                  <a:pt x="4175391" y="2909722"/>
                </a:lnTo>
                <a:lnTo>
                  <a:pt x="4202519" y="2869450"/>
                </a:lnTo>
                <a:lnTo>
                  <a:pt x="4212475" y="2820149"/>
                </a:lnTo>
                <a:lnTo>
                  <a:pt x="4202519" y="2770835"/>
                </a:lnTo>
                <a:lnTo>
                  <a:pt x="4175391" y="2730563"/>
                </a:lnTo>
                <a:lnTo>
                  <a:pt x="4135132" y="2703423"/>
                </a:lnTo>
                <a:lnTo>
                  <a:pt x="4085818" y="2693466"/>
                </a:lnTo>
                <a:lnTo>
                  <a:pt x="3416541" y="2693466"/>
                </a:lnTo>
                <a:lnTo>
                  <a:pt x="3446754" y="2659380"/>
                </a:lnTo>
                <a:lnTo>
                  <a:pt x="3477958" y="2625026"/>
                </a:lnTo>
                <a:lnTo>
                  <a:pt x="3510102" y="2590444"/>
                </a:lnTo>
                <a:lnTo>
                  <a:pt x="3543135" y="2555608"/>
                </a:lnTo>
                <a:lnTo>
                  <a:pt x="3577018" y="2520543"/>
                </a:lnTo>
                <a:lnTo>
                  <a:pt x="3611702" y="2485263"/>
                </a:lnTo>
                <a:lnTo>
                  <a:pt x="3647122" y="2449753"/>
                </a:lnTo>
                <a:lnTo>
                  <a:pt x="3683254" y="2414041"/>
                </a:lnTo>
                <a:lnTo>
                  <a:pt x="3720046" y="2378125"/>
                </a:lnTo>
                <a:lnTo>
                  <a:pt x="3795395" y="2305697"/>
                </a:lnTo>
                <a:lnTo>
                  <a:pt x="3912184" y="2195715"/>
                </a:lnTo>
                <a:lnTo>
                  <a:pt x="4351325" y="1789176"/>
                </a:lnTo>
                <a:lnTo>
                  <a:pt x="4468863" y="1678254"/>
                </a:lnTo>
                <a:lnTo>
                  <a:pt x="4546206" y="1603908"/>
                </a:lnTo>
                <a:lnTo>
                  <a:pt x="4584484" y="1566621"/>
                </a:lnTo>
                <a:lnTo>
                  <a:pt x="4622444" y="1529245"/>
                </a:lnTo>
                <a:lnTo>
                  <a:pt x="4660087" y="1491767"/>
                </a:lnTo>
                <a:lnTo>
                  <a:pt x="4697361" y="1454213"/>
                </a:lnTo>
                <a:lnTo>
                  <a:pt x="4734242" y="1416545"/>
                </a:lnTo>
                <a:lnTo>
                  <a:pt x="4770691" y="1378788"/>
                </a:lnTo>
                <a:lnTo>
                  <a:pt x="4806696" y="1340929"/>
                </a:lnTo>
                <a:lnTo>
                  <a:pt x="4841951" y="1303248"/>
                </a:lnTo>
                <a:lnTo>
                  <a:pt x="4841951" y="573493"/>
                </a:lnTo>
                <a:close/>
              </a:path>
              <a:path w="4842509" h="4803140">
                <a:moveTo>
                  <a:pt x="4841951" y="12"/>
                </a:moveTo>
                <a:lnTo>
                  <a:pt x="4128516" y="12"/>
                </a:lnTo>
                <a:lnTo>
                  <a:pt x="4084472" y="8902"/>
                </a:lnTo>
                <a:lnTo>
                  <a:pt x="4044213" y="36055"/>
                </a:lnTo>
                <a:lnTo>
                  <a:pt x="4017073" y="76327"/>
                </a:lnTo>
                <a:lnTo>
                  <a:pt x="4007129" y="125628"/>
                </a:lnTo>
                <a:lnTo>
                  <a:pt x="4017073" y="174942"/>
                </a:lnTo>
                <a:lnTo>
                  <a:pt x="4044213" y="215214"/>
                </a:lnTo>
                <a:lnTo>
                  <a:pt x="4084472" y="242366"/>
                </a:lnTo>
                <a:lnTo>
                  <a:pt x="4133786" y="252323"/>
                </a:lnTo>
                <a:lnTo>
                  <a:pt x="4841951" y="252323"/>
                </a:lnTo>
                <a:lnTo>
                  <a:pt x="4841951" y="12"/>
                </a:lnTo>
                <a:close/>
              </a:path>
            </a:pathLst>
          </a:custGeom>
          <a:solidFill>
            <a:srgbClr val="00AFFF"/>
          </a:solidFill>
        </p:spPr>
        <p:txBody>
          <a:bodyPr wrap="square" lIns="0" tIns="0" rIns="0" bIns="0" rtlCol="0"/>
          <a:lstStyle/>
          <a:p>
            <a:endParaRPr/>
          </a:p>
        </p:txBody>
      </p:sp>
    </p:spTree>
    <p:extLst>
      <p:ext uri="{BB962C8B-B14F-4D97-AF65-F5344CB8AC3E}">
        <p14:creationId xmlns:p14="http://schemas.microsoft.com/office/powerpoint/2010/main" val="6417941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ation Slide - Gre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4446D-3EC5-A487-67B6-AFE74A9C4781}"/>
              </a:ext>
            </a:extLst>
          </p:cNvPr>
          <p:cNvSpPr>
            <a:spLocks noGrp="1"/>
          </p:cNvSpPr>
          <p:nvPr>
            <p:ph type="title"/>
          </p:nvPr>
        </p:nvSpPr>
        <p:spPr>
          <a:xfrm>
            <a:off x="4301835" y="365125"/>
            <a:ext cx="7232073" cy="4355493"/>
          </a:xfrm>
        </p:spPr>
        <p:txBody>
          <a:bodyPr anchor="t" anchorCtr="0">
            <a:normAutofit/>
          </a:bodyPr>
          <a:lstStyle>
            <a:lvl1pPr algn="r">
              <a:defRPr sz="4000">
                <a:solidFill>
                  <a:schemeClr val="accent3"/>
                </a:solidFill>
              </a:defRPr>
            </a:lvl1p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A5CA96E9-5766-B813-ED3A-78756E2A6A61}"/>
              </a:ext>
            </a:extLst>
          </p:cNvPr>
          <p:cNvSpPr>
            <a:spLocks noGrp="1"/>
          </p:cNvSpPr>
          <p:nvPr>
            <p:ph type="body" idx="1"/>
          </p:nvPr>
        </p:nvSpPr>
        <p:spPr>
          <a:xfrm>
            <a:off x="4301836" y="4862945"/>
            <a:ext cx="7232072" cy="440575"/>
          </a:xfrm>
          <a:prstGeom prst="rect">
            <a:avLst/>
          </a:prstGeom>
        </p:spPr>
        <p:txBody>
          <a:bodyPr anchor="t" anchorCtr="0">
            <a:normAutofit/>
          </a:bodyPr>
          <a:lstStyle>
            <a:lvl1pPr marL="0" indent="0" algn="r">
              <a:buNone/>
              <a:defRPr sz="20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8" name="Footer Placeholder 7">
            <a:extLst>
              <a:ext uri="{FF2B5EF4-FFF2-40B4-BE49-F238E27FC236}">
                <a16:creationId xmlns:a16="http://schemas.microsoft.com/office/drawing/2014/main" id="{49A034B4-D92B-161B-41A1-3DE14A2FB743}"/>
              </a:ext>
            </a:extLst>
          </p:cNvPr>
          <p:cNvSpPr>
            <a:spLocks noGrp="1"/>
          </p:cNvSpPr>
          <p:nvPr>
            <p:ph type="ftr" sz="quarter" idx="11"/>
          </p:nvPr>
        </p:nvSpPr>
        <p:spPr>
          <a:xfrm>
            <a:off x="751840" y="6127750"/>
            <a:ext cx="8890000" cy="365125"/>
          </a:xfrm>
          <a:prstGeom prst="rect">
            <a:avLst/>
          </a:prstGeom>
        </p:spPr>
        <p:txBody>
          <a:bodyPr/>
          <a:lstStyle>
            <a:lvl1pPr>
              <a:defRPr>
                <a:solidFill>
                  <a:schemeClr val="bg2"/>
                </a:solidFill>
              </a:defRPr>
            </a:lvl1pPr>
          </a:lstStyle>
          <a:p>
            <a:endParaRPr lang="en-GB" dirty="0"/>
          </a:p>
        </p:txBody>
      </p:sp>
      <p:sp>
        <p:nvSpPr>
          <p:cNvPr id="4" name="object 2">
            <a:extLst>
              <a:ext uri="{FF2B5EF4-FFF2-40B4-BE49-F238E27FC236}">
                <a16:creationId xmlns:a16="http://schemas.microsoft.com/office/drawing/2014/main" id="{FB453B0D-C8DF-80FC-EEDE-35EBA33A3EB9}"/>
              </a:ext>
            </a:extLst>
          </p:cNvPr>
          <p:cNvSpPr/>
          <p:nvPr userDrawn="1"/>
        </p:nvSpPr>
        <p:spPr>
          <a:xfrm>
            <a:off x="108938" y="-20309"/>
            <a:ext cx="3349537" cy="4281787"/>
          </a:xfrm>
          <a:custGeom>
            <a:avLst/>
            <a:gdLst/>
            <a:ahLst/>
            <a:cxnLst/>
            <a:rect l="l" t="t" r="r" b="b"/>
            <a:pathLst>
              <a:path w="3693795" h="4721860">
                <a:moveTo>
                  <a:pt x="985329" y="60604"/>
                </a:moveTo>
                <a:lnTo>
                  <a:pt x="977315" y="10096"/>
                </a:lnTo>
                <a:lnTo>
                  <a:pt x="972172" y="0"/>
                </a:lnTo>
                <a:lnTo>
                  <a:pt x="684009" y="0"/>
                </a:lnTo>
                <a:lnTo>
                  <a:pt x="678865" y="10096"/>
                </a:lnTo>
                <a:lnTo>
                  <a:pt x="670852" y="60604"/>
                </a:lnTo>
                <a:lnTo>
                  <a:pt x="678865" y="111112"/>
                </a:lnTo>
                <a:lnTo>
                  <a:pt x="701192" y="154978"/>
                </a:lnTo>
                <a:lnTo>
                  <a:pt x="735228" y="189572"/>
                </a:lnTo>
                <a:lnTo>
                  <a:pt x="778395" y="212255"/>
                </a:lnTo>
                <a:lnTo>
                  <a:pt x="828090" y="220395"/>
                </a:lnTo>
                <a:lnTo>
                  <a:pt x="877785" y="212255"/>
                </a:lnTo>
                <a:lnTo>
                  <a:pt x="920953" y="189572"/>
                </a:lnTo>
                <a:lnTo>
                  <a:pt x="954989" y="154978"/>
                </a:lnTo>
                <a:lnTo>
                  <a:pt x="977315" y="111112"/>
                </a:lnTo>
                <a:lnTo>
                  <a:pt x="985329" y="60604"/>
                </a:lnTo>
                <a:close/>
              </a:path>
              <a:path w="3693795" h="4721860">
                <a:moveTo>
                  <a:pt x="1194587" y="628446"/>
                </a:moveTo>
                <a:lnTo>
                  <a:pt x="1189532" y="583895"/>
                </a:lnTo>
                <a:lnTo>
                  <a:pt x="1175143" y="543001"/>
                </a:lnTo>
                <a:lnTo>
                  <a:pt x="1152575" y="506920"/>
                </a:lnTo>
                <a:lnTo>
                  <a:pt x="1122972" y="476821"/>
                </a:lnTo>
                <a:lnTo>
                  <a:pt x="1087462" y="453885"/>
                </a:lnTo>
                <a:lnTo>
                  <a:pt x="1047229" y="439267"/>
                </a:lnTo>
                <a:lnTo>
                  <a:pt x="1003388" y="434136"/>
                </a:lnTo>
                <a:lnTo>
                  <a:pt x="959548" y="439267"/>
                </a:lnTo>
                <a:lnTo>
                  <a:pt x="919302" y="453885"/>
                </a:lnTo>
                <a:lnTo>
                  <a:pt x="883805" y="476821"/>
                </a:lnTo>
                <a:lnTo>
                  <a:pt x="854189" y="506920"/>
                </a:lnTo>
                <a:lnTo>
                  <a:pt x="831621" y="543001"/>
                </a:lnTo>
                <a:lnTo>
                  <a:pt x="817232" y="583895"/>
                </a:lnTo>
                <a:lnTo>
                  <a:pt x="812190" y="628446"/>
                </a:lnTo>
                <a:lnTo>
                  <a:pt x="817232" y="672998"/>
                </a:lnTo>
                <a:lnTo>
                  <a:pt x="831621" y="713905"/>
                </a:lnTo>
                <a:lnTo>
                  <a:pt x="854189" y="749973"/>
                </a:lnTo>
                <a:lnTo>
                  <a:pt x="883805" y="780072"/>
                </a:lnTo>
                <a:lnTo>
                  <a:pt x="919302" y="803008"/>
                </a:lnTo>
                <a:lnTo>
                  <a:pt x="959548" y="817626"/>
                </a:lnTo>
                <a:lnTo>
                  <a:pt x="1003388" y="822756"/>
                </a:lnTo>
                <a:lnTo>
                  <a:pt x="1047229" y="817626"/>
                </a:lnTo>
                <a:lnTo>
                  <a:pt x="1087462" y="803008"/>
                </a:lnTo>
                <a:lnTo>
                  <a:pt x="1122972" y="780072"/>
                </a:lnTo>
                <a:lnTo>
                  <a:pt x="1152575" y="749973"/>
                </a:lnTo>
                <a:lnTo>
                  <a:pt x="1175143" y="713905"/>
                </a:lnTo>
                <a:lnTo>
                  <a:pt x="1189532" y="672998"/>
                </a:lnTo>
                <a:lnTo>
                  <a:pt x="1194587" y="628446"/>
                </a:lnTo>
                <a:close/>
              </a:path>
              <a:path w="3693795" h="4721860">
                <a:moveTo>
                  <a:pt x="2110397" y="2736418"/>
                </a:moveTo>
                <a:lnTo>
                  <a:pt x="2105355" y="2691866"/>
                </a:lnTo>
                <a:lnTo>
                  <a:pt x="2090966" y="2650960"/>
                </a:lnTo>
                <a:lnTo>
                  <a:pt x="2068398" y="2614892"/>
                </a:lnTo>
                <a:lnTo>
                  <a:pt x="2038781" y="2584793"/>
                </a:lnTo>
                <a:lnTo>
                  <a:pt x="2003285" y="2561856"/>
                </a:lnTo>
                <a:lnTo>
                  <a:pt x="1963039" y="2547239"/>
                </a:lnTo>
                <a:lnTo>
                  <a:pt x="1919198" y="2542108"/>
                </a:lnTo>
                <a:lnTo>
                  <a:pt x="1875358" y="2547239"/>
                </a:lnTo>
                <a:lnTo>
                  <a:pt x="1835111" y="2561856"/>
                </a:lnTo>
                <a:lnTo>
                  <a:pt x="1799615" y="2584793"/>
                </a:lnTo>
                <a:lnTo>
                  <a:pt x="1770011" y="2614892"/>
                </a:lnTo>
                <a:lnTo>
                  <a:pt x="1747431" y="2650960"/>
                </a:lnTo>
                <a:lnTo>
                  <a:pt x="1733054" y="2691866"/>
                </a:lnTo>
                <a:lnTo>
                  <a:pt x="1728000" y="2736418"/>
                </a:lnTo>
                <a:lnTo>
                  <a:pt x="1733054" y="2780969"/>
                </a:lnTo>
                <a:lnTo>
                  <a:pt x="1747431" y="2821863"/>
                </a:lnTo>
                <a:lnTo>
                  <a:pt x="1770011" y="2857944"/>
                </a:lnTo>
                <a:lnTo>
                  <a:pt x="1799615" y="2888043"/>
                </a:lnTo>
                <a:lnTo>
                  <a:pt x="1835111" y="2910979"/>
                </a:lnTo>
                <a:lnTo>
                  <a:pt x="1875358" y="2925597"/>
                </a:lnTo>
                <a:lnTo>
                  <a:pt x="1919198" y="2930728"/>
                </a:lnTo>
                <a:lnTo>
                  <a:pt x="1963039" y="2925597"/>
                </a:lnTo>
                <a:lnTo>
                  <a:pt x="2003285" y="2910979"/>
                </a:lnTo>
                <a:lnTo>
                  <a:pt x="2038781" y="2888043"/>
                </a:lnTo>
                <a:lnTo>
                  <a:pt x="2068398" y="2857944"/>
                </a:lnTo>
                <a:lnTo>
                  <a:pt x="2090966" y="2821863"/>
                </a:lnTo>
                <a:lnTo>
                  <a:pt x="2105355" y="2780969"/>
                </a:lnTo>
                <a:lnTo>
                  <a:pt x="2110397" y="2736418"/>
                </a:lnTo>
                <a:close/>
              </a:path>
              <a:path w="3693795" h="4721860">
                <a:moveTo>
                  <a:pt x="2315591" y="3313163"/>
                </a:moveTo>
                <a:lnTo>
                  <a:pt x="2310536" y="3268611"/>
                </a:lnTo>
                <a:lnTo>
                  <a:pt x="2296160" y="3227717"/>
                </a:lnTo>
                <a:lnTo>
                  <a:pt x="2273592" y="3191637"/>
                </a:lnTo>
                <a:lnTo>
                  <a:pt x="2243975" y="3161538"/>
                </a:lnTo>
                <a:lnTo>
                  <a:pt x="2208479" y="3138601"/>
                </a:lnTo>
                <a:lnTo>
                  <a:pt x="2168233" y="3123984"/>
                </a:lnTo>
                <a:lnTo>
                  <a:pt x="2124392" y="3118853"/>
                </a:lnTo>
                <a:lnTo>
                  <a:pt x="2080552" y="3123984"/>
                </a:lnTo>
                <a:lnTo>
                  <a:pt x="2040305" y="3138601"/>
                </a:lnTo>
                <a:lnTo>
                  <a:pt x="2004809" y="3161538"/>
                </a:lnTo>
                <a:lnTo>
                  <a:pt x="1975192" y="3191637"/>
                </a:lnTo>
                <a:lnTo>
                  <a:pt x="1952625" y="3227717"/>
                </a:lnTo>
                <a:lnTo>
                  <a:pt x="1938235" y="3268611"/>
                </a:lnTo>
                <a:lnTo>
                  <a:pt x="1933194" y="3313163"/>
                </a:lnTo>
                <a:lnTo>
                  <a:pt x="1938235" y="3357715"/>
                </a:lnTo>
                <a:lnTo>
                  <a:pt x="1952625" y="3398621"/>
                </a:lnTo>
                <a:lnTo>
                  <a:pt x="1975192" y="3434689"/>
                </a:lnTo>
                <a:lnTo>
                  <a:pt x="2004809" y="3464788"/>
                </a:lnTo>
                <a:lnTo>
                  <a:pt x="2040305" y="3487724"/>
                </a:lnTo>
                <a:lnTo>
                  <a:pt x="2080552" y="3502342"/>
                </a:lnTo>
                <a:lnTo>
                  <a:pt x="2124392" y="3507473"/>
                </a:lnTo>
                <a:lnTo>
                  <a:pt x="2168233" y="3502342"/>
                </a:lnTo>
                <a:lnTo>
                  <a:pt x="2208479" y="3487724"/>
                </a:lnTo>
                <a:lnTo>
                  <a:pt x="2243975" y="3464788"/>
                </a:lnTo>
                <a:lnTo>
                  <a:pt x="2273592" y="3434689"/>
                </a:lnTo>
                <a:lnTo>
                  <a:pt x="2296160" y="3398621"/>
                </a:lnTo>
                <a:lnTo>
                  <a:pt x="2310536" y="3357715"/>
                </a:lnTo>
                <a:lnTo>
                  <a:pt x="2315591" y="3313163"/>
                </a:lnTo>
                <a:close/>
              </a:path>
              <a:path w="3693795" h="4721860">
                <a:moveTo>
                  <a:pt x="2551633" y="1956752"/>
                </a:moveTo>
                <a:lnTo>
                  <a:pt x="2547645" y="1911578"/>
                </a:lnTo>
                <a:lnTo>
                  <a:pt x="2536164" y="1869046"/>
                </a:lnTo>
                <a:lnTo>
                  <a:pt x="2517864" y="1829892"/>
                </a:lnTo>
                <a:lnTo>
                  <a:pt x="2493467" y="1794814"/>
                </a:lnTo>
                <a:lnTo>
                  <a:pt x="2463660" y="1764525"/>
                </a:lnTo>
                <a:lnTo>
                  <a:pt x="2429141" y="1739722"/>
                </a:lnTo>
                <a:lnTo>
                  <a:pt x="2390610" y="1721129"/>
                </a:lnTo>
                <a:lnTo>
                  <a:pt x="2348776" y="1709458"/>
                </a:lnTo>
                <a:lnTo>
                  <a:pt x="2304313" y="1705406"/>
                </a:lnTo>
                <a:lnTo>
                  <a:pt x="2259863" y="1709458"/>
                </a:lnTo>
                <a:lnTo>
                  <a:pt x="2218017" y="1721129"/>
                </a:lnTo>
                <a:lnTo>
                  <a:pt x="2179485" y="1739722"/>
                </a:lnTo>
                <a:lnTo>
                  <a:pt x="2144966" y="1764525"/>
                </a:lnTo>
                <a:lnTo>
                  <a:pt x="2115159" y="1794814"/>
                </a:lnTo>
                <a:lnTo>
                  <a:pt x="2090762" y="1829892"/>
                </a:lnTo>
                <a:lnTo>
                  <a:pt x="2072474" y="1869046"/>
                </a:lnTo>
                <a:lnTo>
                  <a:pt x="2060981" y="1911578"/>
                </a:lnTo>
                <a:lnTo>
                  <a:pt x="2056993" y="1956752"/>
                </a:lnTo>
                <a:lnTo>
                  <a:pt x="2060981" y="2001926"/>
                </a:lnTo>
                <a:lnTo>
                  <a:pt x="2072474" y="2044458"/>
                </a:lnTo>
                <a:lnTo>
                  <a:pt x="2090762" y="2083612"/>
                </a:lnTo>
                <a:lnTo>
                  <a:pt x="2115159" y="2118690"/>
                </a:lnTo>
                <a:lnTo>
                  <a:pt x="2144966" y="2148979"/>
                </a:lnTo>
                <a:lnTo>
                  <a:pt x="2179485" y="2173782"/>
                </a:lnTo>
                <a:lnTo>
                  <a:pt x="2218017" y="2192375"/>
                </a:lnTo>
                <a:lnTo>
                  <a:pt x="2259863" y="2204047"/>
                </a:lnTo>
                <a:lnTo>
                  <a:pt x="2304313" y="2208098"/>
                </a:lnTo>
                <a:lnTo>
                  <a:pt x="2348776" y="2204047"/>
                </a:lnTo>
                <a:lnTo>
                  <a:pt x="2390610" y="2192375"/>
                </a:lnTo>
                <a:lnTo>
                  <a:pt x="2429141" y="2173782"/>
                </a:lnTo>
                <a:lnTo>
                  <a:pt x="2463660" y="2148979"/>
                </a:lnTo>
                <a:lnTo>
                  <a:pt x="2493467" y="2118690"/>
                </a:lnTo>
                <a:lnTo>
                  <a:pt x="2517864" y="2083612"/>
                </a:lnTo>
                <a:lnTo>
                  <a:pt x="2536164" y="2044458"/>
                </a:lnTo>
                <a:lnTo>
                  <a:pt x="2547645" y="2001926"/>
                </a:lnTo>
                <a:lnTo>
                  <a:pt x="2551633" y="1956752"/>
                </a:lnTo>
                <a:close/>
              </a:path>
              <a:path w="3693795" h="4721860">
                <a:moveTo>
                  <a:pt x="2845346" y="10020"/>
                </a:moveTo>
                <a:lnTo>
                  <a:pt x="1323581" y="10020"/>
                </a:lnTo>
                <a:lnTo>
                  <a:pt x="1314577" y="48120"/>
                </a:lnTo>
                <a:lnTo>
                  <a:pt x="1324521" y="98920"/>
                </a:lnTo>
                <a:lnTo>
                  <a:pt x="1351661" y="137020"/>
                </a:lnTo>
                <a:lnTo>
                  <a:pt x="1391920" y="162420"/>
                </a:lnTo>
                <a:lnTo>
                  <a:pt x="1441234" y="175120"/>
                </a:lnTo>
                <a:lnTo>
                  <a:pt x="2424163" y="175120"/>
                </a:lnTo>
                <a:lnTo>
                  <a:pt x="2406192" y="225920"/>
                </a:lnTo>
                <a:lnTo>
                  <a:pt x="2386253" y="264020"/>
                </a:lnTo>
                <a:lnTo>
                  <a:pt x="2364435" y="314820"/>
                </a:lnTo>
                <a:lnTo>
                  <a:pt x="2340800" y="365620"/>
                </a:lnTo>
                <a:lnTo>
                  <a:pt x="2315400" y="403720"/>
                </a:lnTo>
                <a:lnTo>
                  <a:pt x="2288298" y="454520"/>
                </a:lnTo>
                <a:lnTo>
                  <a:pt x="2259584" y="492620"/>
                </a:lnTo>
                <a:lnTo>
                  <a:pt x="1496834" y="492620"/>
                </a:lnTo>
                <a:lnTo>
                  <a:pt x="1447520" y="505320"/>
                </a:lnTo>
                <a:lnTo>
                  <a:pt x="1407261" y="530720"/>
                </a:lnTo>
                <a:lnTo>
                  <a:pt x="1380121" y="581520"/>
                </a:lnTo>
                <a:lnTo>
                  <a:pt x="1370177" y="619620"/>
                </a:lnTo>
                <a:lnTo>
                  <a:pt x="1380121" y="670420"/>
                </a:lnTo>
                <a:lnTo>
                  <a:pt x="1407261" y="721220"/>
                </a:lnTo>
                <a:lnTo>
                  <a:pt x="1447520" y="746620"/>
                </a:lnTo>
                <a:lnTo>
                  <a:pt x="2074989" y="746620"/>
                </a:lnTo>
                <a:lnTo>
                  <a:pt x="2044115" y="784720"/>
                </a:lnTo>
                <a:lnTo>
                  <a:pt x="2012492" y="822820"/>
                </a:lnTo>
                <a:lnTo>
                  <a:pt x="1980171" y="860920"/>
                </a:lnTo>
                <a:lnTo>
                  <a:pt x="1947189" y="899020"/>
                </a:lnTo>
                <a:lnTo>
                  <a:pt x="1913585" y="937120"/>
                </a:lnTo>
                <a:lnTo>
                  <a:pt x="1879396" y="975220"/>
                </a:lnTo>
                <a:lnTo>
                  <a:pt x="1844662" y="1013320"/>
                </a:lnTo>
                <a:lnTo>
                  <a:pt x="1809432" y="1051420"/>
                </a:lnTo>
                <a:lnTo>
                  <a:pt x="1773732" y="1089520"/>
                </a:lnTo>
                <a:lnTo>
                  <a:pt x="1737614" y="1127620"/>
                </a:lnTo>
                <a:lnTo>
                  <a:pt x="1701114" y="1165720"/>
                </a:lnTo>
                <a:lnTo>
                  <a:pt x="1627111" y="1241920"/>
                </a:lnTo>
                <a:lnTo>
                  <a:pt x="1589697" y="1267320"/>
                </a:lnTo>
                <a:lnTo>
                  <a:pt x="1400073" y="1457820"/>
                </a:lnTo>
                <a:lnTo>
                  <a:pt x="1361909" y="1483220"/>
                </a:lnTo>
                <a:lnTo>
                  <a:pt x="1247686" y="1597520"/>
                </a:lnTo>
                <a:lnTo>
                  <a:pt x="1128903" y="1699120"/>
                </a:lnTo>
                <a:lnTo>
                  <a:pt x="1085837" y="1749920"/>
                </a:lnTo>
                <a:lnTo>
                  <a:pt x="958227" y="1864220"/>
                </a:lnTo>
                <a:lnTo>
                  <a:pt x="874915" y="1940420"/>
                </a:lnTo>
                <a:lnTo>
                  <a:pt x="833920" y="1978520"/>
                </a:lnTo>
                <a:lnTo>
                  <a:pt x="793445" y="2016620"/>
                </a:lnTo>
                <a:lnTo>
                  <a:pt x="753503" y="2054720"/>
                </a:lnTo>
                <a:lnTo>
                  <a:pt x="714159" y="2092820"/>
                </a:lnTo>
                <a:lnTo>
                  <a:pt x="675462" y="2130920"/>
                </a:lnTo>
                <a:lnTo>
                  <a:pt x="637451" y="2169020"/>
                </a:lnTo>
                <a:lnTo>
                  <a:pt x="600176" y="2207120"/>
                </a:lnTo>
                <a:lnTo>
                  <a:pt x="563664" y="2245220"/>
                </a:lnTo>
                <a:lnTo>
                  <a:pt x="527977" y="2283320"/>
                </a:lnTo>
                <a:lnTo>
                  <a:pt x="493166" y="2321420"/>
                </a:lnTo>
                <a:lnTo>
                  <a:pt x="459270" y="2359520"/>
                </a:lnTo>
                <a:lnTo>
                  <a:pt x="426326" y="2397620"/>
                </a:lnTo>
                <a:lnTo>
                  <a:pt x="394373" y="2435720"/>
                </a:lnTo>
                <a:lnTo>
                  <a:pt x="363486" y="2473820"/>
                </a:lnTo>
                <a:lnTo>
                  <a:pt x="333692" y="2511920"/>
                </a:lnTo>
                <a:lnTo>
                  <a:pt x="305028" y="2550020"/>
                </a:lnTo>
                <a:lnTo>
                  <a:pt x="277558" y="2588120"/>
                </a:lnTo>
                <a:lnTo>
                  <a:pt x="251320" y="2626220"/>
                </a:lnTo>
                <a:lnTo>
                  <a:pt x="226352" y="2664320"/>
                </a:lnTo>
                <a:lnTo>
                  <a:pt x="202704" y="2702420"/>
                </a:lnTo>
                <a:lnTo>
                  <a:pt x="180428" y="2740520"/>
                </a:lnTo>
                <a:lnTo>
                  <a:pt x="159562" y="2778620"/>
                </a:lnTo>
                <a:lnTo>
                  <a:pt x="140144" y="2816720"/>
                </a:lnTo>
                <a:lnTo>
                  <a:pt x="122237" y="2854820"/>
                </a:lnTo>
                <a:lnTo>
                  <a:pt x="105879" y="2892920"/>
                </a:lnTo>
                <a:lnTo>
                  <a:pt x="91122" y="2931020"/>
                </a:lnTo>
                <a:lnTo>
                  <a:pt x="77990" y="2956420"/>
                </a:lnTo>
                <a:lnTo>
                  <a:pt x="56781" y="3032620"/>
                </a:lnTo>
                <a:lnTo>
                  <a:pt x="39179" y="3096120"/>
                </a:lnTo>
                <a:lnTo>
                  <a:pt x="25031" y="3159620"/>
                </a:lnTo>
                <a:lnTo>
                  <a:pt x="14198" y="3235820"/>
                </a:lnTo>
                <a:lnTo>
                  <a:pt x="6502" y="3299320"/>
                </a:lnTo>
                <a:lnTo>
                  <a:pt x="1828" y="3362820"/>
                </a:lnTo>
                <a:lnTo>
                  <a:pt x="0" y="3426320"/>
                </a:lnTo>
                <a:lnTo>
                  <a:pt x="863" y="3489820"/>
                </a:lnTo>
                <a:lnTo>
                  <a:pt x="4305" y="3540620"/>
                </a:lnTo>
                <a:lnTo>
                  <a:pt x="10134" y="3604120"/>
                </a:lnTo>
                <a:lnTo>
                  <a:pt x="18224" y="3667620"/>
                </a:lnTo>
                <a:lnTo>
                  <a:pt x="28422" y="3718420"/>
                </a:lnTo>
                <a:lnTo>
                  <a:pt x="40576" y="3781920"/>
                </a:lnTo>
                <a:lnTo>
                  <a:pt x="54521" y="3832720"/>
                </a:lnTo>
                <a:lnTo>
                  <a:pt x="70142" y="3883520"/>
                </a:lnTo>
                <a:lnTo>
                  <a:pt x="87249" y="3934320"/>
                </a:lnTo>
                <a:lnTo>
                  <a:pt x="105727" y="3985120"/>
                </a:lnTo>
                <a:lnTo>
                  <a:pt x="125399" y="4035920"/>
                </a:lnTo>
                <a:lnTo>
                  <a:pt x="146138" y="4086720"/>
                </a:lnTo>
                <a:lnTo>
                  <a:pt x="167767" y="4124820"/>
                </a:lnTo>
                <a:lnTo>
                  <a:pt x="190169" y="4175620"/>
                </a:lnTo>
                <a:lnTo>
                  <a:pt x="213169" y="4213720"/>
                </a:lnTo>
                <a:lnTo>
                  <a:pt x="236613" y="4251820"/>
                </a:lnTo>
                <a:lnTo>
                  <a:pt x="260375" y="4302620"/>
                </a:lnTo>
                <a:lnTo>
                  <a:pt x="284302" y="4340720"/>
                </a:lnTo>
                <a:lnTo>
                  <a:pt x="308216" y="4366120"/>
                </a:lnTo>
                <a:lnTo>
                  <a:pt x="332003" y="4404220"/>
                </a:lnTo>
                <a:lnTo>
                  <a:pt x="355485" y="4442320"/>
                </a:lnTo>
                <a:lnTo>
                  <a:pt x="378536" y="4467720"/>
                </a:lnTo>
                <a:lnTo>
                  <a:pt x="400977" y="4493120"/>
                </a:lnTo>
                <a:lnTo>
                  <a:pt x="422681" y="4518520"/>
                </a:lnTo>
                <a:lnTo>
                  <a:pt x="443496" y="4543920"/>
                </a:lnTo>
                <a:lnTo>
                  <a:pt x="463270" y="4569320"/>
                </a:lnTo>
                <a:lnTo>
                  <a:pt x="481838" y="4594720"/>
                </a:lnTo>
                <a:lnTo>
                  <a:pt x="499071" y="4607420"/>
                </a:lnTo>
                <a:lnTo>
                  <a:pt x="514807" y="4632820"/>
                </a:lnTo>
                <a:lnTo>
                  <a:pt x="528904" y="4645520"/>
                </a:lnTo>
                <a:lnTo>
                  <a:pt x="541210" y="4658220"/>
                </a:lnTo>
                <a:lnTo>
                  <a:pt x="551573" y="4658220"/>
                </a:lnTo>
                <a:lnTo>
                  <a:pt x="559841" y="4670920"/>
                </a:lnTo>
                <a:lnTo>
                  <a:pt x="565861" y="4683620"/>
                </a:lnTo>
                <a:lnTo>
                  <a:pt x="569493" y="4683620"/>
                </a:lnTo>
                <a:lnTo>
                  <a:pt x="597319" y="4696320"/>
                </a:lnTo>
                <a:lnTo>
                  <a:pt x="627621" y="4721720"/>
                </a:lnTo>
                <a:lnTo>
                  <a:pt x="729513" y="4721720"/>
                </a:lnTo>
                <a:lnTo>
                  <a:pt x="765454" y="4709020"/>
                </a:lnTo>
                <a:lnTo>
                  <a:pt x="828370" y="4670920"/>
                </a:lnTo>
                <a:lnTo>
                  <a:pt x="856284" y="4632820"/>
                </a:lnTo>
                <a:lnTo>
                  <a:pt x="872045" y="4582020"/>
                </a:lnTo>
                <a:lnTo>
                  <a:pt x="875779" y="4531220"/>
                </a:lnTo>
                <a:lnTo>
                  <a:pt x="867625" y="4493120"/>
                </a:lnTo>
                <a:lnTo>
                  <a:pt x="847686" y="4442320"/>
                </a:lnTo>
                <a:lnTo>
                  <a:pt x="816102" y="4404220"/>
                </a:lnTo>
                <a:lnTo>
                  <a:pt x="807847" y="4404220"/>
                </a:lnTo>
                <a:lnTo>
                  <a:pt x="791743" y="4378820"/>
                </a:lnTo>
                <a:lnTo>
                  <a:pt x="768921" y="4366120"/>
                </a:lnTo>
                <a:lnTo>
                  <a:pt x="740473" y="4328020"/>
                </a:lnTo>
                <a:lnTo>
                  <a:pt x="707555" y="4289920"/>
                </a:lnTo>
                <a:lnTo>
                  <a:pt x="671258" y="4251820"/>
                </a:lnTo>
                <a:lnTo>
                  <a:pt x="632701" y="4201020"/>
                </a:lnTo>
                <a:lnTo>
                  <a:pt x="553326" y="4074020"/>
                </a:lnTo>
                <a:lnTo>
                  <a:pt x="514731" y="3997820"/>
                </a:lnTo>
                <a:lnTo>
                  <a:pt x="1159827" y="3997820"/>
                </a:lnTo>
                <a:lnTo>
                  <a:pt x="1200086" y="3959720"/>
                </a:lnTo>
                <a:lnTo>
                  <a:pt x="1227226" y="3921620"/>
                </a:lnTo>
                <a:lnTo>
                  <a:pt x="1237170" y="3870820"/>
                </a:lnTo>
                <a:lnTo>
                  <a:pt x="1227226" y="3820020"/>
                </a:lnTo>
                <a:lnTo>
                  <a:pt x="1200086" y="3781920"/>
                </a:lnTo>
                <a:lnTo>
                  <a:pt x="1159827" y="3756520"/>
                </a:lnTo>
                <a:lnTo>
                  <a:pt x="1110513" y="3743820"/>
                </a:lnTo>
                <a:lnTo>
                  <a:pt x="413499" y="3743820"/>
                </a:lnTo>
                <a:lnTo>
                  <a:pt x="401281" y="3705720"/>
                </a:lnTo>
                <a:lnTo>
                  <a:pt x="390766" y="3654920"/>
                </a:lnTo>
                <a:lnTo>
                  <a:pt x="382104" y="3604120"/>
                </a:lnTo>
                <a:lnTo>
                  <a:pt x="375450" y="3553320"/>
                </a:lnTo>
                <a:lnTo>
                  <a:pt x="370941" y="3502520"/>
                </a:lnTo>
                <a:lnTo>
                  <a:pt x="368731" y="3451720"/>
                </a:lnTo>
                <a:lnTo>
                  <a:pt x="1493862" y="3451720"/>
                </a:lnTo>
                <a:lnTo>
                  <a:pt x="1543177" y="3439020"/>
                </a:lnTo>
                <a:lnTo>
                  <a:pt x="1583436" y="3413620"/>
                </a:lnTo>
                <a:lnTo>
                  <a:pt x="1610575" y="3375520"/>
                </a:lnTo>
                <a:lnTo>
                  <a:pt x="1620520" y="3324720"/>
                </a:lnTo>
                <a:lnTo>
                  <a:pt x="1610575" y="3273920"/>
                </a:lnTo>
                <a:lnTo>
                  <a:pt x="1583436" y="3235820"/>
                </a:lnTo>
                <a:lnTo>
                  <a:pt x="1543177" y="3210420"/>
                </a:lnTo>
                <a:lnTo>
                  <a:pt x="1493862" y="3197720"/>
                </a:lnTo>
                <a:lnTo>
                  <a:pt x="393382" y="3197720"/>
                </a:lnTo>
                <a:lnTo>
                  <a:pt x="400278" y="3172320"/>
                </a:lnTo>
                <a:lnTo>
                  <a:pt x="408038" y="3134220"/>
                </a:lnTo>
                <a:lnTo>
                  <a:pt x="416763" y="3108820"/>
                </a:lnTo>
                <a:lnTo>
                  <a:pt x="426529" y="3083420"/>
                </a:lnTo>
                <a:lnTo>
                  <a:pt x="441350" y="3032620"/>
                </a:lnTo>
                <a:lnTo>
                  <a:pt x="459257" y="2994520"/>
                </a:lnTo>
                <a:lnTo>
                  <a:pt x="480085" y="2956420"/>
                </a:lnTo>
                <a:lnTo>
                  <a:pt x="503656" y="2918320"/>
                </a:lnTo>
                <a:lnTo>
                  <a:pt x="529818" y="2867520"/>
                </a:lnTo>
                <a:lnTo>
                  <a:pt x="1442580" y="2867520"/>
                </a:lnTo>
                <a:lnTo>
                  <a:pt x="1482839" y="2829420"/>
                </a:lnTo>
                <a:lnTo>
                  <a:pt x="1509979" y="2791320"/>
                </a:lnTo>
                <a:lnTo>
                  <a:pt x="1519923" y="2740520"/>
                </a:lnTo>
                <a:lnTo>
                  <a:pt x="1509979" y="2702420"/>
                </a:lnTo>
                <a:lnTo>
                  <a:pt x="1482839" y="2651620"/>
                </a:lnTo>
                <a:lnTo>
                  <a:pt x="1442580" y="2626220"/>
                </a:lnTo>
                <a:lnTo>
                  <a:pt x="1393266" y="2613520"/>
                </a:lnTo>
                <a:lnTo>
                  <a:pt x="723988" y="2613520"/>
                </a:lnTo>
                <a:lnTo>
                  <a:pt x="754214" y="2588120"/>
                </a:lnTo>
                <a:lnTo>
                  <a:pt x="785418" y="2550020"/>
                </a:lnTo>
                <a:lnTo>
                  <a:pt x="817549" y="2511920"/>
                </a:lnTo>
                <a:lnTo>
                  <a:pt x="850595" y="2486520"/>
                </a:lnTo>
                <a:lnTo>
                  <a:pt x="884466" y="2448420"/>
                </a:lnTo>
                <a:lnTo>
                  <a:pt x="919149" y="2410320"/>
                </a:lnTo>
                <a:lnTo>
                  <a:pt x="954570" y="2372220"/>
                </a:lnTo>
                <a:lnTo>
                  <a:pt x="990701" y="2334120"/>
                </a:lnTo>
                <a:lnTo>
                  <a:pt x="1027493" y="2308720"/>
                </a:lnTo>
                <a:lnTo>
                  <a:pt x="1064895" y="2270620"/>
                </a:lnTo>
                <a:lnTo>
                  <a:pt x="1102842" y="2232520"/>
                </a:lnTo>
                <a:lnTo>
                  <a:pt x="1141323" y="2194420"/>
                </a:lnTo>
                <a:lnTo>
                  <a:pt x="1180261" y="2156320"/>
                </a:lnTo>
                <a:lnTo>
                  <a:pt x="1259370" y="2080120"/>
                </a:lnTo>
                <a:lnTo>
                  <a:pt x="1339773" y="2003920"/>
                </a:lnTo>
                <a:lnTo>
                  <a:pt x="1380350" y="1978520"/>
                </a:lnTo>
                <a:lnTo>
                  <a:pt x="1460766" y="1902320"/>
                </a:lnTo>
                <a:lnTo>
                  <a:pt x="1737309" y="1635620"/>
                </a:lnTo>
                <a:lnTo>
                  <a:pt x="1776310" y="1597520"/>
                </a:lnTo>
                <a:lnTo>
                  <a:pt x="1815109" y="1572120"/>
                </a:lnTo>
                <a:lnTo>
                  <a:pt x="1891931" y="1495920"/>
                </a:lnTo>
                <a:lnTo>
                  <a:pt x="1967534" y="1419720"/>
                </a:lnTo>
                <a:lnTo>
                  <a:pt x="2004809" y="1381620"/>
                </a:lnTo>
                <a:lnTo>
                  <a:pt x="2041690" y="1343520"/>
                </a:lnTo>
                <a:lnTo>
                  <a:pt x="2078139" y="1305420"/>
                </a:lnTo>
                <a:lnTo>
                  <a:pt x="2114143" y="1267320"/>
                </a:lnTo>
                <a:lnTo>
                  <a:pt x="2149665" y="1229220"/>
                </a:lnTo>
                <a:lnTo>
                  <a:pt x="2184679" y="1191120"/>
                </a:lnTo>
                <a:lnTo>
                  <a:pt x="2219147" y="1153020"/>
                </a:lnTo>
                <a:lnTo>
                  <a:pt x="2253030" y="1114920"/>
                </a:lnTo>
                <a:lnTo>
                  <a:pt x="2286330" y="1076820"/>
                </a:lnTo>
                <a:lnTo>
                  <a:pt x="2318982" y="1038720"/>
                </a:lnTo>
                <a:lnTo>
                  <a:pt x="2350986" y="1000620"/>
                </a:lnTo>
                <a:lnTo>
                  <a:pt x="2382291" y="962520"/>
                </a:lnTo>
                <a:lnTo>
                  <a:pt x="2412873" y="924420"/>
                </a:lnTo>
                <a:lnTo>
                  <a:pt x="2442705" y="886320"/>
                </a:lnTo>
                <a:lnTo>
                  <a:pt x="2471763" y="848220"/>
                </a:lnTo>
                <a:lnTo>
                  <a:pt x="2499995" y="797420"/>
                </a:lnTo>
                <a:lnTo>
                  <a:pt x="2527401" y="759320"/>
                </a:lnTo>
                <a:lnTo>
                  <a:pt x="2553932" y="721220"/>
                </a:lnTo>
                <a:lnTo>
                  <a:pt x="2579560" y="683120"/>
                </a:lnTo>
                <a:lnTo>
                  <a:pt x="2604262" y="645020"/>
                </a:lnTo>
                <a:lnTo>
                  <a:pt x="2627998" y="606920"/>
                </a:lnTo>
                <a:lnTo>
                  <a:pt x="2650744" y="568820"/>
                </a:lnTo>
                <a:lnTo>
                  <a:pt x="2672473" y="518020"/>
                </a:lnTo>
                <a:lnTo>
                  <a:pt x="2693162" y="479920"/>
                </a:lnTo>
                <a:lnTo>
                  <a:pt x="2712758" y="441820"/>
                </a:lnTo>
                <a:lnTo>
                  <a:pt x="2731249" y="403720"/>
                </a:lnTo>
                <a:lnTo>
                  <a:pt x="2748610" y="365620"/>
                </a:lnTo>
                <a:lnTo>
                  <a:pt x="2764790" y="314820"/>
                </a:lnTo>
                <a:lnTo>
                  <a:pt x="2779776" y="276720"/>
                </a:lnTo>
                <a:lnTo>
                  <a:pt x="2793530" y="238620"/>
                </a:lnTo>
                <a:lnTo>
                  <a:pt x="2806039" y="187820"/>
                </a:lnTo>
                <a:lnTo>
                  <a:pt x="2817241" y="149720"/>
                </a:lnTo>
                <a:lnTo>
                  <a:pt x="2827134" y="111620"/>
                </a:lnTo>
                <a:lnTo>
                  <a:pt x="2835681" y="73520"/>
                </a:lnTo>
                <a:lnTo>
                  <a:pt x="2842857" y="22720"/>
                </a:lnTo>
                <a:lnTo>
                  <a:pt x="2845346" y="10020"/>
                </a:lnTo>
                <a:close/>
              </a:path>
              <a:path w="3693795" h="4721860">
                <a:moveTo>
                  <a:pt x="3506774" y="1344333"/>
                </a:moveTo>
                <a:lnTo>
                  <a:pt x="3503396" y="1297622"/>
                </a:lnTo>
                <a:lnTo>
                  <a:pt x="3493605" y="1253045"/>
                </a:lnTo>
                <a:lnTo>
                  <a:pt x="3477857" y="1211084"/>
                </a:lnTo>
                <a:lnTo>
                  <a:pt x="3456660" y="1172222"/>
                </a:lnTo>
                <a:lnTo>
                  <a:pt x="3430473" y="1136954"/>
                </a:lnTo>
                <a:lnTo>
                  <a:pt x="3399790" y="1105776"/>
                </a:lnTo>
                <a:lnTo>
                  <a:pt x="3365093" y="1079169"/>
                </a:lnTo>
                <a:lnTo>
                  <a:pt x="3326854" y="1057630"/>
                </a:lnTo>
                <a:lnTo>
                  <a:pt x="3285566" y="1041628"/>
                </a:lnTo>
                <a:lnTo>
                  <a:pt x="3241700" y="1031671"/>
                </a:lnTo>
                <a:lnTo>
                  <a:pt x="3195739" y="1028242"/>
                </a:lnTo>
                <a:lnTo>
                  <a:pt x="3149777" y="1031671"/>
                </a:lnTo>
                <a:lnTo>
                  <a:pt x="3105899" y="1041628"/>
                </a:lnTo>
                <a:lnTo>
                  <a:pt x="3064611" y="1057630"/>
                </a:lnTo>
                <a:lnTo>
                  <a:pt x="3026372" y="1079169"/>
                </a:lnTo>
                <a:lnTo>
                  <a:pt x="2991675" y="1105776"/>
                </a:lnTo>
                <a:lnTo>
                  <a:pt x="2960992" y="1136954"/>
                </a:lnTo>
                <a:lnTo>
                  <a:pt x="2934805" y="1172222"/>
                </a:lnTo>
                <a:lnTo>
                  <a:pt x="2913608" y="1211084"/>
                </a:lnTo>
                <a:lnTo>
                  <a:pt x="2897873" y="1253045"/>
                </a:lnTo>
                <a:lnTo>
                  <a:pt x="2888069" y="1297622"/>
                </a:lnTo>
                <a:lnTo>
                  <a:pt x="2884703" y="1344333"/>
                </a:lnTo>
                <a:lnTo>
                  <a:pt x="2888069" y="1391043"/>
                </a:lnTo>
                <a:lnTo>
                  <a:pt x="2897873" y="1435633"/>
                </a:lnTo>
                <a:lnTo>
                  <a:pt x="2913608" y="1477594"/>
                </a:lnTo>
                <a:lnTo>
                  <a:pt x="2934805" y="1516456"/>
                </a:lnTo>
                <a:lnTo>
                  <a:pt x="2960992" y="1551711"/>
                </a:lnTo>
                <a:lnTo>
                  <a:pt x="2991675" y="1582902"/>
                </a:lnTo>
                <a:lnTo>
                  <a:pt x="3026372" y="1609509"/>
                </a:lnTo>
                <a:lnTo>
                  <a:pt x="3064611" y="1631048"/>
                </a:lnTo>
                <a:lnTo>
                  <a:pt x="3105899" y="1647050"/>
                </a:lnTo>
                <a:lnTo>
                  <a:pt x="3149777" y="1657007"/>
                </a:lnTo>
                <a:lnTo>
                  <a:pt x="3195739" y="1660423"/>
                </a:lnTo>
                <a:lnTo>
                  <a:pt x="3241700" y="1657007"/>
                </a:lnTo>
                <a:lnTo>
                  <a:pt x="3285566" y="1647050"/>
                </a:lnTo>
                <a:lnTo>
                  <a:pt x="3326854" y="1631048"/>
                </a:lnTo>
                <a:lnTo>
                  <a:pt x="3365093" y="1609509"/>
                </a:lnTo>
                <a:lnTo>
                  <a:pt x="3399790" y="1582902"/>
                </a:lnTo>
                <a:lnTo>
                  <a:pt x="3430473" y="1551711"/>
                </a:lnTo>
                <a:lnTo>
                  <a:pt x="3456660" y="1516456"/>
                </a:lnTo>
                <a:lnTo>
                  <a:pt x="3477857" y="1477594"/>
                </a:lnTo>
                <a:lnTo>
                  <a:pt x="3493605" y="1435633"/>
                </a:lnTo>
                <a:lnTo>
                  <a:pt x="3503396" y="1391043"/>
                </a:lnTo>
                <a:lnTo>
                  <a:pt x="3506774" y="1344333"/>
                </a:lnTo>
                <a:close/>
              </a:path>
              <a:path w="3693795" h="4721860">
                <a:moveTo>
                  <a:pt x="3508527" y="2550566"/>
                </a:moveTo>
                <a:lnTo>
                  <a:pt x="3505873" y="2503855"/>
                </a:lnTo>
                <a:lnTo>
                  <a:pt x="3498113" y="2458732"/>
                </a:lnTo>
                <a:lnTo>
                  <a:pt x="3485540" y="2415476"/>
                </a:lnTo>
                <a:lnTo>
                  <a:pt x="3468459" y="2374417"/>
                </a:lnTo>
                <a:lnTo>
                  <a:pt x="3447161" y="2335834"/>
                </a:lnTo>
                <a:lnTo>
                  <a:pt x="3421938" y="2300046"/>
                </a:lnTo>
                <a:lnTo>
                  <a:pt x="3393084" y="2267331"/>
                </a:lnTo>
                <a:lnTo>
                  <a:pt x="3360890" y="2238006"/>
                </a:lnTo>
                <a:lnTo>
                  <a:pt x="3325672" y="2212378"/>
                </a:lnTo>
                <a:lnTo>
                  <a:pt x="3287712" y="2190724"/>
                </a:lnTo>
                <a:lnTo>
                  <a:pt x="3247301" y="2173363"/>
                </a:lnTo>
                <a:lnTo>
                  <a:pt x="3204756" y="2160587"/>
                </a:lnTo>
                <a:lnTo>
                  <a:pt x="3160344" y="2152713"/>
                </a:lnTo>
                <a:lnTo>
                  <a:pt x="3114383" y="2150008"/>
                </a:lnTo>
                <a:lnTo>
                  <a:pt x="3068409" y="2152713"/>
                </a:lnTo>
                <a:lnTo>
                  <a:pt x="3024009" y="2160587"/>
                </a:lnTo>
                <a:lnTo>
                  <a:pt x="2981452" y="2173363"/>
                </a:lnTo>
                <a:lnTo>
                  <a:pt x="2941040" y="2190724"/>
                </a:lnTo>
                <a:lnTo>
                  <a:pt x="2903080" y="2212378"/>
                </a:lnTo>
                <a:lnTo>
                  <a:pt x="2867863" y="2238006"/>
                </a:lnTo>
                <a:lnTo>
                  <a:pt x="2835681" y="2267331"/>
                </a:lnTo>
                <a:lnTo>
                  <a:pt x="2806827" y="2300046"/>
                </a:lnTo>
                <a:lnTo>
                  <a:pt x="2781604" y="2335834"/>
                </a:lnTo>
                <a:lnTo>
                  <a:pt x="2760294" y="2374417"/>
                </a:lnTo>
                <a:lnTo>
                  <a:pt x="2743212" y="2415476"/>
                </a:lnTo>
                <a:lnTo>
                  <a:pt x="2730639" y="2458732"/>
                </a:lnTo>
                <a:lnTo>
                  <a:pt x="2722880" y="2503855"/>
                </a:lnTo>
                <a:lnTo>
                  <a:pt x="2720238" y="2550566"/>
                </a:lnTo>
                <a:lnTo>
                  <a:pt x="2722880" y="2597289"/>
                </a:lnTo>
                <a:lnTo>
                  <a:pt x="2730639" y="2642412"/>
                </a:lnTo>
                <a:lnTo>
                  <a:pt x="2743212" y="2685669"/>
                </a:lnTo>
                <a:lnTo>
                  <a:pt x="2760294" y="2726728"/>
                </a:lnTo>
                <a:lnTo>
                  <a:pt x="2781604" y="2765310"/>
                </a:lnTo>
                <a:lnTo>
                  <a:pt x="2806827" y="2801099"/>
                </a:lnTo>
                <a:lnTo>
                  <a:pt x="2835681" y="2833814"/>
                </a:lnTo>
                <a:lnTo>
                  <a:pt x="2867863" y="2863126"/>
                </a:lnTo>
                <a:lnTo>
                  <a:pt x="2903080" y="2888767"/>
                </a:lnTo>
                <a:lnTo>
                  <a:pt x="2941040" y="2910421"/>
                </a:lnTo>
                <a:lnTo>
                  <a:pt x="2981452" y="2927781"/>
                </a:lnTo>
                <a:lnTo>
                  <a:pt x="3024009" y="2940545"/>
                </a:lnTo>
                <a:lnTo>
                  <a:pt x="3068409" y="2948432"/>
                </a:lnTo>
                <a:lnTo>
                  <a:pt x="3114383" y="2951124"/>
                </a:lnTo>
                <a:lnTo>
                  <a:pt x="3160344" y="2948432"/>
                </a:lnTo>
                <a:lnTo>
                  <a:pt x="3204756" y="2940545"/>
                </a:lnTo>
                <a:lnTo>
                  <a:pt x="3247301" y="2927781"/>
                </a:lnTo>
                <a:lnTo>
                  <a:pt x="3287712" y="2910421"/>
                </a:lnTo>
                <a:lnTo>
                  <a:pt x="3325672" y="2888767"/>
                </a:lnTo>
                <a:lnTo>
                  <a:pt x="3360890" y="2863126"/>
                </a:lnTo>
                <a:lnTo>
                  <a:pt x="3393084" y="2833814"/>
                </a:lnTo>
                <a:lnTo>
                  <a:pt x="3421938" y="2801099"/>
                </a:lnTo>
                <a:lnTo>
                  <a:pt x="3447161" y="2765310"/>
                </a:lnTo>
                <a:lnTo>
                  <a:pt x="3468459" y="2726728"/>
                </a:lnTo>
                <a:lnTo>
                  <a:pt x="3485540" y="2685669"/>
                </a:lnTo>
                <a:lnTo>
                  <a:pt x="3498113" y="2642412"/>
                </a:lnTo>
                <a:lnTo>
                  <a:pt x="3505873" y="2597289"/>
                </a:lnTo>
                <a:lnTo>
                  <a:pt x="3508527" y="2550566"/>
                </a:lnTo>
                <a:close/>
              </a:path>
              <a:path w="3693795" h="4721860">
                <a:moveTo>
                  <a:pt x="3693350" y="317944"/>
                </a:moveTo>
                <a:lnTo>
                  <a:pt x="3689007" y="268770"/>
                </a:lnTo>
                <a:lnTo>
                  <a:pt x="3676510" y="222491"/>
                </a:lnTo>
                <a:lnTo>
                  <a:pt x="3656596" y="179870"/>
                </a:lnTo>
                <a:lnTo>
                  <a:pt x="3630041" y="141693"/>
                </a:lnTo>
                <a:lnTo>
                  <a:pt x="3597592" y="108724"/>
                </a:lnTo>
                <a:lnTo>
                  <a:pt x="3560026" y="81737"/>
                </a:lnTo>
                <a:lnTo>
                  <a:pt x="3518090" y="61506"/>
                </a:lnTo>
                <a:lnTo>
                  <a:pt x="3472548" y="48793"/>
                </a:lnTo>
                <a:lnTo>
                  <a:pt x="3424161" y="44386"/>
                </a:lnTo>
                <a:lnTo>
                  <a:pt x="3375774" y="48793"/>
                </a:lnTo>
                <a:lnTo>
                  <a:pt x="3330232" y="61506"/>
                </a:lnTo>
                <a:lnTo>
                  <a:pt x="3288296" y="81737"/>
                </a:lnTo>
                <a:lnTo>
                  <a:pt x="3250730" y="108724"/>
                </a:lnTo>
                <a:lnTo>
                  <a:pt x="3218281" y="141693"/>
                </a:lnTo>
                <a:lnTo>
                  <a:pt x="3191726" y="179870"/>
                </a:lnTo>
                <a:lnTo>
                  <a:pt x="3171812" y="222491"/>
                </a:lnTo>
                <a:lnTo>
                  <a:pt x="3159315" y="268770"/>
                </a:lnTo>
                <a:lnTo>
                  <a:pt x="3154972" y="317944"/>
                </a:lnTo>
                <a:lnTo>
                  <a:pt x="3159315" y="367118"/>
                </a:lnTo>
                <a:lnTo>
                  <a:pt x="3171812" y="413397"/>
                </a:lnTo>
                <a:lnTo>
                  <a:pt x="3191726" y="456018"/>
                </a:lnTo>
                <a:lnTo>
                  <a:pt x="3218281" y="494207"/>
                </a:lnTo>
                <a:lnTo>
                  <a:pt x="3250730" y="527177"/>
                </a:lnTo>
                <a:lnTo>
                  <a:pt x="3288296" y="554164"/>
                </a:lnTo>
                <a:lnTo>
                  <a:pt x="3330232" y="574395"/>
                </a:lnTo>
                <a:lnTo>
                  <a:pt x="3375774" y="587108"/>
                </a:lnTo>
                <a:lnTo>
                  <a:pt x="3424161" y="591515"/>
                </a:lnTo>
                <a:lnTo>
                  <a:pt x="3472548" y="587108"/>
                </a:lnTo>
                <a:lnTo>
                  <a:pt x="3518090" y="574395"/>
                </a:lnTo>
                <a:lnTo>
                  <a:pt x="3560026" y="554164"/>
                </a:lnTo>
                <a:lnTo>
                  <a:pt x="3597592" y="527177"/>
                </a:lnTo>
                <a:lnTo>
                  <a:pt x="3630041" y="494207"/>
                </a:lnTo>
                <a:lnTo>
                  <a:pt x="3656596" y="456018"/>
                </a:lnTo>
                <a:lnTo>
                  <a:pt x="3676510" y="413397"/>
                </a:lnTo>
                <a:lnTo>
                  <a:pt x="3689007" y="367118"/>
                </a:lnTo>
                <a:lnTo>
                  <a:pt x="3693350" y="317944"/>
                </a:lnTo>
                <a:close/>
              </a:path>
            </a:pathLst>
          </a:custGeom>
          <a:solidFill>
            <a:srgbClr val="00A79D"/>
          </a:solidFill>
        </p:spPr>
        <p:txBody>
          <a:bodyPr wrap="square" lIns="0" tIns="0" rIns="0" bIns="0" rtlCol="0"/>
          <a:lstStyle/>
          <a:p>
            <a:endParaRPr/>
          </a:p>
        </p:txBody>
      </p:sp>
    </p:spTree>
    <p:extLst>
      <p:ext uri="{BB962C8B-B14F-4D97-AF65-F5344CB8AC3E}">
        <p14:creationId xmlns:p14="http://schemas.microsoft.com/office/powerpoint/2010/main" val="21746903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ation Slide - Pur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4446D-3EC5-A487-67B6-AFE74A9C4781}"/>
              </a:ext>
            </a:extLst>
          </p:cNvPr>
          <p:cNvSpPr>
            <a:spLocks noGrp="1"/>
          </p:cNvSpPr>
          <p:nvPr>
            <p:ph type="title"/>
          </p:nvPr>
        </p:nvSpPr>
        <p:spPr>
          <a:xfrm>
            <a:off x="711200" y="365125"/>
            <a:ext cx="6479308" cy="4355493"/>
          </a:xfrm>
        </p:spPr>
        <p:txBody>
          <a:bodyPr anchor="t" anchorCtr="0">
            <a:normAutofit/>
          </a:bodyPr>
          <a:lstStyle>
            <a:lvl1pPr>
              <a:defRPr sz="4000">
                <a:solidFill>
                  <a:schemeClr val="accent3"/>
                </a:solidFill>
              </a:defRPr>
            </a:lvl1p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A5CA96E9-5766-B813-ED3A-78756E2A6A61}"/>
              </a:ext>
            </a:extLst>
          </p:cNvPr>
          <p:cNvSpPr>
            <a:spLocks noGrp="1"/>
          </p:cNvSpPr>
          <p:nvPr>
            <p:ph type="body" idx="1"/>
          </p:nvPr>
        </p:nvSpPr>
        <p:spPr>
          <a:xfrm>
            <a:off x="711200" y="4862945"/>
            <a:ext cx="6479307" cy="501535"/>
          </a:xfrm>
          <a:prstGeom prst="rect">
            <a:avLst/>
          </a:prstGeom>
        </p:spPr>
        <p:txBody>
          <a:bodyPr anchor="t" anchorCtr="0">
            <a:normAutofit/>
          </a:bodyPr>
          <a:lstStyle>
            <a:lvl1pPr marL="0" indent="0">
              <a:buNone/>
              <a:defRPr sz="20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8" name="Footer Placeholder 7">
            <a:extLst>
              <a:ext uri="{FF2B5EF4-FFF2-40B4-BE49-F238E27FC236}">
                <a16:creationId xmlns:a16="http://schemas.microsoft.com/office/drawing/2014/main" id="{49A034B4-D92B-161B-41A1-3DE14A2FB743}"/>
              </a:ext>
            </a:extLst>
          </p:cNvPr>
          <p:cNvSpPr>
            <a:spLocks noGrp="1"/>
          </p:cNvSpPr>
          <p:nvPr>
            <p:ph type="ftr" sz="quarter" idx="11"/>
          </p:nvPr>
        </p:nvSpPr>
        <p:spPr>
          <a:xfrm>
            <a:off x="741680" y="6127750"/>
            <a:ext cx="8930639" cy="365125"/>
          </a:xfrm>
          <a:prstGeom prst="rect">
            <a:avLst/>
          </a:prstGeom>
        </p:spPr>
        <p:txBody>
          <a:bodyPr/>
          <a:lstStyle>
            <a:lvl1pPr>
              <a:defRPr>
                <a:solidFill>
                  <a:schemeClr val="accent2"/>
                </a:solidFill>
              </a:defRPr>
            </a:lvl1pPr>
          </a:lstStyle>
          <a:p>
            <a:endParaRPr lang="en-GB" dirty="0"/>
          </a:p>
        </p:txBody>
      </p:sp>
      <p:sp>
        <p:nvSpPr>
          <p:cNvPr id="4" name="object 2">
            <a:extLst>
              <a:ext uri="{FF2B5EF4-FFF2-40B4-BE49-F238E27FC236}">
                <a16:creationId xmlns:a16="http://schemas.microsoft.com/office/drawing/2014/main" id="{BACCD77F-6A9E-76FD-8A3A-2FBB9E8A1FB5}"/>
              </a:ext>
            </a:extLst>
          </p:cNvPr>
          <p:cNvSpPr/>
          <p:nvPr userDrawn="1"/>
        </p:nvSpPr>
        <p:spPr>
          <a:xfrm>
            <a:off x="7805550" y="0"/>
            <a:ext cx="4391193" cy="4355492"/>
          </a:xfrm>
          <a:custGeom>
            <a:avLst/>
            <a:gdLst/>
            <a:ahLst/>
            <a:cxnLst/>
            <a:rect l="l" t="t" r="r" b="b"/>
            <a:pathLst>
              <a:path w="4842509" h="4803140">
                <a:moveTo>
                  <a:pt x="747268" y="1282877"/>
                </a:moveTo>
                <a:lnTo>
                  <a:pt x="744347" y="1235252"/>
                </a:lnTo>
                <a:lnTo>
                  <a:pt x="735850" y="1189393"/>
                </a:lnTo>
                <a:lnTo>
                  <a:pt x="722109" y="1145654"/>
                </a:lnTo>
                <a:lnTo>
                  <a:pt x="703478" y="1104379"/>
                </a:lnTo>
                <a:lnTo>
                  <a:pt x="680313" y="1065949"/>
                </a:lnTo>
                <a:lnTo>
                  <a:pt x="652957" y="1030706"/>
                </a:lnTo>
                <a:lnTo>
                  <a:pt x="621766" y="999007"/>
                </a:lnTo>
                <a:lnTo>
                  <a:pt x="587095" y="971207"/>
                </a:lnTo>
                <a:lnTo>
                  <a:pt x="549275" y="947661"/>
                </a:lnTo>
                <a:lnTo>
                  <a:pt x="508673" y="928738"/>
                </a:lnTo>
                <a:lnTo>
                  <a:pt x="465620" y="914781"/>
                </a:lnTo>
                <a:lnTo>
                  <a:pt x="420497" y="906132"/>
                </a:lnTo>
                <a:lnTo>
                  <a:pt x="373634" y="903173"/>
                </a:lnTo>
                <a:lnTo>
                  <a:pt x="326758" y="906132"/>
                </a:lnTo>
                <a:lnTo>
                  <a:pt x="281635" y="914781"/>
                </a:lnTo>
                <a:lnTo>
                  <a:pt x="238582" y="928738"/>
                </a:lnTo>
                <a:lnTo>
                  <a:pt x="197980" y="947661"/>
                </a:lnTo>
                <a:lnTo>
                  <a:pt x="160159" y="971207"/>
                </a:lnTo>
                <a:lnTo>
                  <a:pt x="125488" y="999007"/>
                </a:lnTo>
                <a:lnTo>
                  <a:pt x="94297" y="1030706"/>
                </a:lnTo>
                <a:lnTo>
                  <a:pt x="66941" y="1065949"/>
                </a:lnTo>
                <a:lnTo>
                  <a:pt x="43776" y="1104379"/>
                </a:lnTo>
                <a:lnTo>
                  <a:pt x="25146" y="1145654"/>
                </a:lnTo>
                <a:lnTo>
                  <a:pt x="11404" y="1189393"/>
                </a:lnTo>
                <a:lnTo>
                  <a:pt x="2908" y="1235252"/>
                </a:lnTo>
                <a:lnTo>
                  <a:pt x="0" y="1282877"/>
                </a:lnTo>
                <a:lnTo>
                  <a:pt x="2908" y="1330515"/>
                </a:lnTo>
                <a:lnTo>
                  <a:pt x="11404" y="1376375"/>
                </a:lnTo>
                <a:lnTo>
                  <a:pt x="25146" y="1420126"/>
                </a:lnTo>
                <a:lnTo>
                  <a:pt x="43776" y="1461389"/>
                </a:lnTo>
                <a:lnTo>
                  <a:pt x="66941" y="1499819"/>
                </a:lnTo>
                <a:lnTo>
                  <a:pt x="94297" y="1535074"/>
                </a:lnTo>
                <a:lnTo>
                  <a:pt x="125488" y="1566773"/>
                </a:lnTo>
                <a:lnTo>
                  <a:pt x="160159" y="1594573"/>
                </a:lnTo>
                <a:lnTo>
                  <a:pt x="197980" y="1618107"/>
                </a:lnTo>
                <a:lnTo>
                  <a:pt x="238582" y="1637042"/>
                </a:lnTo>
                <a:lnTo>
                  <a:pt x="281635" y="1651000"/>
                </a:lnTo>
                <a:lnTo>
                  <a:pt x="326758" y="1659636"/>
                </a:lnTo>
                <a:lnTo>
                  <a:pt x="373634" y="1662595"/>
                </a:lnTo>
                <a:lnTo>
                  <a:pt x="420497" y="1659636"/>
                </a:lnTo>
                <a:lnTo>
                  <a:pt x="465620" y="1651000"/>
                </a:lnTo>
                <a:lnTo>
                  <a:pt x="508673" y="1637042"/>
                </a:lnTo>
                <a:lnTo>
                  <a:pt x="549275" y="1618107"/>
                </a:lnTo>
                <a:lnTo>
                  <a:pt x="587095" y="1594573"/>
                </a:lnTo>
                <a:lnTo>
                  <a:pt x="621766" y="1566773"/>
                </a:lnTo>
                <a:lnTo>
                  <a:pt x="652957" y="1535074"/>
                </a:lnTo>
                <a:lnTo>
                  <a:pt x="680313" y="1499819"/>
                </a:lnTo>
                <a:lnTo>
                  <a:pt x="703478" y="1461389"/>
                </a:lnTo>
                <a:lnTo>
                  <a:pt x="722109" y="1420126"/>
                </a:lnTo>
                <a:lnTo>
                  <a:pt x="735850" y="1376375"/>
                </a:lnTo>
                <a:lnTo>
                  <a:pt x="744347" y="1330515"/>
                </a:lnTo>
                <a:lnTo>
                  <a:pt x="747268" y="1282877"/>
                </a:lnTo>
                <a:close/>
              </a:path>
              <a:path w="4842509" h="4803140">
                <a:moveTo>
                  <a:pt x="1038237" y="2266010"/>
                </a:moveTo>
                <a:lnTo>
                  <a:pt x="1033195" y="2221458"/>
                </a:lnTo>
                <a:lnTo>
                  <a:pt x="1018806" y="2180552"/>
                </a:lnTo>
                <a:lnTo>
                  <a:pt x="996238" y="2144471"/>
                </a:lnTo>
                <a:lnTo>
                  <a:pt x="966635" y="2114385"/>
                </a:lnTo>
                <a:lnTo>
                  <a:pt x="931125" y="2091448"/>
                </a:lnTo>
                <a:lnTo>
                  <a:pt x="890879" y="2076831"/>
                </a:lnTo>
                <a:lnTo>
                  <a:pt x="847039" y="2071700"/>
                </a:lnTo>
                <a:lnTo>
                  <a:pt x="803198" y="2076831"/>
                </a:lnTo>
                <a:lnTo>
                  <a:pt x="762952" y="2091448"/>
                </a:lnTo>
                <a:lnTo>
                  <a:pt x="727456" y="2114385"/>
                </a:lnTo>
                <a:lnTo>
                  <a:pt x="697852" y="2144471"/>
                </a:lnTo>
                <a:lnTo>
                  <a:pt x="675284" y="2180552"/>
                </a:lnTo>
                <a:lnTo>
                  <a:pt x="660895" y="2221458"/>
                </a:lnTo>
                <a:lnTo>
                  <a:pt x="655840" y="2266010"/>
                </a:lnTo>
                <a:lnTo>
                  <a:pt x="660895" y="2310561"/>
                </a:lnTo>
                <a:lnTo>
                  <a:pt x="675284" y="2351455"/>
                </a:lnTo>
                <a:lnTo>
                  <a:pt x="697852" y="2387536"/>
                </a:lnTo>
                <a:lnTo>
                  <a:pt x="727456" y="2417635"/>
                </a:lnTo>
                <a:lnTo>
                  <a:pt x="762952" y="2440571"/>
                </a:lnTo>
                <a:lnTo>
                  <a:pt x="803198" y="2455189"/>
                </a:lnTo>
                <a:lnTo>
                  <a:pt x="847039" y="2460320"/>
                </a:lnTo>
                <a:lnTo>
                  <a:pt x="890879" y="2455189"/>
                </a:lnTo>
                <a:lnTo>
                  <a:pt x="931125" y="2440571"/>
                </a:lnTo>
                <a:lnTo>
                  <a:pt x="966635" y="2417635"/>
                </a:lnTo>
                <a:lnTo>
                  <a:pt x="996238" y="2387536"/>
                </a:lnTo>
                <a:lnTo>
                  <a:pt x="1018806" y="2351455"/>
                </a:lnTo>
                <a:lnTo>
                  <a:pt x="1033195" y="2310561"/>
                </a:lnTo>
                <a:lnTo>
                  <a:pt x="1038237" y="2266010"/>
                </a:lnTo>
                <a:close/>
              </a:path>
              <a:path w="4842509" h="4803140">
                <a:moveTo>
                  <a:pt x="1353693" y="196011"/>
                </a:moveTo>
                <a:lnTo>
                  <a:pt x="1349044" y="149148"/>
                </a:lnTo>
                <a:lnTo>
                  <a:pt x="1335709" y="105486"/>
                </a:lnTo>
                <a:lnTo>
                  <a:pt x="1314615" y="65989"/>
                </a:lnTo>
                <a:lnTo>
                  <a:pt x="1286675" y="31572"/>
                </a:lnTo>
                <a:lnTo>
                  <a:pt x="1252804" y="3175"/>
                </a:lnTo>
                <a:lnTo>
                  <a:pt x="1247063" y="0"/>
                </a:lnTo>
                <a:lnTo>
                  <a:pt x="1002677" y="0"/>
                </a:lnTo>
                <a:lnTo>
                  <a:pt x="963053" y="31572"/>
                </a:lnTo>
                <a:lnTo>
                  <a:pt x="935113" y="65989"/>
                </a:lnTo>
                <a:lnTo>
                  <a:pt x="914019" y="105486"/>
                </a:lnTo>
                <a:lnTo>
                  <a:pt x="900684" y="149148"/>
                </a:lnTo>
                <a:lnTo>
                  <a:pt x="896035" y="196011"/>
                </a:lnTo>
                <a:lnTo>
                  <a:pt x="900684" y="242874"/>
                </a:lnTo>
                <a:lnTo>
                  <a:pt x="914019" y="286524"/>
                </a:lnTo>
                <a:lnTo>
                  <a:pt x="935113" y="326034"/>
                </a:lnTo>
                <a:lnTo>
                  <a:pt x="963053" y="360451"/>
                </a:lnTo>
                <a:lnTo>
                  <a:pt x="996924" y="388848"/>
                </a:lnTo>
                <a:lnTo>
                  <a:pt x="1035799" y="410286"/>
                </a:lnTo>
                <a:lnTo>
                  <a:pt x="1078750" y="423837"/>
                </a:lnTo>
                <a:lnTo>
                  <a:pt x="1124864" y="428561"/>
                </a:lnTo>
                <a:lnTo>
                  <a:pt x="1170978" y="423837"/>
                </a:lnTo>
                <a:lnTo>
                  <a:pt x="1213929" y="410286"/>
                </a:lnTo>
                <a:lnTo>
                  <a:pt x="1252804" y="388848"/>
                </a:lnTo>
                <a:lnTo>
                  <a:pt x="1286675" y="360451"/>
                </a:lnTo>
                <a:lnTo>
                  <a:pt x="1314615" y="326034"/>
                </a:lnTo>
                <a:lnTo>
                  <a:pt x="1335709" y="286524"/>
                </a:lnTo>
                <a:lnTo>
                  <a:pt x="1349044" y="242874"/>
                </a:lnTo>
                <a:lnTo>
                  <a:pt x="1353693" y="196011"/>
                </a:lnTo>
                <a:close/>
              </a:path>
              <a:path w="4842509" h="4803140">
                <a:moveTo>
                  <a:pt x="2336165" y="3322891"/>
                </a:moveTo>
                <a:lnTo>
                  <a:pt x="2331415" y="3275126"/>
                </a:lnTo>
                <a:lnTo>
                  <a:pt x="2317826" y="3230638"/>
                </a:lnTo>
                <a:lnTo>
                  <a:pt x="2296325" y="3190392"/>
                </a:lnTo>
                <a:lnTo>
                  <a:pt x="2267851" y="3155315"/>
                </a:lnTo>
                <a:lnTo>
                  <a:pt x="2233333" y="3126371"/>
                </a:lnTo>
                <a:lnTo>
                  <a:pt x="2193721" y="3104527"/>
                </a:lnTo>
                <a:lnTo>
                  <a:pt x="2149945" y="3090710"/>
                </a:lnTo>
                <a:lnTo>
                  <a:pt x="2102954" y="3085896"/>
                </a:lnTo>
                <a:lnTo>
                  <a:pt x="2055952" y="3090710"/>
                </a:lnTo>
                <a:lnTo>
                  <a:pt x="2012175" y="3104527"/>
                </a:lnTo>
                <a:lnTo>
                  <a:pt x="1972564" y="3126371"/>
                </a:lnTo>
                <a:lnTo>
                  <a:pt x="1938058" y="3155315"/>
                </a:lnTo>
                <a:lnTo>
                  <a:pt x="1909572" y="3190392"/>
                </a:lnTo>
                <a:lnTo>
                  <a:pt x="1888070" y="3230638"/>
                </a:lnTo>
                <a:lnTo>
                  <a:pt x="1874494" y="3275126"/>
                </a:lnTo>
                <a:lnTo>
                  <a:pt x="1869757" y="3322891"/>
                </a:lnTo>
                <a:lnTo>
                  <a:pt x="1874494" y="3370656"/>
                </a:lnTo>
                <a:lnTo>
                  <a:pt x="1888070" y="3415144"/>
                </a:lnTo>
                <a:lnTo>
                  <a:pt x="1909572" y="3455403"/>
                </a:lnTo>
                <a:lnTo>
                  <a:pt x="1938058" y="3490480"/>
                </a:lnTo>
                <a:lnTo>
                  <a:pt x="1972564" y="3519424"/>
                </a:lnTo>
                <a:lnTo>
                  <a:pt x="2012175" y="3541280"/>
                </a:lnTo>
                <a:lnTo>
                  <a:pt x="2055952" y="3555085"/>
                </a:lnTo>
                <a:lnTo>
                  <a:pt x="2102954" y="3559899"/>
                </a:lnTo>
                <a:lnTo>
                  <a:pt x="2149945" y="3555085"/>
                </a:lnTo>
                <a:lnTo>
                  <a:pt x="2193721" y="3541280"/>
                </a:lnTo>
                <a:lnTo>
                  <a:pt x="2233333" y="3519424"/>
                </a:lnTo>
                <a:lnTo>
                  <a:pt x="2267851" y="3490480"/>
                </a:lnTo>
                <a:lnTo>
                  <a:pt x="2296325" y="3455403"/>
                </a:lnTo>
                <a:lnTo>
                  <a:pt x="2317826" y="3415144"/>
                </a:lnTo>
                <a:lnTo>
                  <a:pt x="2331415" y="3370656"/>
                </a:lnTo>
                <a:lnTo>
                  <a:pt x="2336165" y="3322891"/>
                </a:lnTo>
                <a:close/>
              </a:path>
              <a:path w="4842509" h="4803140">
                <a:moveTo>
                  <a:pt x="2815031" y="1449959"/>
                </a:moveTo>
                <a:lnTo>
                  <a:pt x="2805074" y="1400657"/>
                </a:lnTo>
                <a:lnTo>
                  <a:pt x="2777921" y="1360385"/>
                </a:lnTo>
                <a:lnTo>
                  <a:pt x="2737650" y="1333233"/>
                </a:lnTo>
                <a:lnTo>
                  <a:pt x="2688348" y="1323276"/>
                </a:lnTo>
                <a:lnTo>
                  <a:pt x="1587842" y="1323276"/>
                </a:lnTo>
                <a:lnTo>
                  <a:pt x="1594739" y="1293037"/>
                </a:lnTo>
                <a:lnTo>
                  <a:pt x="1611210" y="1231938"/>
                </a:lnTo>
                <a:lnTo>
                  <a:pt x="1635810" y="1161021"/>
                </a:lnTo>
                <a:lnTo>
                  <a:pt x="1653717" y="1120343"/>
                </a:lnTo>
                <a:lnTo>
                  <a:pt x="1674545" y="1079030"/>
                </a:lnTo>
                <a:lnTo>
                  <a:pt x="1698117" y="1037107"/>
                </a:lnTo>
                <a:lnTo>
                  <a:pt x="1724279" y="994613"/>
                </a:lnTo>
                <a:lnTo>
                  <a:pt x="1724837" y="994613"/>
                </a:lnTo>
                <a:lnTo>
                  <a:pt x="1725358" y="994778"/>
                </a:lnTo>
                <a:lnTo>
                  <a:pt x="2587726" y="994778"/>
                </a:lnTo>
                <a:lnTo>
                  <a:pt x="2588539" y="994613"/>
                </a:lnTo>
                <a:lnTo>
                  <a:pt x="2637028" y="984821"/>
                </a:lnTo>
                <a:lnTo>
                  <a:pt x="2677299" y="957668"/>
                </a:lnTo>
                <a:lnTo>
                  <a:pt x="2704452" y="917409"/>
                </a:lnTo>
                <a:lnTo>
                  <a:pt x="2714409" y="868095"/>
                </a:lnTo>
                <a:lnTo>
                  <a:pt x="2704452" y="818794"/>
                </a:lnTo>
                <a:lnTo>
                  <a:pt x="2677299" y="778522"/>
                </a:lnTo>
                <a:lnTo>
                  <a:pt x="2637028" y="751370"/>
                </a:lnTo>
                <a:lnTo>
                  <a:pt x="2587726" y="741413"/>
                </a:lnTo>
                <a:lnTo>
                  <a:pt x="1918449" y="741413"/>
                </a:lnTo>
                <a:lnTo>
                  <a:pt x="1948662" y="707326"/>
                </a:lnTo>
                <a:lnTo>
                  <a:pt x="1979866" y="672985"/>
                </a:lnTo>
                <a:lnTo>
                  <a:pt x="2012010" y="638390"/>
                </a:lnTo>
                <a:lnTo>
                  <a:pt x="2045055" y="603554"/>
                </a:lnTo>
                <a:lnTo>
                  <a:pt x="2078926" y="568502"/>
                </a:lnTo>
                <a:lnTo>
                  <a:pt x="2113610" y="533209"/>
                </a:lnTo>
                <a:lnTo>
                  <a:pt x="2149030" y="497700"/>
                </a:lnTo>
                <a:lnTo>
                  <a:pt x="2185162" y="461987"/>
                </a:lnTo>
                <a:lnTo>
                  <a:pt x="2221954" y="426072"/>
                </a:lnTo>
                <a:lnTo>
                  <a:pt x="2297303" y="353644"/>
                </a:lnTo>
                <a:lnTo>
                  <a:pt x="2414079" y="243662"/>
                </a:lnTo>
                <a:lnTo>
                  <a:pt x="2677630" y="12"/>
                </a:lnTo>
                <a:lnTo>
                  <a:pt x="2136800" y="12"/>
                </a:lnTo>
                <a:lnTo>
                  <a:pt x="2069376" y="63487"/>
                </a:lnTo>
                <a:lnTo>
                  <a:pt x="1987892" y="141401"/>
                </a:lnTo>
                <a:lnTo>
                  <a:pt x="1947964" y="180200"/>
                </a:lnTo>
                <a:lnTo>
                  <a:pt x="1908632" y="218884"/>
                </a:lnTo>
                <a:lnTo>
                  <a:pt x="1869922" y="257467"/>
                </a:lnTo>
                <a:lnTo>
                  <a:pt x="1831911" y="295948"/>
                </a:lnTo>
                <a:lnTo>
                  <a:pt x="1794637" y="334327"/>
                </a:lnTo>
                <a:lnTo>
                  <a:pt x="1758124" y="372618"/>
                </a:lnTo>
                <a:lnTo>
                  <a:pt x="1722450" y="410806"/>
                </a:lnTo>
                <a:lnTo>
                  <a:pt x="1687626" y="448906"/>
                </a:lnTo>
                <a:lnTo>
                  <a:pt x="1653730" y="486918"/>
                </a:lnTo>
                <a:lnTo>
                  <a:pt x="1620786" y="524840"/>
                </a:lnTo>
                <a:lnTo>
                  <a:pt x="1588846" y="562686"/>
                </a:lnTo>
                <a:lnTo>
                  <a:pt x="1557959" y="600443"/>
                </a:lnTo>
                <a:lnTo>
                  <a:pt x="1528152" y="638124"/>
                </a:lnTo>
                <a:lnTo>
                  <a:pt x="1499501" y="675716"/>
                </a:lnTo>
                <a:lnTo>
                  <a:pt x="1472018" y="713244"/>
                </a:lnTo>
                <a:lnTo>
                  <a:pt x="1445780" y="750697"/>
                </a:lnTo>
                <a:lnTo>
                  <a:pt x="1420812" y="788073"/>
                </a:lnTo>
                <a:lnTo>
                  <a:pt x="1397165" y="825385"/>
                </a:lnTo>
                <a:lnTo>
                  <a:pt x="1374889" y="862634"/>
                </a:lnTo>
                <a:lnTo>
                  <a:pt x="1354023" y="899820"/>
                </a:lnTo>
                <a:lnTo>
                  <a:pt x="1334604" y="936955"/>
                </a:lnTo>
                <a:lnTo>
                  <a:pt x="1316697" y="974013"/>
                </a:lnTo>
                <a:lnTo>
                  <a:pt x="1300340" y="1011021"/>
                </a:lnTo>
                <a:lnTo>
                  <a:pt x="1285570" y="1047978"/>
                </a:lnTo>
                <a:lnTo>
                  <a:pt x="1272451" y="1084884"/>
                </a:lnTo>
                <a:lnTo>
                  <a:pt x="1251242" y="1153655"/>
                </a:lnTo>
                <a:lnTo>
                  <a:pt x="1233639" y="1221536"/>
                </a:lnTo>
                <a:lnTo>
                  <a:pt x="1219492" y="1288491"/>
                </a:lnTo>
                <a:lnTo>
                  <a:pt x="1208646" y="1354493"/>
                </a:lnTo>
                <a:lnTo>
                  <a:pt x="1200962" y="1419517"/>
                </a:lnTo>
                <a:lnTo>
                  <a:pt x="1196276" y="1483499"/>
                </a:lnTo>
                <a:lnTo>
                  <a:pt x="1194447" y="1546440"/>
                </a:lnTo>
                <a:lnTo>
                  <a:pt x="1195324" y="1608264"/>
                </a:lnTo>
                <a:lnTo>
                  <a:pt x="1198753" y="1668970"/>
                </a:lnTo>
                <a:lnTo>
                  <a:pt x="1204595" y="1728508"/>
                </a:lnTo>
                <a:lnTo>
                  <a:pt x="1212684" y="1786839"/>
                </a:lnTo>
                <a:lnTo>
                  <a:pt x="1222870" y="1843925"/>
                </a:lnTo>
                <a:lnTo>
                  <a:pt x="1235024" y="1899742"/>
                </a:lnTo>
                <a:lnTo>
                  <a:pt x="1248981" y="1954237"/>
                </a:lnTo>
                <a:lnTo>
                  <a:pt x="1264589" y="2007400"/>
                </a:lnTo>
                <a:lnTo>
                  <a:pt x="1281709" y="2059178"/>
                </a:lnTo>
                <a:lnTo>
                  <a:pt x="1300175" y="2109533"/>
                </a:lnTo>
                <a:lnTo>
                  <a:pt x="1319860" y="2158441"/>
                </a:lnTo>
                <a:lnTo>
                  <a:pt x="1340586" y="2205863"/>
                </a:lnTo>
                <a:lnTo>
                  <a:pt x="1362227" y="2251748"/>
                </a:lnTo>
                <a:lnTo>
                  <a:pt x="1384617" y="2296083"/>
                </a:lnTo>
                <a:lnTo>
                  <a:pt x="1407617" y="2338819"/>
                </a:lnTo>
                <a:lnTo>
                  <a:pt x="1431074" y="2379916"/>
                </a:lnTo>
                <a:lnTo>
                  <a:pt x="1454835" y="2419350"/>
                </a:lnTo>
                <a:lnTo>
                  <a:pt x="1478749" y="2457081"/>
                </a:lnTo>
                <a:lnTo>
                  <a:pt x="1502676" y="2493073"/>
                </a:lnTo>
                <a:lnTo>
                  <a:pt x="1526451" y="2527300"/>
                </a:lnTo>
                <a:lnTo>
                  <a:pt x="1549946" y="2559710"/>
                </a:lnTo>
                <a:lnTo>
                  <a:pt x="1572983" y="2590266"/>
                </a:lnTo>
                <a:lnTo>
                  <a:pt x="1617141" y="2645714"/>
                </a:lnTo>
                <a:lnTo>
                  <a:pt x="1657718" y="2693352"/>
                </a:lnTo>
                <a:lnTo>
                  <a:pt x="1693532" y="2732887"/>
                </a:lnTo>
                <a:lnTo>
                  <a:pt x="1723364" y="2764040"/>
                </a:lnTo>
                <a:lnTo>
                  <a:pt x="1754289" y="2794431"/>
                </a:lnTo>
                <a:lnTo>
                  <a:pt x="1791779" y="2824124"/>
                </a:lnTo>
                <a:lnTo>
                  <a:pt x="1853996" y="2847721"/>
                </a:lnTo>
                <a:lnTo>
                  <a:pt x="1886724" y="2850654"/>
                </a:lnTo>
                <a:lnTo>
                  <a:pt x="1923973" y="2846857"/>
                </a:lnTo>
                <a:lnTo>
                  <a:pt x="1993277" y="2816644"/>
                </a:lnTo>
                <a:lnTo>
                  <a:pt x="2022830" y="2790367"/>
                </a:lnTo>
                <a:lnTo>
                  <a:pt x="2050745" y="2749880"/>
                </a:lnTo>
                <a:lnTo>
                  <a:pt x="2066505" y="2705011"/>
                </a:lnTo>
                <a:lnTo>
                  <a:pt x="2070239" y="2658224"/>
                </a:lnTo>
                <a:lnTo>
                  <a:pt x="2062073" y="2611996"/>
                </a:lnTo>
                <a:lnTo>
                  <a:pt x="2042134" y="2568778"/>
                </a:lnTo>
                <a:lnTo>
                  <a:pt x="2010562" y="2531059"/>
                </a:lnTo>
                <a:lnTo>
                  <a:pt x="2002307" y="2523312"/>
                </a:lnTo>
                <a:lnTo>
                  <a:pt x="1986203" y="2507475"/>
                </a:lnTo>
                <a:lnTo>
                  <a:pt x="1934933" y="2452725"/>
                </a:lnTo>
                <a:lnTo>
                  <a:pt x="1902015" y="2414397"/>
                </a:lnTo>
                <a:lnTo>
                  <a:pt x="1865718" y="2369159"/>
                </a:lnTo>
                <a:lnTo>
                  <a:pt x="1827174" y="2317305"/>
                </a:lnTo>
                <a:lnTo>
                  <a:pt x="1787486" y="2259114"/>
                </a:lnTo>
                <a:lnTo>
                  <a:pt x="1747786" y="2194903"/>
                </a:lnTo>
                <a:lnTo>
                  <a:pt x="1709204" y="2124951"/>
                </a:lnTo>
                <a:lnTo>
                  <a:pt x="2085060" y="2124951"/>
                </a:lnTo>
                <a:lnTo>
                  <a:pt x="2134362" y="2114994"/>
                </a:lnTo>
                <a:lnTo>
                  <a:pt x="2174633" y="2087841"/>
                </a:lnTo>
                <a:lnTo>
                  <a:pt x="2201786" y="2047582"/>
                </a:lnTo>
                <a:lnTo>
                  <a:pt x="2211743" y="1998268"/>
                </a:lnTo>
                <a:lnTo>
                  <a:pt x="2201786" y="1948967"/>
                </a:lnTo>
                <a:lnTo>
                  <a:pt x="2174633" y="1908695"/>
                </a:lnTo>
                <a:lnTo>
                  <a:pt x="2134362" y="1881543"/>
                </a:lnTo>
                <a:lnTo>
                  <a:pt x="2085060" y="1871586"/>
                </a:lnTo>
                <a:lnTo>
                  <a:pt x="1607959" y="1871586"/>
                </a:lnTo>
                <a:lnTo>
                  <a:pt x="1595729" y="1825244"/>
                </a:lnTo>
                <a:lnTo>
                  <a:pt x="1585214" y="1777720"/>
                </a:lnTo>
                <a:lnTo>
                  <a:pt x="1576565" y="1729054"/>
                </a:lnTo>
                <a:lnTo>
                  <a:pt x="1569910" y="1679295"/>
                </a:lnTo>
                <a:lnTo>
                  <a:pt x="1565402" y="1628482"/>
                </a:lnTo>
                <a:lnTo>
                  <a:pt x="1563192" y="1576641"/>
                </a:lnTo>
                <a:lnTo>
                  <a:pt x="2688348" y="1576641"/>
                </a:lnTo>
                <a:lnTo>
                  <a:pt x="2737650" y="1566697"/>
                </a:lnTo>
                <a:lnTo>
                  <a:pt x="2777921" y="1539544"/>
                </a:lnTo>
                <a:lnTo>
                  <a:pt x="2805074" y="1499273"/>
                </a:lnTo>
                <a:lnTo>
                  <a:pt x="2815031" y="1449959"/>
                </a:lnTo>
                <a:close/>
              </a:path>
              <a:path w="4842509" h="4803140">
                <a:moveTo>
                  <a:pt x="3022498" y="1998268"/>
                </a:moveTo>
                <a:lnTo>
                  <a:pt x="3012541" y="1948967"/>
                </a:lnTo>
                <a:lnTo>
                  <a:pt x="2985389" y="1908695"/>
                </a:lnTo>
                <a:lnTo>
                  <a:pt x="2945130" y="1881543"/>
                </a:lnTo>
                <a:lnTo>
                  <a:pt x="2895816" y="1871586"/>
                </a:lnTo>
                <a:lnTo>
                  <a:pt x="2492959" y="1871586"/>
                </a:lnTo>
                <a:lnTo>
                  <a:pt x="2443645" y="1881543"/>
                </a:lnTo>
                <a:lnTo>
                  <a:pt x="2403373" y="1908695"/>
                </a:lnTo>
                <a:lnTo>
                  <a:pt x="2376220" y="1948967"/>
                </a:lnTo>
                <a:lnTo>
                  <a:pt x="2366264" y="1998268"/>
                </a:lnTo>
                <a:lnTo>
                  <a:pt x="2376220" y="2047582"/>
                </a:lnTo>
                <a:lnTo>
                  <a:pt x="2403373" y="2087854"/>
                </a:lnTo>
                <a:lnTo>
                  <a:pt x="2443645" y="2114994"/>
                </a:lnTo>
                <a:lnTo>
                  <a:pt x="2492959" y="2124951"/>
                </a:lnTo>
                <a:lnTo>
                  <a:pt x="2895816" y="2124951"/>
                </a:lnTo>
                <a:lnTo>
                  <a:pt x="2945130" y="2114994"/>
                </a:lnTo>
                <a:lnTo>
                  <a:pt x="2985389" y="2087854"/>
                </a:lnTo>
                <a:lnTo>
                  <a:pt x="3012541" y="2047582"/>
                </a:lnTo>
                <a:lnTo>
                  <a:pt x="3022498" y="1998268"/>
                </a:lnTo>
                <a:close/>
              </a:path>
              <a:path w="4842509" h="4803140">
                <a:moveTo>
                  <a:pt x="3290455" y="860463"/>
                </a:moveTo>
                <a:lnTo>
                  <a:pt x="3285413" y="815911"/>
                </a:lnTo>
                <a:lnTo>
                  <a:pt x="3271024" y="775017"/>
                </a:lnTo>
                <a:lnTo>
                  <a:pt x="3248456" y="738936"/>
                </a:lnTo>
                <a:lnTo>
                  <a:pt x="3218853" y="708850"/>
                </a:lnTo>
                <a:lnTo>
                  <a:pt x="3183344" y="685914"/>
                </a:lnTo>
                <a:lnTo>
                  <a:pt x="3143097" y="671296"/>
                </a:lnTo>
                <a:lnTo>
                  <a:pt x="3099257" y="666165"/>
                </a:lnTo>
                <a:lnTo>
                  <a:pt x="3055429" y="671296"/>
                </a:lnTo>
                <a:lnTo>
                  <a:pt x="3015183" y="685914"/>
                </a:lnTo>
                <a:lnTo>
                  <a:pt x="2979674" y="708850"/>
                </a:lnTo>
                <a:lnTo>
                  <a:pt x="2950070" y="738936"/>
                </a:lnTo>
                <a:lnTo>
                  <a:pt x="2927502" y="775017"/>
                </a:lnTo>
                <a:lnTo>
                  <a:pt x="2913113" y="815911"/>
                </a:lnTo>
                <a:lnTo>
                  <a:pt x="2908058" y="860463"/>
                </a:lnTo>
                <a:lnTo>
                  <a:pt x="2913113" y="905027"/>
                </a:lnTo>
                <a:lnTo>
                  <a:pt x="2927502" y="945921"/>
                </a:lnTo>
                <a:lnTo>
                  <a:pt x="2950070" y="982002"/>
                </a:lnTo>
                <a:lnTo>
                  <a:pt x="2979674" y="1012088"/>
                </a:lnTo>
                <a:lnTo>
                  <a:pt x="3015183" y="1035024"/>
                </a:lnTo>
                <a:lnTo>
                  <a:pt x="3055429" y="1049642"/>
                </a:lnTo>
                <a:lnTo>
                  <a:pt x="3099257" y="1054773"/>
                </a:lnTo>
                <a:lnTo>
                  <a:pt x="3143097" y="1049642"/>
                </a:lnTo>
                <a:lnTo>
                  <a:pt x="3183344" y="1035024"/>
                </a:lnTo>
                <a:lnTo>
                  <a:pt x="3218853" y="1012088"/>
                </a:lnTo>
                <a:lnTo>
                  <a:pt x="3248456" y="982002"/>
                </a:lnTo>
                <a:lnTo>
                  <a:pt x="3271024" y="945921"/>
                </a:lnTo>
                <a:lnTo>
                  <a:pt x="3285413" y="905027"/>
                </a:lnTo>
                <a:lnTo>
                  <a:pt x="3290455" y="860463"/>
                </a:lnTo>
                <a:close/>
              </a:path>
              <a:path w="4842509" h="4803140">
                <a:moveTo>
                  <a:pt x="3455378" y="1436839"/>
                </a:moveTo>
                <a:lnTo>
                  <a:pt x="3449624" y="1393291"/>
                </a:lnTo>
                <a:lnTo>
                  <a:pt x="3433368" y="1354150"/>
                </a:lnTo>
                <a:lnTo>
                  <a:pt x="3408159" y="1320990"/>
                </a:lnTo>
                <a:lnTo>
                  <a:pt x="3375533" y="1295374"/>
                </a:lnTo>
                <a:lnTo>
                  <a:pt x="3337026" y="1278864"/>
                </a:lnTo>
                <a:lnTo>
                  <a:pt x="3294164" y="1273009"/>
                </a:lnTo>
                <a:lnTo>
                  <a:pt x="3251314" y="1278864"/>
                </a:lnTo>
                <a:lnTo>
                  <a:pt x="3212795" y="1295374"/>
                </a:lnTo>
                <a:lnTo>
                  <a:pt x="3180169" y="1320990"/>
                </a:lnTo>
                <a:lnTo>
                  <a:pt x="3154959" y="1354150"/>
                </a:lnTo>
                <a:lnTo>
                  <a:pt x="3138716" y="1393291"/>
                </a:lnTo>
                <a:lnTo>
                  <a:pt x="3132950" y="1436839"/>
                </a:lnTo>
                <a:lnTo>
                  <a:pt x="3138716" y="1480388"/>
                </a:lnTo>
                <a:lnTo>
                  <a:pt x="3154959" y="1519529"/>
                </a:lnTo>
                <a:lnTo>
                  <a:pt x="3180169" y="1552689"/>
                </a:lnTo>
                <a:lnTo>
                  <a:pt x="3212795" y="1578305"/>
                </a:lnTo>
                <a:lnTo>
                  <a:pt x="3251314" y="1594815"/>
                </a:lnTo>
                <a:lnTo>
                  <a:pt x="3294164" y="1600669"/>
                </a:lnTo>
                <a:lnTo>
                  <a:pt x="3337026" y="1594815"/>
                </a:lnTo>
                <a:lnTo>
                  <a:pt x="3375533" y="1578305"/>
                </a:lnTo>
                <a:lnTo>
                  <a:pt x="3408159" y="1552689"/>
                </a:lnTo>
                <a:lnTo>
                  <a:pt x="3433368" y="1519529"/>
                </a:lnTo>
                <a:lnTo>
                  <a:pt x="3449624" y="1480388"/>
                </a:lnTo>
                <a:lnTo>
                  <a:pt x="3455378" y="1436839"/>
                </a:lnTo>
                <a:close/>
              </a:path>
              <a:path w="4842509" h="4803140">
                <a:moveTo>
                  <a:pt x="3677882" y="141617"/>
                </a:moveTo>
                <a:lnTo>
                  <a:pt x="3669868" y="91109"/>
                </a:lnTo>
                <a:lnTo>
                  <a:pt x="3647541" y="47244"/>
                </a:lnTo>
                <a:lnTo>
                  <a:pt x="3613505" y="12661"/>
                </a:lnTo>
                <a:lnTo>
                  <a:pt x="3589439" y="0"/>
                </a:lnTo>
                <a:lnTo>
                  <a:pt x="3451847" y="0"/>
                </a:lnTo>
                <a:lnTo>
                  <a:pt x="3427780" y="12661"/>
                </a:lnTo>
                <a:lnTo>
                  <a:pt x="3393744" y="47244"/>
                </a:lnTo>
                <a:lnTo>
                  <a:pt x="3371418" y="91109"/>
                </a:lnTo>
                <a:lnTo>
                  <a:pt x="3363404" y="141617"/>
                </a:lnTo>
                <a:lnTo>
                  <a:pt x="3371418" y="192125"/>
                </a:lnTo>
                <a:lnTo>
                  <a:pt x="3393744" y="235991"/>
                </a:lnTo>
                <a:lnTo>
                  <a:pt x="3427780" y="270573"/>
                </a:lnTo>
                <a:lnTo>
                  <a:pt x="3470935" y="293268"/>
                </a:lnTo>
                <a:lnTo>
                  <a:pt x="3520643" y="301409"/>
                </a:lnTo>
                <a:lnTo>
                  <a:pt x="3570338" y="293268"/>
                </a:lnTo>
                <a:lnTo>
                  <a:pt x="3613505" y="270573"/>
                </a:lnTo>
                <a:lnTo>
                  <a:pt x="3647541" y="235991"/>
                </a:lnTo>
                <a:lnTo>
                  <a:pt x="3669868" y="192125"/>
                </a:lnTo>
                <a:lnTo>
                  <a:pt x="3677882" y="141617"/>
                </a:lnTo>
                <a:close/>
              </a:path>
              <a:path w="4842509" h="4803140">
                <a:moveTo>
                  <a:pt x="3887127" y="709460"/>
                </a:moveTo>
                <a:lnTo>
                  <a:pt x="3882085" y="664908"/>
                </a:lnTo>
                <a:lnTo>
                  <a:pt x="3867696" y="624001"/>
                </a:lnTo>
                <a:lnTo>
                  <a:pt x="3845128" y="587933"/>
                </a:lnTo>
                <a:lnTo>
                  <a:pt x="3815524" y="557834"/>
                </a:lnTo>
                <a:lnTo>
                  <a:pt x="3780015" y="534898"/>
                </a:lnTo>
                <a:lnTo>
                  <a:pt x="3739769" y="520280"/>
                </a:lnTo>
                <a:lnTo>
                  <a:pt x="3695928" y="515150"/>
                </a:lnTo>
                <a:lnTo>
                  <a:pt x="3652101" y="520280"/>
                </a:lnTo>
                <a:lnTo>
                  <a:pt x="3611854" y="534898"/>
                </a:lnTo>
                <a:lnTo>
                  <a:pt x="3576345" y="557834"/>
                </a:lnTo>
                <a:lnTo>
                  <a:pt x="3546741" y="587933"/>
                </a:lnTo>
                <a:lnTo>
                  <a:pt x="3524173" y="624001"/>
                </a:lnTo>
                <a:lnTo>
                  <a:pt x="3509784" y="664908"/>
                </a:lnTo>
                <a:lnTo>
                  <a:pt x="3504730" y="709460"/>
                </a:lnTo>
                <a:lnTo>
                  <a:pt x="3509784" y="754011"/>
                </a:lnTo>
                <a:lnTo>
                  <a:pt x="3524173" y="794918"/>
                </a:lnTo>
                <a:lnTo>
                  <a:pt x="3546741" y="830986"/>
                </a:lnTo>
                <a:lnTo>
                  <a:pt x="3576345" y="861085"/>
                </a:lnTo>
                <a:lnTo>
                  <a:pt x="3611854" y="884021"/>
                </a:lnTo>
                <a:lnTo>
                  <a:pt x="3652101" y="898639"/>
                </a:lnTo>
                <a:lnTo>
                  <a:pt x="3695928" y="903770"/>
                </a:lnTo>
                <a:lnTo>
                  <a:pt x="3739769" y="898639"/>
                </a:lnTo>
                <a:lnTo>
                  <a:pt x="3780015" y="884021"/>
                </a:lnTo>
                <a:lnTo>
                  <a:pt x="3815524" y="861085"/>
                </a:lnTo>
                <a:lnTo>
                  <a:pt x="3845128" y="830986"/>
                </a:lnTo>
                <a:lnTo>
                  <a:pt x="3867696" y="794918"/>
                </a:lnTo>
                <a:lnTo>
                  <a:pt x="3882085" y="754011"/>
                </a:lnTo>
                <a:lnTo>
                  <a:pt x="3887127" y="709460"/>
                </a:lnTo>
                <a:close/>
              </a:path>
              <a:path w="4842509" h="4803140">
                <a:moveTo>
                  <a:pt x="4802949" y="2817431"/>
                </a:moveTo>
                <a:lnTo>
                  <a:pt x="4797895" y="2772880"/>
                </a:lnTo>
                <a:lnTo>
                  <a:pt x="4783518" y="2731973"/>
                </a:lnTo>
                <a:lnTo>
                  <a:pt x="4760950" y="2695892"/>
                </a:lnTo>
                <a:lnTo>
                  <a:pt x="4731334" y="2665806"/>
                </a:lnTo>
                <a:lnTo>
                  <a:pt x="4695837" y="2642870"/>
                </a:lnTo>
                <a:lnTo>
                  <a:pt x="4655591" y="2628252"/>
                </a:lnTo>
                <a:lnTo>
                  <a:pt x="4611751" y="2623121"/>
                </a:lnTo>
                <a:lnTo>
                  <a:pt x="4567910" y="2628252"/>
                </a:lnTo>
                <a:lnTo>
                  <a:pt x="4527664" y="2642870"/>
                </a:lnTo>
                <a:lnTo>
                  <a:pt x="4492168" y="2665806"/>
                </a:lnTo>
                <a:lnTo>
                  <a:pt x="4462551" y="2695892"/>
                </a:lnTo>
                <a:lnTo>
                  <a:pt x="4439983" y="2731973"/>
                </a:lnTo>
                <a:lnTo>
                  <a:pt x="4425607" y="2772880"/>
                </a:lnTo>
                <a:lnTo>
                  <a:pt x="4420552" y="2817431"/>
                </a:lnTo>
                <a:lnTo>
                  <a:pt x="4425607" y="2861983"/>
                </a:lnTo>
                <a:lnTo>
                  <a:pt x="4439983" y="2902877"/>
                </a:lnTo>
                <a:lnTo>
                  <a:pt x="4462551" y="2938957"/>
                </a:lnTo>
                <a:lnTo>
                  <a:pt x="4492168" y="2969056"/>
                </a:lnTo>
                <a:lnTo>
                  <a:pt x="4527664" y="2991993"/>
                </a:lnTo>
                <a:lnTo>
                  <a:pt x="4567910" y="3006610"/>
                </a:lnTo>
                <a:lnTo>
                  <a:pt x="4611751" y="3011741"/>
                </a:lnTo>
                <a:lnTo>
                  <a:pt x="4655591" y="3006610"/>
                </a:lnTo>
                <a:lnTo>
                  <a:pt x="4695837" y="2991993"/>
                </a:lnTo>
                <a:lnTo>
                  <a:pt x="4731334" y="2969056"/>
                </a:lnTo>
                <a:lnTo>
                  <a:pt x="4760950" y="2938957"/>
                </a:lnTo>
                <a:lnTo>
                  <a:pt x="4783518" y="2902877"/>
                </a:lnTo>
                <a:lnTo>
                  <a:pt x="4797895" y="2861983"/>
                </a:lnTo>
                <a:lnTo>
                  <a:pt x="4802949" y="2817431"/>
                </a:lnTo>
                <a:close/>
              </a:path>
              <a:path w="4842509" h="4803140">
                <a:moveTo>
                  <a:pt x="4841951" y="3202800"/>
                </a:moveTo>
                <a:lnTo>
                  <a:pt x="4773104" y="3204997"/>
                </a:lnTo>
                <a:lnTo>
                  <a:pt x="4732858" y="3219615"/>
                </a:lnTo>
                <a:lnTo>
                  <a:pt x="4697349" y="3242551"/>
                </a:lnTo>
                <a:lnTo>
                  <a:pt x="4667745" y="3272650"/>
                </a:lnTo>
                <a:lnTo>
                  <a:pt x="4645177" y="3308718"/>
                </a:lnTo>
                <a:lnTo>
                  <a:pt x="4630788" y="3349625"/>
                </a:lnTo>
                <a:lnTo>
                  <a:pt x="4625746" y="3394176"/>
                </a:lnTo>
                <a:lnTo>
                  <a:pt x="4630788" y="3438728"/>
                </a:lnTo>
                <a:lnTo>
                  <a:pt x="4645177" y="3479635"/>
                </a:lnTo>
                <a:lnTo>
                  <a:pt x="4667745" y="3515703"/>
                </a:lnTo>
                <a:lnTo>
                  <a:pt x="4697349" y="3545802"/>
                </a:lnTo>
                <a:lnTo>
                  <a:pt x="4732858" y="3568738"/>
                </a:lnTo>
                <a:lnTo>
                  <a:pt x="4773104" y="3583355"/>
                </a:lnTo>
                <a:lnTo>
                  <a:pt x="4816945" y="3588486"/>
                </a:lnTo>
                <a:lnTo>
                  <a:pt x="4841951" y="3585553"/>
                </a:lnTo>
                <a:lnTo>
                  <a:pt x="4841951" y="3202800"/>
                </a:lnTo>
                <a:close/>
              </a:path>
              <a:path w="4842509" h="4803140">
                <a:moveTo>
                  <a:pt x="4841951" y="1842350"/>
                </a:moveTo>
                <a:lnTo>
                  <a:pt x="4807712" y="1875828"/>
                </a:lnTo>
                <a:lnTo>
                  <a:pt x="4783315" y="1910905"/>
                </a:lnTo>
                <a:lnTo>
                  <a:pt x="4765014" y="1950059"/>
                </a:lnTo>
                <a:lnTo>
                  <a:pt x="4753534" y="1992579"/>
                </a:lnTo>
                <a:lnTo>
                  <a:pt x="4749546" y="2037765"/>
                </a:lnTo>
                <a:lnTo>
                  <a:pt x="4753534" y="2082939"/>
                </a:lnTo>
                <a:lnTo>
                  <a:pt x="4765014" y="2125459"/>
                </a:lnTo>
                <a:lnTo>
                  <a:pt x="4783315" y="2164626"/>
                </a:lnTo>
                <a:lnTo>
                  <a:pt x="4807712" y="2199703"/>
                </a:lnTo>
                <a:lnTo>
                  <a:pt x="4837519" y="2229993"/>
                </a:lnTo>
                <a:lnTo>
                  <a:pt x="4841951" y="2233180"/>
                </a:lnTo>
                <a:lnTo>
                  <a:pt x="4841951" y="1842350"/>
                </a:lnTo>
                <a:close/>
              </a:path>
              <a:path w="4842509" h="4803140">
                <a:moveTo>
                  <a:pt x="4841951" y="573493"/>
                </a:moveTo>
                <a:lnTo>
                  <a:pt x="4189387" y="573493"/>
                </a:lnTo>
                <a:lnTo>
                  <a:pt x="4140073" y="583450"/>
                </a:lnTo>
                <a:lnTo>
                  <a:pt x="4099814" y="610603"/>
                </a:lnTo>
                <a:lnTo>
                  <a:pt x="4072674" y="650875"/>
                </a:lnTo>
                <a:lnTo>
                  <a:pt x="4062730" y="700176"/>
                </a:lnTo>
                <a:lnTo>
                  <a:pt x="4072674" y="749490"/>
                </a:lnTo>
                <a:lnTo>
                  <a:pt x="4099814" y="789749"/>
                </a:lnTo>
                <a:lnTo>
                  <a:pt x="4140073" y="816902"/>
                </a:lnTo>
                <a:lnTo>
                  <a:pt x="4189387" y="826858"/>
                </a:lnTo>
                <a:lnTo>
                  <a:pt x="4767542" y="826858"/>
                </a:lnTo>
                <a:lnTo>
                  <a:pt x="4736668" y="864552"/>
                </a:lnTo>
                <a:lnTo>
                  <a:pt x="4705045" y="902195"/>
                </a:lnTo>
                <a:lnTo>
                  <a:pt x="4672723" y="939787"/>
                </a:lnTo>
                <a:lnTo>
                  <a:pt x="4639742" y="977303"/>
                </a:lnTo>
                <a:lnTo>
                  <a:pt x="4606137" y="1014742"/>
                </a:lnTo>
                <a:lnTo>
                  <a:pt x="4571949" y="1052106"/>
                </a:lnTo>
                <a:lnTo>
                  <a:pt x="4537214" y="1089380"/>
                </a:lnTo>
                <a:lnTo>
                  <a:pt x="4501985" y="1126578"/>
                </a:lnTo>
                <a:lnTo>
                  <a:pt x="4466285" y="1163675"/>
                </a:lnTo>
                <a:lnTo>
                  <a:pt x="4430166" y="1200658"/>
                </a:lnTo>
                <a:lnTo>
                  <a:pt x="4393654" y="1237538"/>
                </a:lnTo>
                <a:lnTo>
                  <a:pt x="4356811" y="1274305"/>
                </a:lnTo>
                <a:lnTo>
                  <a:pt x="4319663" y="1310957"/>
                </a:lnTo>
                <a:lnTo>
                  <a:pt x="4282249" y="1347470"/>
                </a:lnTo>
                <a:lnTo>
                  <a:pt x="4206786" y="1420114"/>
                </a:lnTo>
                <a:lnTo>
                  <a:pt x="4092625" y="1527962"/>
                </a:lnTo>
                <a:lnTo>
                  <a:pt x="3735552" y="1858314"/>
                </a:lnTo>
                <a:lnTo>
                  <a:pt x="3567468" y="2015528"/>
                </a:lnTo>
                <a:lnTo>
                  <a:pt x="3485985" y="2093442"/>
                </a:lnTo>
                <a:lnTo>
                  <a:pt x="3446056" y="2132241"/>
                </a:lnTo>
                <a:lnTo>
                  <a:pt x="3406711" y="2170925"/>
                </a:lnTo>
                <a:lnTo>
                  <a:pt x="3368014" y="2209508"/>
                </a:lnTo>
                <a:lnTo>
                  <a:pt x="3330003" y="2247989"/>
                </a:lnTo>
                <a:lnTo>
                  <a:pt x="3292716" y="2286381"/>
                </a:lnTo>
                <a:lnTo>
                  <a:pt x="3256216" y="2324658"/>
                </a:lnTo>
                <a:lnTo>
                  <a:pt x="3220529" y="2362860"/>
                </a:lnTo>
                <a:lnTo>
                  <a:pt x="3185718" y="2400960"/>
                </a:lnTo>
                <a:lnTo>
                  <a:pt x="3151809" y="2438971"/>
                </a:lnTo>
                <a:lnTo>
                  <a:pt x="3118866" y="2476893"/>
                </a:lnTo>
                <a:lnTo>
                  <a:pt x="3086925" y="2514727"/>
                </a:lnTo>
                <a:lnTo>
                  <a:pt x="3056039" y="2552484"/>
                </a:lnTo>
                <a:lnTo>
                  <a:pt x="3026245" y="2590165"/>
                </a:lnTo>
                <a:lnTo>
                  <a:pt x="2997581" y="2627757"/>
                </a:lnTo>
                <a:lnTo>
                  <a:pt x="2970111" y="2665285"/>
                </a:lnTo>
                <a:lnTo>
                  <a:pt x="2943860" y="2702737"/>
                </a:lnTo>
                <a:lnTo>
                  <a:pt x="2918904" y="2740126"/>
                </a:lnTo>
                <a:lnTo>
                  <a:pt x="2895257" y="2777439"/>
                </a:lnTo>
                <a:lnTo>
                  <a:pt x="2872981" y="2814688"/>
                </a:lnTo>
                <a:lnTo>
                  <a:pt x="2852102" y="2851874"/>
                </a:lnTo>
                <a:lnTo>
                  <a:pt x="2832697" y="2888996"/>
                </a:lnTo>
                <a:lnTo>
                  <a:pt x="2814790" y="2926054"/>
                </a:lnTo>
                <a:lnTo>
                  <a:pt x="2798432" y="2963075"/>
                </a:lnTo>
                <a:lnTo>
                  <a:pt x="2783662" y="3000032"/>
                </a:lnTo>
                <a:lnTo>
                  <a:pt x="2770543" y="3036938"/>
                </a:lnTo>
                <a:lnTo>
                  <a:pt x="2749334" y="3105696"/>
                </a:lnTo>
                <a:lnTo>
                  <a:pt x="2731732" y="3173577"/>
                </a:lnTo>
                <a:lnTo>
                  <a:pt x="2717584" y="3240532"/>
                </a:lnTo>
                <a:lnTo>
                  <a:pt x="2706751" y="3306546"/>
                </a:lnTo>
                <a:lnTo>
                  <a:pt x="2699054" y="3371558"/>
                </a:lnTo>
                <a:lnTo>
                  <a:pt x="2694368" y="3435553"/>
                </a:lnTo>
                <a:lnTo>
                  <a:pt x="2692539" y="3498481"/>
                </a:lnTo>
                <a:lnTo>
                  <a:pt x="2693416" y="3560318"/>
                </a:lnTo>
                <a:lnTo>
                  <a:pt x="2696845" y="3621024"/>
                </a:lnTo>
                <a:lnTo>
                  <a:pt x="2702687" y="3680549"/>
                </a:lnTo>
                <a:lnTo>
                  <a:pt x="2710777" y="3738880"/>
                </a:lnTo>
                <a:lnTo>
                  <a:pt x="2720975" y="3795979"/>
                </a:lnTo>
                <a:lnTo>
                  <a:pt x="2733116" y="3851795"/>
                </a:lnTo>
                <a:lnTo>
                  <a:pt x="2747073" y="3906291"/>
                </a:lnTo>
                <a:lnTo>
                  <a:pt x="2762681" y="3959453"/>
                </a:lnTo>
                <a:lnTo>
                  <a:pt x="2779801" y="4011231"/>
                </a:lnTo>
                <a:lnTo>
                  <a:pt x="2798267" y="4061587"/>
                </a:lnTo>
                <a:lnTo>
                  <a:pt x="2817952" y="4110494"/>
                </a:lnTo>
                <a:lnTo>
                  <a:pt x="2838678" y="4157903"/>
                </a:lnTo>
                <a:lnTo>
                  <a:pt x="2860319" y="4203801"/>
                </a:lnTo>
                <a:lnTo>
                  <a:pt x="2882709" y="4248137"/>
                </a:lnTo>
                <a:lnTo>
                  <a:pt x="2905709" y="4290860"/>
                </a:lnTo>
                <a:lnTo>
                  <a:pt x="2929166" y="4331970"/>
                </a:lnTo>
                <a:lnTo>
                  <a:pt x="2952927" y="4371403"/>
                </a:lnTo>
                <a:lnTo>
                  <a:pt x="2976854" y="4409135"/>
                </a:lnTo>
                <a:lnTo>
                  <a:pt x="3000768" y="4445127"/>
                </a:lnTo>
                <a:lnTo>
                  <a:pt x="3024555" y="4479353"/>
                </a:lnTo>
                <a:lnTo>
                  <a:pt x="3048038" y="4511764"/>
                </a:lnTo>
                <a:lnTo>
                  <a:pt x="3071076" y="4542320"/>
                </a:lnTo>
                <a:lnTo>
                  <a:pt x="3115233" y="4597768"/>
                </a:lnTo>
                <a:lnTo>
                  <a:pt x="3155810" y="4645406"/>
                </a:lnTo>
                <a:lnTo>
                  <a:pt x="3191624" y="4684941"/>
                </a:lnTo>
                <a:lnTo>
                  <a:pt x="3221456" y="4716094"/>
                </a:lnTo>
                <a:lnTo>
                  <a:pt x="3252393" y="4746498"/>
                </a:lnTo>
                <a:lnTo>
                  <a:pt x="3289871" y="4776190"/>
                </a:lnTo>
                <a:lnTo>
                  <a:pt x="3352101" y="4799800"/>
                </a:lnTo>
                <a:lnTo>
                  <a:pt x="3384816" y="4802733"/>
                </a:lnTo>
                <a:lnTo>
                  <a:pt x="3422065" y="4798923"/>
                </a:lnTo>
                <a:lnTo>
                  <a:pt x="3491369" y="4768710"/>
                </a:lnTo>
                <a:lnTo>
                  <a:pt x="3520922" y="4742446"/>
                </a:lnTo>
                <a:lnTo>
                  <a:pt x="3548837" y="4701959"/>
                </a:lnTo>
                <a:lnTo>
                  <a:pt x="3564598" y="4657090"/>
                </a:lnTo>
                <a:lnTo>
                  <a:pt x="3568331" y="4610303"/>
                </a:lnTo>
                <a:lnTo>
                  <a:pt x="3560165" y="4564062"/>
                </a:lnTo>
                <a:lnTo>
                  <a:pt x="3540239" y="4520857"/>
                </a:lnTo>
                <a:lnTo>
                  <a:pt x="3508654" y="4483138"/>
                </a:lnTo>
                <a:lnTo>
                  <a:pt x="3500399" y="4475378"/>
                </a:lnTo>
                <a:lnTo>
                  <a:pt x="3484295" y="4459541"/>
                </a:lnTo>
                <a:lnTo>
                  <a:pt x="3433026" y="4404792"/>
                </a:lnTo>
                <a:lnTo>
                  <a:pt x="3400107" y="4366463"/>
                </a:lnTo>
                <a:lnTo>
                  <a:pt x="3363798" y="4321213"/>
                </a:lnTo>
                <a:lnTo>
                  <a:pt x="3325253" y="4269359"/>
                </a:lnTo>
                <a:lnTo>
                  <a:pt x="3285566" y="4211167"/>
                </a:lnTo>
                <a:lnTo>
                  <a:pt x="3245878" y="4146956"/>
                </a:lnTo>
                <a:lnTo>
                  <a:pt x="3207283" y="4077004"/>
                </a:lnTo>
                <a:lnTo>
                  <a:pt x="3803065" y="4077004"/>
                </a:lnTo>
                <a:lnTo>
                  <a:pt x="3852380" y="4067048"/>
                </a:lnTo>
                <a:lnTo>
                  <a:pt x="3892639" y="4039895"/>
                </a:lnTo>
                <a:lnTo>
                  <a:pt x="3919766" y="3999623"/>
                </a:lnTo>
                <a:lnTo>
                  <a:pt x="3929723" y="3950322"/>
                </a:lnTo>
                <a:lnTo>
                  <a:pt x="3919766" y="3901008"/>
                </a:lnTo>
                <a:lnTo>
                  <a:pt x="3892639" y="3860736"/>
                </a:lnTo>
                <a:lnTo>
                  <a:pt x="3852380" y="3833596"/>
                </a:lnTo>
                <a:lnTo>
                  <a:pt x="3803065" y="3823639"/>
                </a:lnTo>
                <a:lnTo>
                  <a:pt x="3106051" y="3823639"/>
                </a:lnTo>
                <a:lnTo>
                  <a:pt x="3093821" y="3777284"/>
                </a:lnTo>
                <a:lnTo>
                  <a:pt x="3083318" y="3729761"/>
                </a:lnTo>
                <a:lnTo>
                  <a:pt x="3074657" y="3681095"/>
                </a:lnTo>
                <a:lnTo>
                  <a:pt x="3068002" y="3631336"/>
                </a:lnTo>
                <a:lnTo>
                  <a:pt x="3063494" y="3580523"/>
                </a:lnTo>
                <a:lnTo>
                  <a:pt x="3061284" y="3528695"/>
                </a:lnTo>
                <a:lnTo>
                  <a:pt x="4186415" y="3528695"/>
                </a:lnTo>
                <a:lnTo>
                  <a:pt x="4235729" y="3518738"/>
                </a:lnTo>
                <a:lnTo>
                  <a:pt x="4275988" y="3491585"/>
                </a:lnTo>
                <a:lnTo>
                  <a:pt x="4303128" y="3451326"/>
                </a:lnTo>
                <a:lnTo>
                  <a:pt x="4313072" y="3402012"/>
                </a:lnTo>
                <a:lnTo>
                  <a:pt x="4303128" y="3352711"/>
                </a:lnTo>
                <a:lnTo>
                  <a:pt x="4275988" y="3312439"/>
                </a:lnTo>
                <a:lnTo>
                  <a:pt x="4235729" y="3285286"/>
                </a:lnTo>
                <a:lnTo>
                  <a:pt x="4186415" y="3275330"/>
                </a:lnTo>
                <a:lnTo>
                  <a:pt x="3085935" y="3275330"/>
                </a:lnTo>
                <a:lnTo>
                  <a:pt x="3092831" y="3245078"/>
                </a:lnTo>
                <a:lnTo>
                  <a:pt x="3109315" y="3183979"/>
                </a:lnTo>
                <a:lnTo>
                  <a:pt x="3133902" y="3113087"/>
                </a:lnTo>
                <a:lnTo>
                  <a:pt x="3151809" y="3072396"/>
                </a:lnTo>
                <a:lnTo>
                  <a:pt x="3172637" y="3031083"/>
                </a:lnTo>
                <a:lnTo>
                  <a:pt x="3196209" y="2989161"/>
                </a:lnTo>
                <a:lnTo>
                  <a:pt x="3222371" y="2946666"/>
                </a:lnTo>
                <a:lnTo>
                  <a:pt x="3222929" y="2946666"/>
                </a:lnTo>
                <a:lnTo>
                  <a:pt x="3223450" y="2946831"/>
                </a:lnTo>
                <a:lnTo>
                  <a:pt x="4085818" y="2946831"/>
                </a:lnTo>
                <a:lnTo>
                  <a:pt x="4086631" y="2946666"/>
                </a:lnTo>
                <a:lnTo>
                  <a:pt x="4135132" y="2936875"/>
                </a:lnTo>
                <a:lnTo>
                  <a:pt x="4175391" y="2909722"/>
                </a:lnTo>
                <a:lnTo>
                  <a:pt x="4202519" y="2869450"/>
                </a:lnTo>
                <a:lnTo>
                  <a:pt x="4212475" y="2820149"/>
                </a:lnTo>
                <a:lnTo>
                  <a:pt x="4202519" y="2770835"/>
                </a:lnTo>
                <a:lnTo>
                  <a:pt x="4175391" y="2730563"/>
                </a:lnTo>
                <a:lnTo>
                  <a:pt x="4135132" y="2703423"/>
                </a:lnTo>
                <a:lnTo>
                  <a:pt x="4085818" y="2693466"/>
                </a:lnTo>
                <a:lnTo>
                  <a:pt x="3416541" y="2693466"/>
                </a:lnTo>
                <a:lnTo>
                  <a:pt x="3446754" y="2659380"/>
                </a:lnTo>
                <a:lnTo>
                  <a:pt x="3477958" y="2625026"/>
                </a:lnTo>
                <a:lnTo>
                  <a:pt x="3510102" y="2590444"/>
                </a:lnTo>
                <a:lnTo>
                  <a:pt x="3543135" y="2555608"/>
                </a:lnTo>
                <a:lnTo>
                  <a:pt x="3577018" y="2520543"/>
                </a:lnTo>
                <a:lnTo>
                  <a:pt x="3611702" y="2485263"/>
                </a:lnTo>
                <a:lnTo>
                  <a:pt x="3647122" y="2449753"/>
                </a:lnTo>
                <a:lnTo>
                  <a:pt x="3683254" y="2414041"/>
                </a:lnTo>
                <a:lnTo>
                  <a:pt x="3720046" y="2378125"/>
                </a:lnTo>
                <a:lnTo>
                  <a:pt x="3795395" y="2305697"/>
                </a:lnTo>
                <a:lnTo>
                  <a:pt x="3912184" y="2195715"/>
                </a:lnTo>
                <a:lnTo>
                  <a:pt x="4351325" y="1789176"/>
                </a:lnTo>
                <a:lnTo>
                  <a:pt x="4468863" y="1678254"/>
                </a:lnTo>
                <a:lnTo>
                  <a:pt x="4546206" y="1603908"/>
                </a:lnTo>
                <a:lnTo>
                  <a:pt x="4584484" y="1566621"/>
                </a:lnTo>
                <a:lnTo>
                  <a:pt x="4622444" y="1529245"/>
                </a:lnTo>
                <a:lnTo>
                  <a:pt x="4660087" y="1491767"/>
                </a:lnTo>
                <a:lnTo>
                  <a:pt x="4697361" y="1454213"/>
                </a:lnTo>
                <a:lnTo>
                  <a:pt x="4734242" y="1416545"/>
                </a:lnTo>
                <a:lnTo>
                  <a:pt x="4770691" y="1378788"/>
                </a:lnTo>
                <a:lnTo>
                  <a:pt x="4806696" y="1340929"/>
                </a:lnTo>
                <a:lnTo>
                  <a:pt x="4841951" y="1303248"/>
                </a:lnTo>
                <a:lnTo>
                  <a:pt x="4841951" y="573493"/>
                </a:lnTo>
                <a:close/>
              </a:path>
              <a:path w="4842509" h="4803140">
                <a:moveTo>
                  <a:pt x="4841951" y="12"/>
                </a:moveTo>
                <a:lnTo>
                  <a:pt x="4128516" y="12"/>
                </a:lnTo>
                <a:lnTo>
                  <a:pt x="4084472" y="8902"/>
                </a:lnTo>
                <a:lnTo>
                  <a:pt x="4044213" y="36055"/>
                </a:lnTo>
                <a:lnTo>
                  <a:pt x="4017073" y="76327"/>
                </a:lnTo>
                <a:lnTo>
                  <a:pt x="4007129" y="125628"/>
                </a:lnTo>
                <a:lnTo>
                  <a:pt x="4017073" y="174942"/>
                </a:lnTo>
                <a:lnTo>
                  <a:pt x="4044213" y="215214"/>
                </a:lnTo>
                <a:lnTo>
                  <a:pt x="4084472" y="242366"/>
                </a:lnTo>
                <a:lnTo>
                  <a:pt x="4133786" y="252323"/>
                </a:lnTo>
                <a:lnTo>
                  <a:pt x="4841951" y="252323"/>
                </a:lnTo>
                <a:lnTo>
                  <a:pt x="4841951" y="12"/>
                </a:lnTo>
                <a:close/>
              </a:path>
            </a:pathLst>
          </a:custGeom>
          <a:solidFill>
            <a:srgbClr val="9D62E2"/>
          </a:solidFill>
        </p:spPr>
        <p:txBody>
          <a:bodyPr wrap="square" lIns="0" tIns="0" rIns="0" bIns="0" rtlCol="0"/>
          <a:lstStyle/>
          <a:p>
            <a:endParaRPr/>
          </a:p>
        </p:txBody>
      </p:sp>
    </p:spTree>
    <p:extLst>
      <p:ext uri="{BB962C8B-B14F-4D97-AF65-F5344CB8AC3E}">
        <p14:creationId xmlns:p14="http://schemas.microsoft.com/office/powerpoint/2010/main" val="23581551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 Green">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2D00DCAC-C40F-C3B9-F022-BCEE66A66A0B}"/>
              </a:ext>
            </a:extLst>
          </p:cNvPr>
          <p:cNvSpPr/>
          <p:nvPr userDrawn="1"/>
        </p:nvSpPr>
        <p:spPr>
          <a:xfrm>
            <a:off x="0" y="-4957"/>
            <a:ext cx="12197847" cy="6908925"/>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chemeClr val="accent1"/>
          </a:solidFill>
        </p:spPr>
        <p:txBody>
          <a:bodyPr wrap="square" lIns="0" tIns="0" rIns="0" bIns="0" rtlCol="0"/>
          <a:lstStyle/>
          <a:p>
            <a:endParaRPr sz="2000"/>
          </a:p>
        </p:txBody>
      </p:sp>
      <p:sp>
        <p:nvSpPr>
          <p:cNvPr id="3" name="Text Placeholder 2">
            <a:extLst>
              <a:ext uri="{FF2B5EF4-FFF2-40B4-BE49-F238E27FC236}">
                <a16:creationId xmlns:a16="http://schemas.microsoft.com/office/drawing/2014/main" id="{5ADC4885-E653-9F9B-1C72-2AA34FCB44D8}"/>
              </a:ext>
            </a:extLst>
          </p:cNvPr>
          <p:cNvSpPr>
            <a:spLocks noGrp="1"/>
          </p:cNvSpPr>
          <p:nvPr userDrawn="1">
            <p:ph type="body" idx="1"/>
          </p:nvPr>
        </p:nvSpPr>
        <p:spPr>
          <a:xfrm>
            <a:off x="735724" y="809298"/>
            <a:ext cx="4351283" cy="3364383"/>
          </a:xfrm>
          <a:prstGeom prst="rect">
            <a:avLst/>
          </a:prstGeom>
        </p:spPr>
        <p:txBody>
          <a:bodyPr>
            <a:normAutofit/>
          </a:bodyPr>
          <a:lstStyle>
            <a:lvl1pPr marL="0" indent="0" algn="l">
              <a:buNone/>
              <a:defRPr sz="3200">
                <a:solidFill>
                  <a:schemeClr val="bg1"/>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grpSp>
        <p:nvGrpSpPr>
          <p:cNvPr id="5" name="Group 4">
            <a:extLst>
              <a:ext uri="{FF2B5EF4-FFF2-40B4-BE49-F238E27FC236}">
                <a16:creationId xmlns:a16="http://schemas.microsoft.com/office/drawing/2014/main" id="{94FC349D-7459-4846-947D-CBE48ADB0FFC}"/>
              </a:ext>
            </a:extLst>
          </p:cNvPr>
          <p:cNvGrpSpPr/>
          <p:nvPr userDrawn="1"/>
        </p:nvGrpSpPr>
        <p:grpSpPr>
          <a:xfrm>
            <a:off x="9597" y="4222076"/>
            <a:ext cx="5495304" cy="2633814"/>
            <a:chOff x="9597" y="4222076"/>
            <a:chExt cx="5495304" cy="2633814"/>
          </a:xfrm>
        </p:grpSpPr>
        <p:sp>
          <p:nvSpPr>
            <p:cNvPr id="6" name="object 4">
              <a:extLst>
                <a:ext uri="{FF2B5EF4-FFF2-40B4-BE49-F238E27FC236}">
                  <a16:creationId xmlns:a16="http://schemas.microsoft.com/office/drawing/2014/main" id="{A1C7CB09-C480-93D4-4E86-80749DC8482D}"/>
                </a:ext>
              </a:extLst>
            </p:cNvPr>
            <p:cNvSpPr/>
            <p:nvPr/>
          </p:nvSpPr>
          <p:spPr>
            <a:xfrm>
              <a:off x="440952" y="4364568"/>
              <a:ext cx="456048" cy="456048"/>
            </a:xfrm>
            <a:custGeom>
              <a:avLst/>
              <a:gdLst/>
              <a:ahLst/>
              <a:cxnLst/>
              <a:rect l="l" t="t" r="r" b="b"/>
              <a:pathLst>
                <a:path w="502919" h="502920">
                  <a:moveTo>
                    <a:pt x="251434" y="0"/>
                  </a:moveTo>
                  <a:lnTo>
                    <a:pt x="206239" y="4051"/>
                  </a:lnTo>
                  <a:lnTo>
                    <a:pt x="163701" y="15730"/>
                  </a:lnTo>
                  <a:lnTo>
                    <a:pt x="124531" y="34328"/>
                  </a:lnTo>
                  <a:lnTo>
                    <a:pt x="89439" y="59134"/>
                  </a:lnTo>
                  <a:lnTo>
                    <a:pt x="59134" y="89439"/>
                  </a:lnTo>
                  <a:lnTo>
                    <a:pt x="34328" y="124531"/>
                  </a:lnTo>
                  <a:lnTo>
                    <a:pt x="15730" y="163701"/>
                  </a:lnTo>
                  <a:lnTo>
                    <a:pt x="4051" y="206239"/>
                  </a:lnTo>
                  <a:lnTo>
                    <a:pt x="0" y="251434"/>
                  </a:lnTo>
                  <a:lnTo>
                    <a:pt x="4051" y="296626"/>
                  </a:lnTo>
                  <a:lnTo>
                    <a:pt x="15730" y="339160"/>
                  </a:lnTo>
                  <a:lnTo>
                    <a:pt x="34328" y="378328"/>
                  </a:lnTo>
                  <a:lnTo>
                    <a:pt x="59134" y="413419"/>
                  </a:lnTo>
                  <a:lnTo>
                    <a:pt x="89439" y="443722"/>
                  </a:lnTo>
                  <a:lnTo>
                    <a:pt x="124531" y="468528"/>
                  </a:lnTo>
                  <a:lnTo>
                    <a:pt x="163701" y="487126"/>
                  </a:lnTo>
                  <a:lnTo>
                    <a:pt x="206239" y="498805"/>
                  </a:lnTo>
                  <a:lnTo>
                    <a:pt x="251434" y="502856"/>
                  </a:lnTo>
                  <a:lnTo>
                    <a:pt x="296629" y="498805"/>
                  </a:lnTo>
                  <a:lnTo>
                    <a:pt x="339167" y="487126"/>
                  </a:lnTo>
                  <a:lnTo>
                    <a:pt x="378337" y="468528"/>
                  </a:lnTo>
                  <a:lnTo>
                    <a:pt x="413430" y="443722"/>
                  </a:lnTo>
                  <a:lnTo>
                    <a:pt x="443734" y="413419"/>
                  </a:lnTo>
                  <a:lnTo>
                    <a:pt x="468540" y="378328"/>
                  </a:lnTo>
                  <a:lnTo>
                    <a:pt x="487138" y="339160"/>
                  </a:lnTo>
                  <a:lnTo>
                    <a:pt x="498818" y="296626"/>
                  </a:lnTo>
                  <a:lnTo>
                    <a:pt x="502869" y="251434"/>
                  </a:lnTo>
                  <a:lnTo>
                    <a:pt x="498818" y="206239"/>
                  </a:lnTo>
                  <a:lnTo>
                    <a:pt x="487138" y="163701"/>
                  </a:lnTo>
                  <a:lnTo>
                    <a:pt x="468540" y="124531"/>
                  </a:lnTo>
                  <a:lnTo>
                    <a:pt x="443734" y="89439"/>
                  </a:lnTo>
                  <a:lnTo>
                    <a:pt x="413430" y="59134"/>
                  </a:lnTo>
                  <a:lnTo>
                    <a:pt x="378337" y="34328"/>
                  </a:lnTo>
                  <a:lnTo>
                    <a:pt x="339167" y="15730"/>
                  </a:lnTo>
                  <a:lnTo>
                    <a:pt x="296629" y="4051"/>
                  </a:lnTo>
                  <a:lnTo>
                    <a:pt x="251434" y="0"/>
                  </a:lnTo>
                  <a:close/>
                </a:path>
              </a:pathLst>
            </a:custGeom>
            <a:solidFill>
              <a:srgbClr val="0E5C77">
                <a:alpha val="23999"/>
              </a:srgbClr>
            </a:solidFill>
          </p:spPr>
          <p:txBody>
            <a:bodyPr wrap="square" lIns="0" tIns="0" rIns="0" bIns="0" rtlCol="0"/>
            <a:lstStyle/>
            <a:p>
              <a:endParaRPr/>
            </a:p>
          </p:txBody>
        </p:sp>
        <p:sp>
          <p:nvSpPr>
            <p:cNvPr id="7" name="object 5">
              <a:extLst>
                <a:ext uri="{FF2B5EF4-FFF2-40B4-BE49-F238E27FC236}">
                  <a16:creationId xmlns:a16="http://schemas.microsoft.com/office/drawing/2014/main" id="{3500E5BE-1EAF-781E-4732-256336562279}"/>
                </a:ext>
              </a:extLst>
            </p:cNvPr>
            <p:cNvSpPr/>
            <p:nvPr/>
          </p:nvSpPr>
          <p:spPr>
            <a:xfrm>
              <a:off x="1338685" y="5086553"/>
              <a:ext cx="456048" cy="456048"/>
            </a:xfrm>
            <a:custGeom>
              <a:avLst/>
              <a:gdLst/>
              <a:ahLst/>
              <a:cxnLst/>
              <a:rect l="l" t="t" r="r" b="b"/>
              <a:pathLst>
                <a:path w="502919" h="502920">
                  <a:moveTo>
                    <a:pt x="251434" y="0"/>
                  </a:moveTo>
                  <a:lnTo>
                    <a:pt x="206239" y="4051"/>
                  </a:lnTo>
                  <a:lnTo>
                    <a:pt x="163701" y="15730"/>
                  </a:lnTo>
                  <a:lnTo>
                    <a:pt x="124531" y="34328"/>
                  </a:lnTo>
                  <a:lnTo>
                    <a:pt x="89439" y="59134"/>
                  </a:lnTo>
                  <a:lnTo>
                    <a:pt x="59134" y="89439"/>
                  </a:lnTo>
                  <a:lnTo>
                    <a:pt x="34328" y="124531"/>
                  </a:lnTo>
                  <a:lnTo>
                    <a:pt x="15730" y="163701"/>
                  </a:lnTo>
                  <a:lnTo>
                    <a:pt x="4051" y="206239"/>
                  </a:lnTo>
                  <a:lnTo>
                    <a:pt x="0" y="251434"/>
                  </a:lnTo>
                  <a:lnTo>
                    <a:pt x="4051" y="296626"/>
                  </a:lnTo>
                  <a:lnTo>
                    <a:pt x="15730" y="339160"/>
                  </a:lnTo>
                  <a:lnTo>
                    <a:pt x="34328" y="378328"/>
                  </a:lnTo>
                  <a:lnTo>
                    <a:pt x="59134" y="413419"/>
                  </a:lnTo>
                  <a:lnTo>
                    <a:pt x="89439" y="443722"/>
                  </a:lnTo>
                  <a:lnTo>
                    <a:pt x="124531" y="468528"/>
                  </a:lnTo>
                  <a:lnTo>
                    <a:pt x="163701" y="487126"/>
                  </a:lnTo>
                  <a:lnTo>
                    <a:pt x="206239" y="498805"/>
                  </a:lnTo>
                  <a:lnTo>
                    <a:pt x="251434" y="502856"/>
                  </a:lnTo>
                  <a:lnTo>
                    <a:pt x="296629" y="498805"/>
                  </a:lnTo>
                  <a:lnTo>
                    <a:pt x="339167" y="487126"/>
                  </a:lnTo>
                  <a:lnTo>
                    <a:pt x="378337" y="468528"/>
                  </a:lnTo>
                  <a:lnTo>
                    <a:pt x="413430" y="443722"/>
                  </a:lnTo>
                  <a:lnTo>
                    <a:pt x="443734" y="413419"/>
                  </a:lnTo>
                  <a:lnTo>
                    <a:pt x="468540" y="378328"/>
                  </a:lnTo>
                  <a:lnTo>
                    <a:pt x="487138" y="339160"/>
                  </a:lnTo>
                  <a:lnTo>
                    <a:pt x="498818" y="296626"/>
                  </a:lnTo>
                  <a:lnTo>
                    <a:pt x="502869" y="251434"/>
                  </a:lnTo>
                  <a:lnTo>
                    <a:pt x="498818" y="206239"/>
                  </a:lnTo>
                  <a:lnTo>
                    <a:pt x="487138" y="163701"/>
                  </a:lnTo>
                  <a:lnTo>
                    <a:pt x="468540" y="124531"/>
                  </a:lnTo>
                  <a:lnTo>
                    <a:pt x="443734" y="89439"/>
                  </a:lnTo>
                  <a:lnTo>
                    <a:pt x="413430" y="59134"/>
                  </a:lnTo>
                  <a:lnTo>
                    <a:pt x="378337" y="34328"/>
                  </a:lnTo>
                  <a:lnTo>
                    <a:pt x="339167" y="15730"/>
                  </a:lnTo>
                  <a:lnTo>
                    <a:pt x="296629" y="4051"/>
                  </a:lnTo>
                  <a:lnTo>
                    <a:pt x="251434" y="0"/>
                  </a:lnTo>
                  <a:close/>
                </a:path>
              </a:pathLst>
            </a:custGeom>
            <a:solidFill>
              <a:srgbClr val="0E5C77">
                <a:alpha val="23999"/>
              </a:srgbClr>
            </a:solidFill>
          </p:spPr>
          <p:txBody>
            <a:bodyPr wrap="square" lIns="0" tIns="0" rIns="0" bIns="0" rtlCol="0"/>
            <a:lstStyle/>
            <a:p>
              <a:endParaRPr/>
            </a:p>
          </p:txBody>
        </p:sp>
        <p:sp>
          <p:nvSpPr>
            <p:cNvPr id="15" name="object 6">
              <a:extLst>
                <a:ext uri="{FF2B5EF4-FFF2-40B4-BE49-F238E27FC236}">
                  <a16:creationId xmlns:a16="http://schemas.microsoft.com/office/drawing/2014/main" id="{704A627A-3432-816F-D27C-B13AF7896B4A}"/>
                </a:ext>
              </a:extLst>
            </p:cNvPr>
            <p:cNvSpPr/>
            <p:nvPr/>
          </p:nvSpPr>
          <p:spPr>
            <a:xfrm>
              <a:off x="2992604" y="4222076"/>
              <a:ext cx="2512297" cy="2223236"/>
            </a:xfrm>
            <a:custGeom>
              <a:avLst/>
              <a:gdLst/>
              <a:ahLst/>
              <a:cxnLst/>
              <a:rect l="l" t="t" r="r" b="b"/>
              <a:pathLst>
                <a:path w="2770504" h="2451734">
                  <a:moveTo>
                    <a:pt x="2293239" y="1146619"/>
                  </a:moveTo>
                  <a:lnTo>
                    <a:pt x="2292235" y="1098156"/>
                  </a:lnTo>
                  <a:lnTo>
                    <a:pt x="2289238" y="1050201"/>
                  </a:lnTo>
                  <a:lnTo>
                    <a:pt x="2284298" y="1002792"/>
                  </a:lnTo>
                  <a:lnTo>
                    <a:pt x="2277465" y="955979"/>
                  </a:lnTo>
                  <a:lnTo>
                    <a:pt x="2268753" y="909802"/>
                  </a:lnTo>
                  <a:lnTo>
                    <a:pt x="2258212" y="864298"/>
                  </a:lnTo>
                  <a:lnTo>
                    <a:pt x="2245893" y="819492"/>
                  </a:lnTo>
                  <a:lnTo>
                    <a:pt x="2231834" y="775449"/>
                  </a:lnTo>
                  <a:lnTo>
                    <a:pt x="2216061" y="732205"/>
                  </a:lnTo>
                  <a:lnTo>
                    <a:pt x="2198611" y="689775"/>
                  </a:lnTo>
                  <a:lnTo>
                    <a:pt x="2179548" y="648233"/>
                  </a:lnTo>
                  <a:lnTo>
                    <a:pt x="2158885" y="607593"/>
                  </a:lnTo>
                  <a:lnTo>
                    <a:pt x="2136686" y="567905"/>
                  </a:lnTo>
                  <a:lnTo>
                    <a:pt x="2112975" y="529196"/>
                  </a:lnTo>
                  <a:lnTo>
                    <a:pt x="2087803" y="491528"/>
                  </a:lnTo>
                  <a:lnTo>
                    <a:pt x="2061197" y="454939"/>
                  </a:lnTo>
                  <a:lnTo>
                    <a:pt x="2033193" y="419442"/>
                  </a:lnTo>
                  <a:lnTo>
                    <a:pt x="2003856" y="385102"/>
                  </a:lnTo>
                  <a:lnTo>
                    <a:pt x="1973199" y="351955"/>
                  </a:lnTo>
                  <a:lnTo>
                    <a:pt x="1941283" y="320040"/>
                  </a:lnTo>
                  <a:lnTo>
                    <a:pt x="1908136" y="289382"/>
                  </a:lnTo>
                  <a:lnTo>
                    <a:pt x="1873796" y="260045"/>
                  </a:lnTo>
                  <a:lnTo>
                    <a:pt x="1838299" y="232041"/>
                  </a:lnTo>
                  <a:lnTo>
                    <a:pt x="1801710" y="205435"/>
                  </a:lnTo>
                  <a:lnTo>
                    <a:pt x="1764042" y="180263"/>
                  </a:lnTo>
                  <a:lnTo>
                    <a:pt x="1725333" y="156552"/>
                  </a:lnTo>
                  <a:lnTo>
                    <a:pt x="1685645" y="134353"/>
                  </a:lnTo>
                  <a:lnTo>
                    <a:pt x="1645005" y="113690"/>
                  </a:lnTo>
                  <a:lnTo>
                    <a:pt x="1603463" y="94627"/>
                  </a:lnTo>
                  <a:lnTo>
                    <a:pt x="1561033" y="77177"/>
                  </a:lnTo>
                  <a:lnTo>
                    <a:pt x="1517789" y="61404"/>
                  </a:lnTo>
                  <a:lnTo>
                    <a:pt x="1473746" y="47345"/>
                  </a:lnTo>
                  <a:lnTo>
                    <a:pt x="1428940" y="35026"/>
                  </a:lnTo>
                  <a:lnTo>
                    <a:pt x="1383436" y="24485"/>
                  </a:lnTo>
                  <a:lnTo>
                    <a:pt x="1337259" y="15773"/>
                  </a:lnTo>
                  <a:lnTo>
                    <a:pt x="1290447" y="8940"/>
                  </a:lnTo>
                  <a:lnTo>
                    <a:pt x="1243037" y="4000"/>
                  </a:lnTo>
                  <a:lnTo>
                    <a:pt x="1195082" y="1003"/>
                  </a:lnTo>
                  <a:lnTo>
                    <a:pt x="1146619" y="0"/>
                  </a:lnTo>
                  <a:lnTo>
                    <a:pt x="1098143" y="1003"/>
                  </a:lnTo>
                  <a:lnTo>
                    <a:pt x="1050188" y="4000"/>
                  </a:lnTo>
                  <a:lnTo>
                    <a:pt x="1002792" y="8940"/>
                  </a:lnTo>
                  <a:lnTo>
                    <a:pt x="955979" y="15773"/>
                  </a:lnTo>
                  <a:lnTo>
                    <a:pt x="909802" y="24485"/>
                  </a:lnTo>
                  <a:lnTo>
                    <a:pt x="864285" y="35026"/>
                  </a:lnTo>
                  <a:lnTo>
                    <a:pt x="819492" y="47345"/>
                  </a:lnTo>
                  <a:lnTo>
                    <a:pt x="775449" y="61404"/>
                  </a:lnTo>
                  <a:lnTo>
                    <a:pt x="732193" y="77177"/>
                  </a:lnTo>
                  <a:lnTo>
                    <a:pt x="689775" y="94627"/>
                  </a:lnTo>
                  <a:lnTo>
                    <a:pt x="648220" y="113690"/>
                  </a:lnTo>
                  <a:lnTo>
                    <a:pt x="607580" y="134353"/>
                  </a:lnTo>
                  <a:lnTo>
                    <a:pt x="567893" y="156552"/>
                  </a:lnTo>
                  <a:lnTo>
                    <a:pt x="529196" y="180263"/>
                  </a:lnTo>
                  <a:lnTo>
                    <a:pt x="491528" y="205435"/>
                  </a:lnTo>
                  <a:lnTo>
                    <a:pt x="454926" y="232041"/>
                  </a:lnTo>
                  <a:lnTo>
                    <a:pt x="419442" y="260045"/>
                  </a:lnTo>
                  <a:lnTo>
                    <a:pt x="385102" y="289382"/>
                  </a:lnTo>
                  <a:lnTo>
                    <a:pt x="351955" y="320040"/>
                  </a:lnTo>
                  <a:lnTo>
                    <a:pt x="320027" y="351955"/>
                  </a:lnTo>
                  <a:lnTo>
                    <a:pt x="289382" y="385102"/>
                  </a:lnTo>
                  <a:lnTo>
                    <a:pt x="260032" y="419442"/>
                  </a:lnTo>
                  <a:lnTo>
                    <a:pt x="232041" y="454939"/>
                  </a:lnTo>
                  <a:lnTo>
                    <a:pt x="205435" y="491528"/>
                  </a:lnTo>
                  <a:lnTo>
                    <a:pt x="180251" y="529196"/>
                  </a:lnTo>
                  <a:lnTo>
                    <a:pt x="156540" y="567905"/>
                  </a:lnTo>
                  <a:lnTo>
                    <a:pt x="134340" y="607593"/>
                  </a:lnTo>
                  <a:lnTo>
                    <a:pt x="113690" y="648233"/>
                  </a:lnTo>
                  <a:lnTo>
                    <a:pt x="94615" y="689775"/>
                  </a:lnTo>
                  <a:lnTo>
                    <a:pt x="77177" y="732205"/>
                  </a:lnTo>
                  <a:lnTo>
                    <a:pt x="61404" y="775449"/>
                  </a:lnTo>
                  <a:lnTo>
                    <a:pt x="47332" y="819492"/>
                  </a:lnTo>
                  <a:lnTo>
                    <a:pt x="35013" y="864298"/>
                  </a:lnTo>
                  <a:lnTo>
                    <a:pt x="24485" y="909802"/>
                  </a:lnTo>
                  <a:lnTo>
                    <a:pt x="15773" y="955979"/>
                  </a:lnTo>
                  <a:lnTo>
                    <a:pt x="8928" y="1002792"/>
                  </a:lnTo>
                  <a:lnTo>
                    <a:pt x="4000" y="1050201"/>
                  </a:lnTo>
                  <a:lnTo>
                    <a:pt x="1003" y="1098156"/>
                  </a:lnTo>
                  <a:lnTo>
                    <a:pt x="0" y="1146619"/>
                  </a:lnTo>
                  <a:lnTo>
                    <a:pt x="1003" y="1195095"/>
                  </a:lnTo>
                  <a:lnTo>
                    <a:pt x="4000" y="1243050"/>
                  </a:lnTo>
                  <a:lnTo>
                    <a:pt x="8928" y="1290447"/>
                  </a:lnTo>
                  <a:lnTo>
                    <a:pt x="15773" y="1337259"/>
                  </a:lnTo>
                  <a:lnTo>
                    <a:pt x="24485" y="1383436"/>
                  </a:lnTo>
                  <a:lnTo>
                    <a:pt x="35013" y="1428953"/>
                  </a:lnTo>
                  <a:lnTo>
                    <a:pt x="47332" y="1473746"/>
                  </a:lnTo>
                  <a:lnTo>
                    <a:pt x="61404" y="1517789"/>
                  </a:lnTo>
                  <a:lnTo>
                    <a:pt x="77177" y="1561045"/>
                  </a:lnTo>
                  <a:lnTo>
                    <a:pt x="94615" y="1603463"/>
                  </a:lnTo>
                  <a:lnTo>
                    <a:pt x="113690" y="1645018"/>
                  </a:lnTo>
                  <a:lnTo>
                    <a:pt x="134340" y="1685658"/>
                  </a:lnTo>
                  <a:lnTo>
                    <a:pt x="156540" y="1725345"/>
                  </a:lnTo>
                  <a:lnTo>
                    <a:pt x="180251" y="1764042"/>
                  </a:lnTo>
                  <a:lnTo>
                    <a:pt x="205435" y="1801710"/>
                  </a:lnTo>
                  <a:lnTo>
                    <a:pt x="232041" y="1838312"/>
                  </a:lnTo>
                  <a:lnTo>
                    <a:pt x="260032" y="1873796"/>
                  </a:lnTo>
                  <a:lnTo>
                    <a:pt x="289382" y="1908136"/>
                  </a:lnTo>
                  <a:lnTo>
                    <a:pt x="320027" y="1941283"/>
                  </a:lnTo>
                  <a:lnTo>
                    <a:pt x="351955" y="1973211"/>
                  </a:lnTo>
                  <a:lnTo>
                    <a:pt x="385102" y="2003856"/>
                  </a:lnTo>
                  <a:lnTo>
                    <a:pt x="419442" y="2033206"/>
                  </a:lnTo>
                  <a:lnTo>
                    <a:pt x="454926" y="2061197"/>
                  </a:lnTo>
                  <a:lnTo>
                    <a:pt x="491528" y="2087803"/>
                  </a:lnTo>
                  <a:lnTo>
                    <a:pt x="529196" y="2112988"/>
                  </a:lnTo>
                  <a:lnTo>
                    <a:pt x="567893" y="2136698"/>
                  </a:lnTo>
                  <a:lnTo>
                    <a:pt x="607580" y="2158898"/>
                  </a:lnTo>
                  <a:lnTo>
                    <a:pt x="648220" y="2179548"/>
                  </a:lnTo>
                  <a:lnTo>
                    <a:pt x="689775" y="2198624"/>
                  </a:lnTo>
                  <a:lnTo>
                    <a:pt x="732193" y="2216061"/>
                  </a:lnTo>
                  <a:lnTo>
                    <a:pt x="775449" y="2231834"/>
                  </a:lnTo>
                  <a:lnTo>
                    <a:pt x="819492" y="2245906"/>
                  </a:lnTo>
                  <a:lnTo>
                    <a:pt x="864285" y="2258225"/>
                  </a:lnTo>
                  <a:lnTo>
                    <a:pt x="909802" y="2268753"/>
                  </a:lnTo>
                  <a:lnTo>
                    <a:pt x="955979" y="2277465"/>
                  </a:lnTo>
                  <a:lnTo>
                    <a:pt x="1002792" y="2284311"/>
                  </a:lnTo>
                  <a:lnTo>
                    <a:pt x="1050188" y="2289238"/>
                  </a:lnTo>
                  <a:lnTo>
                    <a:pt x="1098143" y="2292235"/>
                  </a:lnTo>
                  <a:lnTo>
                    <a:pt x="1146619" y="2293239"/>
                  </a:lnTo>
                  <a:lnTo>
                    <a:pt x="1195082" y="2292235"/>
                  </a:lnTo>
                  <a:lnTo>
                    <a:pt x="1243037" y="2289238"/>
                  </a:lnTo>
                  <a:lnTo>
                    <a:pt x="1290447" y="2284311"/>
                  </a:lnTo>
                  <a:lnTo>
                    <a:pt x="1337259" y="2277465"/>
                  </a:lnTo>
                  <a:lnTo>
                    <a:pt x="1383436" y="2268753"/>
                  </a:lnTo>
                  <a:lnTo>
                    <a:pt x="1428940" y="2258225"/>
                  </a:lnTo>
                  <a:lnTo>
                    <a:pt x="1473746" y="2245906"/>
                  </a:lnTo>
                  <a:lnTo>
                    <a:pt x="1517789" y="2231834"/>
                  </a:lnTo>
                  <a:lnTo>
                    <a:pt x="1561033" y="2216061"/>
                  </a:lnTo>
                  <a:lnTo>
                    <a:pt x="1603463" y="2198624"/>
                  </a:lnTo>
                  <a:lnTo>
                    <a:pt x="1645005" y="2179548"/>
                  </a:lnTo>
                  <a:lnTo>
                    <a:pt x="1685645" y="2158898"/>
                  </a:lnTo>
                  <a:lnTo>
                    <a:pt x="1725333" y="2136698"/>
                  </a:lnTo>
                  <a:lnTo>
                    <a:pt x="1764042" y="2112988"/>
                  </a:lnTo>
                  <a:lnTo>
                    <a:pt x="1801710" y="2087803"/>
                  </a:lnTo>
                  <a:lnTo>
                    <a:pt x="1838299" y="2061197"/>
                  </a:lnTo>
                  <a:lnTo>
                    <a:pt x="1873796" y="2033206"/>
                  </a:lnTo>
                  <a:lnTo>
                    <a:pt x="1908136" y="2003856"/>
                  </a:lnTo>
                  <a:lnTo>
                    <a:pt x="1941283" y="1973211"/>
                  </a:lnTo>
                  <a:lnTo>
                    <a:pt x="1973199" y="1941283"/>
                  </a:lnTo>
                  <a:lnTo>
                    <a:pt x="2003856" y="1908136"/>
                  </a:lnTo>
                  <a:lnTo>
                    <a:pt x="2033193" y="1873796"/>
                  </a:lnTo>
                  <a:lnTo>
                    <a:pt x="2061197" y="1838312"/>
                  </a:lnTo>
                  <a:lnTo>
                    <a:pt x="2087803" y="1801710"/>
                  </a:lnTo>
                  <a:lnTo>
                    <a:pt x="2112975" y="1764042"/>
                  </a:lnTo>
                  <a:lnTo>
                    <a:pt x="2136686" y="1725345"/>
                  </a:lnTo>
                  <a:lnTo>
                    <a:pt x="2158885" y="1685658"/>
                  </a:lnTo>
                  <a:lnTo>
                    <a:pt x="2179548" y="1645018"/>
                  </a:lnTo>
                  <a:lnTo>
                    <a:pt x="2198611" y="1603463"/>
                  </a:lnTo>
                  <a:lnTo>
                    <a:pt x="2216061" y="1561045"/>
                  </a:lnTo>
                  <a:lnTo>
                    <a:pt x="2231834" y="1517789"/>
                  </a:lnTo>
                  <a:lnTo>
                    <a:pt x="2245893" y="1473746"/>
                  </a:lnTo>
                  <a:lnTo>
                    <a:pt x="2258212" y="1428953"/>
                  </a:lnTo>
                  <a:lnTo>
                    <a:pt x="2268753" y="1383436"/>
                  </a:lnTo>
                  <a:lnTo>
                    <a:pt x="2277465" y="1337259"/>
                  </a:lnTo>
                  <a:lnTo>
                    <a:pt x="2284298" y="1290447"/>
                  </a:lnTo>
                  <a:lnTo>
                    <a:pt x="2289238" y="1243050"/>
                  </a:lnTo>
                  <a:lnTo>
                    <a:pt x="2292235" y="1195095"/>
                  </a:lnTo>
                  <a:lnTo>
                    <a:pt x="2293239" y="1146619"/>
                  </a:lnTo>
                  <a:close/>
                </a:path>
                <a:path w="2770504" h="2451734">
                  <a:moveTo>
                    <a:pt x="2769895" y="2200008"/>
                  </a:moveTo>
                  <a:lnTo>
                    <a:pt x="2765844" y="2154809"/>
                  </a:lnTo>
                  <a:lnTo>
                    <a:pt x="2754172" y="2112276"/>
                  </a:lnTo>
                  <a:lnTo>
                    <a:pt x="2735580" y="2073109"/>
                  </a:lnTo>
                  <a:lnTo>
                    <a:pt x="2710777" y="2038007"/>
                  </a:lnTo>
                  <a:lnTo>
                    <a:pt x="2680474" y="2007704"/>
                  </a:lnTo>
                  <a:lnTo>
                    <a:pt x="2645384" y="1982901"/>
                  </a:lnTo>
                  <a:lnTo>
                    <a:pt x="2606205" y="1964309"/>
                  </a:lnTo>
                  <a:lnTo>
                    <a:pt x="2563672" y="1952625"/>
                  </a:lnTo>
                  <a:lnTo>
                    <a:pt x="2518473" y="1948573"/>
                  </a:lnTo>
                  <a:lnTo>
                    <a:pt x="2473287" y="1952625"/>
                  </a:lnTo>
                  <a:lnTo>
                    <a:pt x="2430742" y="1964309"/>
                  </a:lnTo>
                  <a:lnTo>
                    <a:pt x="2391575" y="1982901"/>
                  </a:lnTo>
                  <a:lnTo>
                    <a:pt x="2356485" y="2007704"/>
                  </a:lnTo>
                  <a:lnTo>
                    <a:pt x="2326182" y="2038007"/>
                  </a:lnTo>
                  <a:lnTo>
                    <a:pt x="2301367" y="2073109"/>
                  </a:lnTo>
                  <a:lnTo>
                    <a:pt x="2282774" y="2112276"/>
                  </a:lnTo>
                  <a:lnTo>
                    <a:pt x="2271090" y="2154809"/>
                  </a:lnTo>
                  <a:lnTo>
                    <a:pt x="2267039" y="2200008"/>
                  </a:lnTo>
                  <a:lnTo>
                    <a:pt x="2271090" y="2245195"/>
                  </a:lnTo>
                  <a:lnTo>
                    <a:pt x="2282774" y="2287727"/>
                  </a:lnTo>
                  <a:lnTo>
                    <a:pt x="2301367" y="2326906"/>
                  </a:lnTo>
                  <a:lnTo>
                    <a:pt x="2326182" y="2361996"/>
                  </a:lnTo>
                  <a:lnTo>
                    <a:pt x="2356485" y="2392299"/>
                  </a:lnTo>
                  <a:lnTo>
                    <a:pt x="2391575" y="2417102"/>
                  </a:lnTo>
                  <a:lnTo>
                    <a:pt x="2430742" y="2435695"/>
                  </a:lnTo>
                  <a:lnTo>
                    <a:pt x="2473287" y="2447379"/>
                  </a:lnTo>
                  <a:lnTo>
                    <a:pt x="2518473" y="2451430"/>
                  </a:lnTo>
                  <a:lnTo>
                    <a:pt x="2563672" y="2447379"/>
                  </a:lnTo>
                  <a:lnTo>
                    <a:pt x="2606205" y="2435695"/>
                  </a:lnTo>
                  <a:lnTo>
                    <a:pt x="2645384" y="2417102"/>
                  </a:lnTo>
                  <a:lnTo>
                    <a:pt x="2680474" y="2392299"/>
                  </a:lnTo>
                  <a:lnTo>
                    <a:pt x="2710777" y="2361996"/>
                  </a:lnTo>
                  <a:lnTo>
                    <a:pt x="2735580" y="2326906"/>
                  </a:lnTo>
                  <a:lnTo>
                    <a:pt x="2754172" y="2287727"/>
                  </a:lnTo>
                  <a:lnTo>
                    <a:pt x="2765844" y="2245195"/>
                  </a:lnTo>
                  <a:lnTo>
                    <a:pt x="2769895" y="2200008"/>
                  </a:lnTo>
                  <a:close/>
                </a:path>
              </a:pathLst>
            </a:custGeom>
            <a:solidFill>
              <a:srgbClr val="0E5C77">
                <a:alpha val="23999"/>
              </a:srgbClr>
            </a:solidFill>
          </p:spPr>
          <p:txBody>
            <a:bodyPr wrap="square" lIns="0" tIns="0" rIns="0" bIns="0" rtlCol="0"/>
            <a:lstStyle/>
            <a:p>
              <a:endParaRPr/>
            </a:p>
          </p:txBody>
        </p:sp>
        <p:sp>
          <p:nvSpPr>
            <p:cNvPr id="20" name="object 7">
              <a:extLst>
                <a:ext uri="{FF2B5EF4-FFF2-40B4-BE49-F238E27FC236}">
                  <a16:creationId xmlns:a16="http://schemas.microsoft.com/office/drawing/2014/main" id="{E3117CA8-C356-BDA9-FD85-2EB03B137EEA}"/>
                </a:ext>
              </a:extLst>
            </p:cNvPr>
            <p:cNvSpPr/>
            <p:nvPr/>
          </p:nvSpPr>
          <p:spPr>
            <a:xfrm>
              <a:off x="9597" y="4925061"/>
              <a:ext cx="1272559" cy="1930720"/>
            </a:xfrm>
            <a:custGeom>
              <a:avLst/>
              <a:gdLst/>
              <a:ahLst/>
              <a:cxnLst/>
              <a:rect l="l" t="t" r="r" b="b"/>
              <a:pathLst>
                <a:path w="1403350" h="2129154">
                  <a:moveTo>
                    <a:pt x="256217" y="0"/>
                  </a:moveTo>
                  <a:lnTo>
                    <a:pt x="207748" y="1005"/>
                  </a:lnTo>
                  <a:lnTo>
                    <a:pt x="159791" y="3997"/>
                  </a:lnTo>
                  <a:lnTo>
                    <a:pt x="112387" y="8933"/>
                  </a:lnTo>
                  <a:lnTo>
                    <a:pt x="65576" y="15776"/>
                  </a:lnTo>
                  <a:lnTo>
                    <a:pt x="19397" y="24484"/>
                  </a:lnTo>
                  <a:lnTo>
                    <a:pt x="0" y="28974"/>
                  </a:lnTo>
                  <a:lnTo>
                    <a:pt x="0" y="2128758"/>
                  </a:lnTo>
                  <a:lnTo>
                    <a:pt x="847885" y="2128758"/>
                  </a:lnTo>
                  <a:lnTo>
                    <a:pt x="873636" y="2112981"/>
                  </a:lnTo>
                  <a:lnTo>
                    <a:pt x="911305" y="2087802"/>
                  </a:lnTo>
                  <a:lnTo>
                    <a:pt x="947904" y="2061196"/>
                  </a:lnTo>
                  <a:lnTo>
                    <a:pt x="983393" y="2033201"/>
                  </a:lnTo>
                  <a:lnTo>
                    <a:pt x="1017732" y="2003858"/>
                  </a:lnTo>
                  <a:lnTo>
                    <a:pt x="1050883" y="1973206"/>
                  </a:lnTo>
                  <a:lnTo>
                    <a:pt x="1082804" y="1941285"/>
                  </a:lnTo>
                  <a:lnTo>
                    <a:pt x="1113456" y="1908135"/>
                  </a:lnTo>
                  <a:lnTo>
                    <a:pt x="1142799" y="1873795"/>
                  </a:lnTo>
                  <a:lnTo>
                    <a:pt x="1170794" y="1838306"/>
                  </a:lnTo>
                  <a:lnTo>
                    <a:pt x="1197400" y="1801707"/>
                  </a:lnTo>
                  <a:lnTo>
                    <a:pt x="1222579" y="1764039"/>
                  </a:lnTo>
                  <a:lnTo>
                    <a:pt x="1246289" y="1725340"/>
                  </a:lnTo>
                  <a:lnTo>
                    <a:pt x="1268492" y="1685650"/>
                  </a:lnTo>
                  <a:lnTo>
                    <a:pt x="1289147" y="1645011"/>
                  </a:lnTo>
                  <a:lnTo>
                    <a:pt x="1308215" y="1603460"/>
                  </a:lnTo>
                  <a:lnTo>
                    <a:pt x="1325656" y="1561039"/>
                  </a:lnTo>
                  <a:lnTo>
                    <a:pt x="1341430" y="1517786"/>
                  </a:lnTo>
                  <a:lnTo>
                    <a:pt x="1355497" y="1473742"/>
                  </a:lnTo>
                  <a:lnTo>
                    <a:pt x="1367818" y="1428947"/>
                  </a:lnTo>
                  <a:lnTo>
                    <a:pt x="1378352" y="1383439"/>
                  </a:lnTo>
                  <a:lnTo>
                    <a:pt x="1387060" y="1337260"/>
                  </a:lnTo>
                  <a:lnTo>
                    <a:pt x="1393903" y="1290448"/>
                  </a:lnTo>
                  <a:lnTo>
                    <a:pt x="1398839" y="1243045"/>
                  </a:lnTo>
                  <a:lnTo>
                    <a:pt x="1401831" y="1195088"/>
                  </a:lnTo>
                  <a:lnTo>
                    <a:pt x="1402836" y="1146619"/>
                  </a:lnTo>
                  <a:lnTo>
                    <a:pt x="1401831" y="1098150"/>
                  </a:lnTo>
                  <a:lnTo>
                    <a:pt x="1398839" y="1050193"/>
                  </a:lnTo>
                  <a:lnTo>
                    <a:pt x="1393903" y="1002790"/>
                  </a:lnTo>
                  <a:lnTo>
                    <a:pt x="1387060" y="955978"/>
                  </a:lnTo>
                  <a:lnTo>
                    <a:pt x="1378352" y="909799"/>
                  </a:lnTo>
                  <a:lnTo>
                    <a:pt x="1367818" y="864291"/>
                  </a:lnTo>
                  <a:lnTo>
                    <a:pt x="1355497" y="819496"/>
                  </a:lnTo>
                  <a:lnTo>
                    <a:pt x="1341430" y="775452"/>
                  </a:lnTo>
                  <a:lnTo>
                    <a:pt x="1325656" y="732199"/>
                  </a:lnTo>
                  <a:lnTo>
                    <a:pt x="1308215" y="689778"/>
                  </a:lnTo>
                  <a:lnTo>
                    <a:pt x="1289147" y="648227"/>
                  </a:lnTo>
                  <a:lnTo>
                    <a:pt x="1268492" y="607588"/>
                  </a:lnTo>
                  <a:lnTo>
                    <a:pt x="1246289" y="567898"/>
                  </a:lnTo>
                  <a:lnTo>
                    <a:pt x="1222579" y="529199"/>
                  </a:lnTo>
                  <a:lnTo>
                    <a:pt x="1197400" y="491531"/>
                  </a:lnTo>
                  <a:lnTo>
                    <a:pt x="1170794" y="454932"/>
                  </a:lnTo>
                  <a:lnTo>
                    <a:pt x="1142799" y="419443"/>
                  </a:lnTo>
                  <a:lnTo>
                    <a:pt x="1113456" y="385103"/>
                  </a:lnTo>
                  <a:lnTo>
                    <a:pt x="1082804" y="351953"/>
                  </a:lnTo>
                  <a:lnTo>
                    <a:pt x="1050883" y="320032"/>
                  </a:lnTo>
                  <a:lnTo>
                    <a:pt x="1017732" y="289380"/>
                  </a:lnTo>
                  <a:lnTo>
                    <a:pt x="983393" y="260037"/>
                  </a:lnTo>
                  <a:lnTo>
                    <a:pt x="947904" y="232042"/>
                  </a:lnTo>
                  <a:lnTo>
                    <a:pt x="911305" y="205436"/>
                  </a:lnTo>
                  <a:lnTo>
                    <a:pt x="873636" y="180257"/>
                  </a:lnTo>
                  <a:lnTo>
                    <a:pt x="834938" y="156547"/>
                  </a:lnTo>
                  <a:lnTo>
                    <a:pt x="795248" y="134344"/>
                  </a:lnTo>
                  <a:lnTo>
                    <a:pt x="754609" y="113689"/>
                  </a:lnTo>
                  <a:lnTo>
                    <a:pt x="713058" y="94621"/>
                  </a:lnTo>
                  <a:lnTo>
                    <a:pt x="670637" y="77180"/>
                  </a:lnTo>
                  <a:lnTo>
                    <a:pt x="627384" y="61406"/>
                  </a:lnTo>
                  <a:lnTo>
                    <a:pt x="583340" y="47339"/>
                  </a:lnTo>
                  <a:lnTo>
                    <a:pt x="538544" y="35018"/>
                  </a:lnTo>
                  <a:lnTo>
                    <a:pt x="493037" y="24484"/>
                  </a:lnTo>
                  <a:lnTo>
                    <a:pt x="446858" y="15776"/>
                  </a:lnTo>
                  <a:lnTo>
                    <a:pt x="400046" y="8933"/>
                  </a:lnTo>
                  <a:lnTo>
                    <a:pt x="352643" y="3997"/>
                  </a:lnTo>
                  <a:lnTo>
                    <a:pt x="304686" y="1005"/>
                  </a:lnTo>
                  <a:lnTo>
                    <a:pt x="256217" y="0"/>
                  </a:lnTo>
                  <a:close/>
                </a:path>
              </a:pathLst>
            </a:custGeom>
            <a:solidFill>
              <a:srgbClr val="0E5C77">
                <a:alpha val="23999"/>
              </a:srgbClr>
            </a:solidFill>
          </p:spPr>
          <p:txBody>
            <a:bodyPr wrap="square" lIns="0" tIns="0" rIns="0" bIns="0" rtlCol="0"/>
            <a:lstStyle/>
            <a:p>
              <a:endParaRPr/>
            </a:p>
          </p:txBody>
        </p:sp>
        <p:sp>
          <p:nvSpPr>
            <p:cNvPr id="21" name="object 8">
              <a:extLst>
                <a:ext uri="{FF2B5EF4-FFF2-40B4-BE49-F238E27FC236}">
                  <a16:creationId xmlns:a16="http://schemas.microsoft.com/office/drawing/2014/main" id="{D63CF557-1D03-CF27-546B-1151257DE682}"/>
                </a:ext>
              </a:extLst>
            </p:cNvPr>
            <p:cNvSpPr/>
            <p:nvPr/>
          </p:nvSpPr>
          <p:spPr>
            <a:xfrm>
              <a:off x="1438442" y="5634837"/>
              <a:ext cx="1580045" cy="1220736"/>
            </a:xfrm>
            <a:custGeom>
              <a:avLst/>
              <a:gdLst/>
              <a:ahLst/>
              <a:cxnLst/>
              <a:rect l="l" t="t" r="r" b="b"/>
              <a:pathLst>
                <a:path w="1742439" h="1346200">
                  <a:moveTo>
                    <a:pt x="871016" y="0"/>
                  </a:moveTo>
                  <a:lnTo>
                    <a:pt x="823226" y="1288"/>
                  </a:lnTo>
                  <a:lnTo>
                    <a:pt x="776109" y="5110"/>
                  </a:lnTo>
                  <a:lnTo>
                    <a:pt x="729733" y="11400"/>
                  </a:lnTo>
                  <a:lnTo>
                    <a:pt x="684162" y="20089"/>
                  </a:lnTo>
                  <a:lnTo>
                    <a:pt x="639465" y="31113"/>
                  </a:lnTo>
                  <a:lnTo>
                    <a:pt x="595707" y="44404"/>
                  </a:lnTo>
                  <a:lnTo>
                    <a:pt x="552955" y="59897"/>
                  </a:lnTo>
                  <a:lnTo>
                    <a:pt x="511275" y="77525"/>
                  </a:lnTo>
                  <a:lnTo>
                    <a:pt x="470733" y="97221"/>
                  </a:lnTo>
                  <a:lnTo>
                    <a:pt x="431397" y="118919"/>
                  </a:lnTo>
                  <a:lnTo>
                    <a:pt x="393332" y="142552"/>
                  </a:lnTo>
                  <a:lnTo>
                    <a:pt x="356605" y="168055"/>
                  </a:lnTo>
                  <a:lnTo>
                    <a:pt x="321282" y="195360"/>
                  </a:lnTo>
                  <a:lnTo>
                    <a:pt x="287429" y="224402"/>
                  </a:lnTo>
                  <a:lnTo>
                    <a:pt x="255114" y="255114"/>
                  </a:lnTo>
                  <a:lnTo>
                    <a:pt x="224402" y="287429"/>
                  </a:lnTo>
                  <a:lnTo>
                    <a:pt x="195360" y="321282"/>
                  </a:lnTo>
                  <a:lnTo>
                    <a:pt x="168055" y="356605"/>
                  </a:lnTo>
                  <a:lnTo>
                    <a:pt x="142552" y="393332"/>
                  </a:lnTo>
                  <a:lnTo>
                    <a:pt x="118919" y="431397"/>
                  </a:lnTo>
                  <a:lnTo>
                    <a:pt x="97221" y="470733"/>
                  </a:lnTo>
                  <a:lnTo>
                    <a:pt x="77525" y="511275"/>
                  </a:lnTo>
                  <a:lnTo>
                    <a:pt x="59897" y="552955"/>
                  </a:lnTo>
                  <a:lnTo>
                    <a:pt x="44404" y="595707"/>
                  </a:lnTo>
                  <a:lnTo>
                    <a:pt x="31113" y="639465"/>
                  </a:lnTo>
                  <a:lnTo>
                    <a:pt x="20089" y="684162"/>
                  </a:lnTo>
                  <a:lnTo>
                    <a:pt x="11400" y="729733"/>
                  </a:lnTo>
                  <a:lnTo>
                    <a:pt x="5110" y="776109"/>
                  </a:lnTo>
                  <a:lnTo>
                    <a:pt x="1288" y="823226"/>
                  </a:lnTo>
                  <a:lnTo>
                    <a:pt x="0" y="871016"/>
                  </a:lnTo>
                  <a:lnTo>
                    <a:pt x="1288" y="918807"/>
                  </a:lnTo>
                  <a:lnTo>
                    <a:pt x="5110" y="965923"/>
                  </a:lnTo>
                  <a:lnTo>
                    <a:pt x="11400" y="1012300"/>
                  </a:lnTo>
                  <a:lnTo>
                    <a:pt x="20089" y="1057870"/>
                  </a:lnTo>
                  <a:lnTo>
                    <a:pt x="31113" y="1102568"/>
                  </a:lnTo>
                  <a:lnTo>
                    <a:pt x="44404" y="1146325"/>
                  </a:lnTo>
                  <a:lnTo>
                    <a:pt x="59897" y="1189078"/>
                  </a:lnTo>
                  <a:lnTo>
                    <a:pt x="77525" y="1230758"/>
                  </a:lnTo>
                  <a:lnTo>
                    <a:pt x="97221" y="1271299"/>
                  </a:lnTo>
                  <a:lnTo>
                    <a:pt x="118919" y="1310636"/>
                  </a:lnTo>
                  <a:lnTo>
                    <a:pt x="140895" y="1346032"/>
                  </a:lnTo>
                  <a:lnTo>
                    <a:pt x="1601138" y="1346032"/>
                  </a:lnTo>
                  <a:lnTo>
                    <a:pt x="1623114" y="1310636"/>
                  </a:lnTo>
                  <a:lnTo>
                    <a:pt x="1644812" y="1271299"/>
                  </a:lnTo>
                  <a:lnTo>
                    <a:pt x="1664508" y="1230758"/>
                  </a:lnTo>
                  <a:lnTo>
                    <a:pt x="1682136" y="1189078"/>
                  </a:lnTo>
                  <a:lnTo>
                    <a:pt x="1697628" y="1146325"/>
                  </a:lnTo>
                  <a:lnTo>
                    <a:pt x="1710920" y="1102568"/>
                  </a:lnTo>
                  <a:lnTo>
                    <a:pt x="1721943" y="1057870"/>
                  </a:lnTo>
                  <a:lnTo>
                    <a:pt x="1730633" y="1012300"/>
                  </a:lnTo>
                  <a:lnTo>
                    <a:pt x="1736922" y="965923"/>
                  </a:lnTo>
                  <a:lnTo>
                    <a:pt x="1740744" y="918807"/>
                  </a:lnTo>
                  <a:lnTo>
                    <a:pt x="1742033" y="871016"/>
                  </a:lnTo>
                  <a:lnTo>
                    <a:pt x="1740744" y="823226"/>
                  </a:lnTo>
                  <a:lnTo>
                    <a:pt x="1736922" y="776109"/>
                  </a:lnTo>
                  <a:lnTo>
                    <a:pt x="1730633" y="729733"/>
                  </a:lnTo>
                  <a:lnTo>
                    <a:pt x="1721943" y="684162"/>
                  </a:lnTo>
                  <a:lnTo>
                    <a:pt x="1710920" y="639465"/>
                  </a:lnTo>
                  <a:lnTo>
                    <a:pt x="1697628" y="595707"/>
                  </a:lnTo>
                  <a:lnTo>
                    <a:pt x="1682136" y="552955"/>
                  </a:lnTo>
                  <a:lnTo>
                    <a:pt x="1664508" y="511275"/>
                  </a:lnTo>
                  <a:lnTo>
                    <a:pt x="1644812" y="470733"/>
                  </a:lnTo>
                  <a:lnTo>
                    <a:pt x="1623114" y="431397"/>
                  </a:lnTo>
                  <a:lnTo>
                    <a:pt x="1599480" y="393332"/>
                  </a:lnTo>
                  <a:lnTo>
                    <a:pt x="1573978" y="356605"/>
                  </a:lnTo>
                  <a:lnTo>
                    <a:pt x="1546672" y="321282"/>
                  </a:lnTo>
                  <a:lnTo>
                    <a:pt x="1517630" y="287429"/>
                  </a:lnTo>
                  <a:lnTo>
                    <a:pt x="1486919" y="255114"/>
                  </a:lnTo>
                  <a:lnTo>
                    <a:pt x="1454603" y="224402"/>
                  </a:lnTo>
                  <a:lnTo>
                    <a:pt x="1420751" y="195360"/>
                  </a:lnTo>
                  <a:lnTo>
                    <a:pt x="1385428" y="168055"/>
                  </a:lnTo>
                  <a:lnTo>
                    <a:pt x="1348701" y="142552"/>
                  </a:lnTo>
                  <a:lnTo>
                    <a:pt x="1310636" y="118919"/>
                  </a:lnTo>
                  <a:lnTo>
                    <a:pt x="1271299" y="97221"/>
                  </a:lnTo>
                  <a:lnTo>
                    <a:pt x="1230758" y="77525"/>
                  </a:lnTo>
                  <a:lnTo>
                    <a:pt x="1189078" y="59897"/>
                  </a:lnTo>
                  <a:lnTo>
                    <a:pt x="1146325" y="44404"/>
                  </a:lnTo>
                  <a:lnTo>
                    <a:pt x="1102568" y="31113"/>
                  </a:lnTo>
                  <a:lnTo>
                    <a:pt x="1057870" y="20089"/>
                  </a:lnTo>
                  <a:lnTo>
                    <a:pt x="1012300" y="11400"/>
                  </a:lnTo>
                  <a:lnTo>
                    <a:pt x="965923" y="5110"/>
                  </a:lnTo>
                  <a:lnTo>
                    <a:pt x="918807" y="1288"/>
                  </a:lnTo>
                  <a:lnTo>
                    <a:pt x="871016" y="0"/>
                  </a:lnTo>
                  <a:close/>
                </a:path>
              </a:pathLst>
            </a:custGeom>
            <a:solidFill>
              <a:srgbClr val="0E5C77">
                <a:alpha val="23999"/>
              </a:srgbClr>
            </a:solidFill>
          </p:spPr>
          <p:txBody>
            <a:bodyPr wrap="square" lIns="0" tIns="0" rIns="0" bIns="0" rtlCol="0"/>
            <a:lstStyle/>
            <a:p>
              <a:endParaRPr/>
            </a:p>
          </p:txBody>
        </p:sp>
        <p:sp>
          <p:nvSpPr>
            <p:cNvPr id="22" name="object 9">
              <a:extLst>
                <a:ext uri="{FF2B5EF4-FFF2-40B4-BE49-F238E27FC236}">
                  <a16:creationId xmlns:a16="http://schemas.microsoft.com/office/drawing/2014/main" id="{E6538FF3-DDE2-42CC-7C40-B64B8CC9397A}"/>
                </a:ext>
              </a:extLst>
            </p:cNvPr>
            <p:cNvSpPr/>
            <p:nvPr/>
          </p:nvSpPr>
          <p:spPr>
            <a:xfrm>
              <a:off x="4273152" y="6359534"/>
              <a:ext cx="726683" cy="496356"/>
            </a:xfrm>
            <a:custGeom>
              <a:avLst/>
              <a:gdLst/>
              <a:ahLst/>
              <a:cxnLst/>
              <a:rect l="l" t="t" r="r" b="b"/>
              <a:pathLst>
                <a:path w="801370" h="547370">
                  <a:moveTo>
                    <a:pt x="400672" y="0"/>
                  </a:moveTo>
                  <a:lnTo>
                    <a:pt x="353945" y="2695"/>
                  </a:lnTo>
                  <a:lnTo>
                    <a:pt x="308801" y="10581"/>
                  </a:lnTo>
                  <a:lnTo>
                    <a:pt x="265542" y="23357"/>
                  </a:lnTo>
                  <a:lnTo>
                    <a:pt x="224466" y="40722"/>
                  </a:lnTo>
                  <a:lnTo>
                    <a:pt x="185876" y="62376"/>
                  </a:lnTo>
                  <a:lnTo>
                    <a:pt x="150072" y="88018"/>
                  </a:lnTo>
                  <a:lnTo>
                    <a:pt x="117354" y="117348"/>
                  </a:lnTo>
                  <a:lnTo>
                    <a:pt x="88023" y="150064"/>
                  </a:lnTo>
                  <a:lnTo>
                    <a:pt x="62379" y="185867"/>
                  </a:lnTo>
                  <a:lnTo>
                    <a:pt x="40724" y="224456"/>
                  </a:lnTo>
                  <a:lnTo>
                    <a:pt x="23358" y="265531"/>
                  </a:lnTo>
                  <a:lnTo>
                    <a:pt x="10582" y="308789"/>
                  </a:lnTo>
                  <a:lnTo>
                    <a:pt x="2695" y="353933"/>
                  </a:lnTo>
                  <a:lnTo>
                    <a:pt x="0" y="400659"/>
                  </a:lnTo>
                  <a:lnTo>
                    <a:pt x="2695" y="447386"/>
                  </a:lnTo>
                  <a:lnTo>
                    <a:pt x="10582" y="492529"/>
                  </a:lnTo>
                  <a:lnTo>
                    <a:pt x="23358" y="535789"/>
                  </a:lnTo>
                  <a:lnTo>
                    <a:pt x="28035" y="546851"/>
                  </a:lnTo>
                  <a:lnTo>
                    <a:pt x="773308" y="546851"/>
                  </a:lnTo>
                  <a:lnTo>
                    <a:pt x="777985" y="535789"/>
                  </a:lnTo>
                  <a:lnTo>
                    <a:pt x="790762" y="492529"/>
                  </a:lnTo>
                  <a:lnTo>
                    <a:pt x="798648" y="447386"/>
                  </a:lnTo>
                  <a:lnTo>
                    <a:pt x="801344" y="400659"/>
                  </a:lnTo>
                  <a:lnTo>
                    <a:pt x="798648" y="353933"/>
                  </a:lnTo>
                  <a:lnTo>
                    <a:pt x="790762" y="308789"/>
                  </a:lnTo>
                  <a:lnTo>
                    <a:pt x="777985" y="265531"/>
                  </a:lnTo>
                  <a:lnTo>
                    <a:pt x="760619" y="224456"/>
                  </a:lnTo>
                  <a:lnTo>
                    <a:pt x="738964" y="185867"/>
                  </a:lnTo>
                  <a:lnTo>
                    <a:pt x="713321" y="150064"/>
                  </a:lnTo>
                  <a:lnTo>
                    <a:pt x="683990" y="117348"/>
                  </a:lnTo>
                  <a:lnTo>
                    <a:pt x="651272" y="88018"/>
                  </a:lnTo>
                  <a:lnTo>
                    <a:pt x="615467" y="62376"/>
                  </a:lnTo>
                  <a:lnTo>
                    <a:pt x="576877" y="40722"/>
                  </a:lnTo>
                  <a:lnTo>
                    <a:pt x="535802" y="23357"/>
                  </a:lnTo>
                  <a:lnTo>
                    <a:pt x="492542" y="10581"/>
                  </a:lnTo>
                  <a:lnTo>
                    <a:pt x="447399" y="2695"/>
                  </a:lnTo>
                  <a:lnTo>
                    <a:pt x="400672" y="0"/>
                  </a:lnTo>
                  <a:close/>
                </a:path>
              </a:pathLst>
            </a:custGeom>
            <a:solidFill>
              <a:srgbClr val="0E5C77">
                <a:alpha val="23999"/>
              </a:srgbClr>
            </a:solidFill>
          </p:spPr>
          <p:txBody>
            <a:bodyPr wrap="square" lIns="0" tIns="0" rIns="0" bIns="0" rtlCol="0"/>
            <a:lstStyle/>
            <a:p>
              <a:endParaRPr/>
            </a:p>
          </p:txBody>
        </p:sp>
        <p:sp>
          <p:nvSpPr>
            <p:cNvPr id="23" name="object 10">
              <a:extLst>
                <a:ext uri="{FF2B5EF4-FFF2-40B4-BE49-F238E27FC236}">
                  <a16:creationId xmlns:a16="http://schemas.microsoft.com/office/drawing/2014/main" id="{E0B7C2DB-A4D1-95C8-95C5-D97562B895E0}"/>
                </a:ext>
              </a:extLst>
            </p:cNvPr>
            <p:cNvSpPr/>
            <p:nvPr/>
          </p:nvSpPr>
          <p:spPr>
            <a:xfrm>
              <a:off x="1979925" y="4720897"/>
              <a:ext cx="726683" cy="726683"/>
            </a:xfrm>
            <a:custGeom>
              <a:avLst/>
              <a:gdLst/>
              <a:ahLst/>
              <a:cxnLst/>
              <a:rect l="l" t="t" r="r" b="b"/>
              <a:pathLst>
                <a:path w="801369" h="801370">
                  <a:moveTo>
                    <a:pt x="400672" y="0"/>
                  </a:moveTo>
                  <a:lnTo>
                    <a:pt x="353945" y="2695"/>
                  </a:lnTo>
                  <a:lnTo>
                    <a:pt x="308801" y="10582"/>
                  </a:lnTo>
                  <a:lnTo>
                    <a:pt x="265542" y="23358"/>
                  </a:lnTo>
                  <a:lnTo>
                    <a:pt x="224466" y="40724"/>
                  </a:lnTo>
                  <a:lnTo>
                    <a:pt x="185876" y="62379"/>
                  </a:lnTo>
                  <a:lnTo>
                    <a:pt x="150072" y="88022"/>
                  </a:lnTo>
                  <a:lnTo>
                    <a:pt x="117354" y="117352"/>
                  </a:lnTo>
                  <a:lnTo>
                    <a:pt x="88023" y="150070"/>
                  </a:lnTo>
                  <a:lnTo>
                    <a:pt x="62379" y="185873"/>
                  </a:lnTo>
                  <a:lnTo>
                    <a:pt x="40724" y="224462"/>
                  </a:lnTo>
                  <a:lnTo>
                    <a:pt x="23358" y="265536"/>
                  </a:lnTo>
                  <a:lnTo>
                    <a:pt x="10582" y="308793"/>
                  </a:lnTo>
                  <a:lnTo>
                    <a:pt x="2695" y="353935"/>
                  </a:lnTo>
                  <a:lnTo>
                    <a:pt x="0" y="400659"/>
                  </a:lnTo>
                  <a:lnTo>
                    <a:pt x="2695" y="447386"/>
                  </a:lnTo>
                  <a:lnTo>
                    <a:pt x="10582" y="492529"/>
                  </a:lnTo>
                  <a:lnTo>
                    <a:pt x="23358" y="535789"/>
                  </a:lnTo>
                  <a:lnTo>
                    <a:pt x="40724" y="576864"/>
                  </a:lnTo>
                  <a:lnTo>
                    <a:pt x="62379" y="615455"/>
                  </a:lnTo>
                  <a:lnTo>
                    <a:pt x="88023" y="651259"/>
                  </a:lnTo>
                  <a:lnTo>
                    <a:pt x="117354" y="683977"/>
                  </a:lnTo>
                  <a:lnTo>
                    <a:pt x="150072" y="713308"/>
                  </a:lnTo>
                  <a:lnTo>
                    <a:pt x="185876" y="738951"/>
                  </a:lnTo>
                  <a:lnTo>
                    <a:pt x="224466" y="760607"/>
                  </a:lnTo>
                  <a:lnTo>
                    <a:pt x="265542" y="777973"/>
                  </a:lnTo>
                  <a:lnTo>
                    <a:pt x="308801" y="790749"/>
                  </a:lnTo>
                  <a:lnTo>
                    <a:pt x="353945" y="798636"/>
                  </a:lnTo>
                  <a:lnTo>
                    <a:pt x="400672" y="801331"/>
                  </a:lnTo>
                  <a:lnTo>
                    <a:pt x="447399" y="798636"/>
                  </a:lnTo>
                  <a:lnTo>
                    <a:pt x="492542" y="790749"/>
                  </a:lnTo>
                  <a:lnTo>
                    <a:pt x="535802" y="777973"/>
                  </a:lnTo>
                  <a:lnTo>
                    <a:pt x="576877" y="760607"/>
                  </a:lnTo>
                  <a:lnTo>
                    <a:pt x="615467" y="738951"/>
                  </a:lnTo>
                  <a:lnTo>
                    <a:pt x="651272" y="713308"/>
                  </a:lnTo>
                  <a:lnTo>
                    <a:pt x="683990" y="683977"/>
                  </a:lnTo>
                  <a:lnTo>
                    <a:pt x="713321" y="651259"/>
                  </a:lnTo>
                  <a:lnTo>
                    <a:pt x="738964" y="615455"/>
                  </a:lnTo>
                  <a:lnTo>
                    <a:pt x="760619" y="576864"/>
                  </a:lnTo>
                  <a:lnTo>
                    <a:pt x="777985" y="535789"/>
                  </a:lnTo>
                  <a:lnTo>
                    <a:pt x="790762" y="492529"/>
                  </a:lnTo>
                  <a:lnTo>
                    <a:pt x="798648" y="447386"/>
                  </a:lnTo>
                  <a:lnTo>
                    <a:pt x="801344" y="400659"/>
                  </a:lnTo>
                  <a:lnTo>
                    <a:pt x="798648" y="353935"/>
                  </a:lnTo>
                  <a:lnTo>
                    <a:pt x="790762" y="308793"/>
                  </a:lnTo>
                  <a:lnTo>
                    <a:pt x="777985" y="265536"/>
                  </a:lnTo>
                  <a:lnTo>
                    <a:pt x="760619" y="224462"/>
                  </a:lnTo>
                  <a:lnTo>
                    <a:pt x="738964" y="185873"/>
                  </a:lnTo>
                  <a:lnTo>
                    <a:pt x="713321" y="150070"/>
                  </a:lnTo>
                  <a:lnTo>
                    <a:pt x="683990" y="117352"/>
                  </a:lnTo>
                  <a:lnTo>
                    <a:pt x="651272" y="88022"/>
                  </a:lnTo>
                  <a:lnTo>
                    <a:pt x="615467" y="62379"/>
                  </a:lnTo>
                  <a:lnTo>
                    <a:pt x="576877" y="40724"/>
                  </a:lnTo>
                  <a:lnTo>
                    <a:pt x="535802" y="23358"/>
                  </a:lnTo>
                  <a:lnTo>
                    <a:pt x="492542" y="10582"/>
                  </a:lnTo>
                  <a:lnTo>
                    <a:pt x="447399" y="2695"/>
                  </a:lnTo>
                  <a:lnTo>
                    <a:pt x="400672" y="0"/>
                  </a:lnTo>
                  <a:close/>
                </a:path>
              </a:pathLst>
            </a:custGeom>
            <a:solidFill>
              <a:srgbClr val="0E5C77">
                <a:alpha val="23999"/>
              </a:srgbClr>
            </a:solidFill>
          </p:spPr>
          <p:txBody>
            <a:bodyPr wrap="square" lIns="0" tIns="0" rIns="0" bIns="0" rtlCol="0"/>
            <a:lstStyle/>
            <a:p>
              <a:endParaRPr/>
            </a:p>
          </p:txBody>
        </p:sp>
      </p:grpSp>
      <p:sp>
        <p:nvSpPr>
          <p:cNvPr id="30" name="Footer Placeholder 4">
            <a:extLst>
              <a:ext uri="{FF2B5EF4-FFF2-40B4-BE49-F238E27FC236}">
                <a16:creationId xmlns:a16="http://schemas.microsoft.com/office/drawing/2014/main" id="{02C401B5-B453-3BF0-01CE-3F0F63B03A02}"/>
              </a:ext>
            </a:extLst>
          </p:cNvPr>
          <p:cNvSpPr>
            <a:spLocks noGrp="1"/>
          </p:cNvSpPr>
          <p:nvPr userDrawn="1">
            <p:ph type="ftr" sz="quarter" idx="3"/>
          </p:nvPr>
        </p:nvSpPr>
        <p:spPr>
          <a:xfrm>
            <a:off x="735724" y="6114954"/>
            <a:ext cx="4929352" cy="365125"/>
          </a:xfrm>
          <a:prstGeom prst="rect">
            <a:avLst/>
          </a:prstGeom>
        </p:spPr>
        <p:txBody>
          <a:bodyPr/>
          <a:lstStyle>
            <a:lvl1pPr>
              <a:defRPr sz="1400">
                <a:solidFill>
                  <a:schemeClr val="tx2"/>
                </a:solidFill>
              </a:defRPr>
            </a:lvl1pPr>
          </a:lstStyle>
          <a:p>
            <a:endParaRPr lang="en-GB" dirty="0"/>
          </a:p>
        </p:txBody>
      </p:sp>
      <p:sp>
        <p:nvSpPr>
          <p:cNvPr id="2" name="Picture Placeholder 2">
            <a:extLst>
              <a:ext uri="{FF2B5EF4-FFF2-40B4-BE49-F238E27FC236}">
                <a16:creationId xmlns:a16="http://schemas.microsoft.com/office/drawing/2014/main" id="{8C7B287D-6B69-02D5-6050-7FEFF483FD05}"/>
              </a:ext>
            </a:extLst>
          </p:cNvPr>
          <p:cNvSpPr>
            <a:spLocks noGrp="1"/>
          </p:cNvSpPr>
          <p:nvPr>
            <p:ph type="pic" idx="10"/>
          </p:nvPr>
        </p:nvSpPr>
        <p:spPr>
          <a:xfrm>
            <a:off x="6254500" y="624086"/>
            <a:ext cx="7293907" cy="7195979"/>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GB" dirty="0"/>
          </a:p>
        </p:txBody>
      </p:sp>
    </p:spTree>
    <p:extLst>
      <p:ext uri="{BB962C8B-B14F-4D97-AF65-F5344CB8AC3E}">
        <p14:creationId xmlns:p14="http://schemas.microsoft.com/office/powerpoint/2010/main" val="22477724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bg object 16">
            <a:extLst>
              <a:ext uri="{FF2B5EF4-FFF2-40B4-BE49-F238E27FC236}">
                <a16:creationId xmlns:a16="http://schemas.microsoft.com/office/drawing/2014/main" id="{1C1A809C-5CEA-8589-BF5A-DB5080671874}"/>
              </a:ext>
            </a:extLst>
          </p:cNvPr>
          <p:cNvSpPr/>
          <p:nvPr userDrawn="1"/>
        </p:nvSpPr>
        <p:spPr>
          <a:xfrm>
            <a:off x="0" y="0"/>
            <a:ext cx="12196036" cy="6855696"/>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rgbClr val="000000"/>
          </a:solidFill>
        </p:spPr>
        <p:txBody>
          <a:bodyPr wrap="square" lIns="0" tIns="0" rIns="0" bIns="0" rtlCol="0"/>
          <a:lstStyle/>
          <a:p>
            <a:endParaRPr/>
          </a:p>
        </p:txBody>
      </p:sp>
      <p:sp>
        <p:nvSpPr>
          <p:cNvPr id="14" name="bg object 22">
            <a:extLst>
              <a:ext uri="{FF2B5EF4-FFF2-40B4-BE49-F238E27FC236}">
                <a16:creationId xmlns:a16="http://schemas.microsoft.com/office/drawing/2014/main" id="{C101554C-03ED-353A-FA67-D4D1210D0670}"/>
              </a:ext>
            </a:extLst>
          </p:cNvPr>
          <p:cNvSpPr/>
          <p:nvPr userDrawn="1"/>
        </p:nvSpPr>
        <p:spPr>
          <a:xfrm>
            <a:off x="7798070" y="0"/>
            <a:ext cx="4398117" cy="4355492"/>
          </a:xfrm>
          <a:custGeom>
            <a:avLst/>
            <a:gdLst/>
            <a:ahLst/>
            <a:cxnLst/>
            <a:rect l="l" t="t" r="r" b="b"/>
            <a:pathLst>
              <a:path w="4842509" h="4803140">
                <a:moveTo>
                  <a:pt x="747268" y="1282877"/>
                </a:moveTo>
                <a:lnTo>
                  <a:pt x="744347" y="1235252"/>
                </a:lnTo>
                <a:lnTo>
                  <a:pt x="735850" y="1189393"/>
                </a:lnTo>
                <a:lnTo>
                  <a:pt x="722109" y="1145654"/>
                </a:lnTo>
                <a:lnTo>
                  <a:pt x="703478" y="1104379"/>
                </a:lnTo>
                <a:lnTo>
                  <a:pt x="680313" y="1065949"/>
                </a:lnTo>
                <a:lnTo>
                  <a:pt x="652957" y="1030706"/>
                </a:lnTo>
                <a:lnTo>
                  <a:pt x="621766" y="999007"/>
                </a:lnTo>
                <a:lnTo>
                  <a:pt x="587095" y="971207"/>
                </a:lnTo>
                <a:lnTo>
                  <a:pt x="549275" y="947661"/>
                </a:lnTo>
                <a:lnTo>
                  <a:pt x="508673" y="928738"/>
                </a:lnTo>
                <a:lnTo>
                  <a:pt x="465620" y="914781"/>
                </a:lnTo>
                <a:lnTo>
                  <a:pt x="420497" y="906132"/>
                </a:lnTo>
                <a:lnTo>
                  <a:pt x="373634" y="903173"/>
                </a:lnTo>
                <a:lnTo>
                  <a:pt x="326758" y="906132"/>
                </a:lnTo>
                <a:lnTo>
                  <a:pt x="281635" y="914781"/>
                </a:lnTo>
                <a:lnTo>
                  <a:pt x="238582" y="928738"/>
                </a:lnTo>
                <a:lnTo>
                  <a:pt x="197980" y="947661"/>
                </a:lnTo>
                <a:lnTo>
                  <a:pt x="160159" y="971207"/>
                </a:lnTo>
                <a:lnTo>
                  <a:pt x="125488" y="999007"/>
                </a:lnTo>
                <a:lnTo>
                  <a:pt x="94297" y="1030706"/>
                </a:lnTo>
                <a:lnTo>
                  <a:pt x="66941" y="1065949"/>
                </a:lnTo>
                <a:lnTo>
                  <a:pt x="43776" y="1104379"/>
                </a:lnTo>
                <a:lnTo>
                  <a:pt x="25146" y="1145654"/>
                </a:lnTo>
                <a:lnTo>
                  <a:pt x="11404" y="1189393"/>
                </a:lnTo>
                <a:lnTo>
                  <a:pt x="2908" y="1235252"/>
                </a:lnTo>
                <a:lnTo>
                  <a:pt x="0" y="1282877"/>
                </a:lnTo>
                <a:lnTo>
                  <a:pt x="2908" y="1330515"/>
                </a:lnTo>
                <a:lnTo>
                  <a:pt x="11404" y="1376375"/>
                </a:lnTo>
                <a:lnTo>
                  <a:pt x="25146" y="1420126"/>
                </a:lnTo>
                <a:lnTo>
                  <a:pt x="43776" y="1461389"/>
                </a:lnTo>
                <a:lnTo>
                  <a:pt x="66941" y="1499819"/>
                </a:lnTo>
                <a:lnTo>
                  <a:pt x="94297" y="1535074"/>
                </a:lnTo>
                <a:lnTo>
                  <a:pt x="125488" y="1566773"/>
                </a:lnTo>
                <a:lnTo>
                  <a:pt x="160159" y="1594573"/>
                </a:lnTo>
                <a:lnTo>
                  <a:pt x="197980" y="1618107"/>
                </a:lnTo>
                <a:lnTo>
                  <a:pt x="238582" y="1637042"/>
                </a:lnTo>
                <a:lnTo>
                  <a:pt x="281635" y="1651000"/>
                </a:lnTo>
                <a:lnTo>
                  <a:pt x="326758" y="1659636"/>
                </a:lnTo>
                <a:lnTo>
                  <a:pt x="373634" y="1662595"/>
                </a:lnTo>
                <a:lnTo>
                  <a:pt x="420497" y="1659636"/>
                </a:lnTo>
                <a:lnTo>
                  <a:pt x="465620" y="1651000"/>
                </a:lnTo>
                <a:lnTo>
                  <a:pt x="508673" y="1637042"/>
                </a:lnTo>
                <a:lnTo>
                  <a:pt x="549275" y="1618107"/>
                </a:lnTo>
                <a:lnTo>
                  <a:pt x="587095" y="1594573"/>
                </a:lnTo>
                <a:lnTo>
                  <a:pt x="621766" y="1566773"/>
                </a:lnTo>
                <a:lnTo>
                  <a:pt x="652957" y="1535074"/>
                </a:lnTo>
                <a:lnTo>
                  <a:pt x="680313" y="1499819"/>
                </a:lnTo>
                <a:lnTo>
                  <a:pt x="703478" y="1461389"/>
                </a:lnTo>
                <a:lnTo>
                  <a:pt x="722109" y="1420126"/>
                </a:lnTo>
                <a:lnTo>
                  <a:pt x="735850" y="1376375"/>
                </a:lnTo>
                <a:lnTo>
                  <a:pt x="744347" y="1330515"/>
                </a:lnTo>
                <a:lnTo>
                  <a:pt x="747268" y="1282877"/>
                </a:lnTo>
                <a:close/>
              </a:path>
              <a:path w="4842509" h="4803140">
                <a:moveTo>
                  <a:pt x="1038237" y="2266010"/>
                </a:moveTo>
                <a:lnTo>
                  <a:pt x="1033195" y="2221458"/>
                </a:lnTo>
                <a:lnTo>
                  <a:pt x="1018806" y="2180552"/>
                </a:lnTo>
                <a:lnTo>
                  <a:pt x="996238" y="2144471"/>
                </a:lnTo>
                <a:lnTo>
                  <a:pt x="966635" y="2114385"/>
                </a:lnTo>
                <a:lnTo>
                  <a:pt x="931125" y="2091448"/>
                </a:lnTo>
                <a:lnTo>
                  <a:pt x="890879" y="2076831"/>
                </a:lnTo>
                <a:lnTo>
                  <a:pt x="847039" y="2071700"/>
                </a:lnTo>
                <a:lnTo>
                  <a:pt x="803198" y="2076831"/>
                </a:lnTo>
                <a:lnTo>
                  <a:pt x="762952" y="2091448"/>
                </a:lnTo>
                <a:lnTo>
                  <a:pt x="727456" y="2114385"/>
                </a:lnTo>
                <a:lnTo>
                  <a:pt x="697852" y="2144471"/>
                </a:lnTo>
                <a:lnTo>
                  <a:pt x="675284" y="2180552"/>
                </a:lnTo>
                <a:lnTo>
                  <a:pt x="660895" y="2221458"/>
                </a:lnTo>
                <a:lnTo>
                  <a:pt x="655840" y="2266010"/>
                </a:lnTo>
                <a:lnTo>
                  <a:pt x="660895" y="2310561"/>
                </a:lnTo>
                <a:lnTo>
                  <a:pt x="675284" y="2351455"/>
                </a:lnTo>
                <a:lnTo>
                  <a:pt x="697852" y="2387536"/>
                </a:lnTo>
                <a:lnTo>
                  <a:pt x="727456" y="2417635"/>
                </a:lnTo>
                <a:lnTo>
                  <a:pt x="762952" y="2440571"/>
                </a:lnTo>
                <a:lnTo>
                  <a:pt x="803198" y="2455189"/>
                </a:lnTo>
                <a:lnTo>
                  <a:pt x="847039" y="2460320"/>
                </a:lnTo>
                <a:lnTo>
                  <a:pt x="890879" y="2455189"/>
                </a:lnTo>
                <a:lnTo>
                  <a:pt x="931125" y="2440571"/>
                </a:lnTo>
                <a:lnTo>
                  <a:pt x="966635" y="2417635"/>
                </a:lnTo>
                <a:lnTo>
                  <a:pt x="996238" y="2387536"/>
                </a:lnTo>
                <a:lnTo>
                  <a:pt x="1018806" y="2351455"/>
                </a:lnTo>
                <a:lnTo>
                  <a:pt x="1033195" y="2310561"/>
                </a:lnTo>
                <a:lnTo>
                  <a:pt x="1038237" y="2266010"/>
                </a:lnTo>
                <a:close/>
              </a:path>
              <a:path w="4842509" h="4803140">
                <a:moveTo>
                  <a:pt x="1353693" y="196011"/>
                </a:moveTo>
                <a:lnTo>
                  <a:pt x="1349044" y="149148"/>
                </a:lnTo>
                <a:lnTo>
                  <a:pt x="1335709" y="105486"/>
                </a:lnTo>
                <a:lnTo>
                  <a:pt x="1314615" y="65989"/>
                </a:lnTo>
                <a:lnTo>
                  <a:pt x="1286675" y="31572"/>
                </a:lnTo>
                <a:lnTo>
                  <a:pt x="1252804" y="3175"/>
                </a:lnTo>
                <a:lnTo>
                  <a:pt x="1247063" y="0"/>
                </a:lnTo>
                <a:lnTo>
                  <a:pt x="1002677" y="0"/>
                </a:lnTo>
                <a:lnTo>
                  <a:pt x="963053" y="31572"/>
                </a:lnTo>
                <a:lnTo>
                  <a:pt x="935113" y="65989"/>
                </a:lnTo>
                <a:lnTo>
                  <a:pt x="914019" y="105486"/>
                </a:lnTo>
                <a:lnTo>
                  <a:pt x="900684" y="149148"/>
                </a:lnTo>
                <a:lnTo>
                  <a:pt x="896035" y="196011"/>
                </a:lnTo>
                <a:lnTo>
                  <a:pt x="900684" y="242874"/>
                </a:lnTo>
                <a:lnTo>
                  <a:pt x="914019" y="286524"/>
                </a:lnTo>
                <a:lnTo>
                  <a:pt x="935113" y="326034"/>
                </a:lnTo>
                <a:lnTo>
                  <a:pt x="963053" y="360451"/>
                </a:lnTo>
                <a:lnTo>
                  <a:pt x="996924" y="388848"/>
                </a:lnTo>
                <a:lnTo>
                  <a:pt x="1035799" y="410286"/>
                </a:lnTo>
                <a:lnTo>
                  <a:pt x="1078750" y="423837"/>
                </a:lnTo>
                <a:lnTo>
                  <a:pt x="1124864" y="428561"/>
                </a:lnTo>
                <a:lnTo>
                  <a:pt x="1170978" y="423837"/>
                </a:lnTo>
                <a:lnTo>
                  <a:pt x="1213929" y="410286"/>
                </a:lnTo>
                <a:lnTo>
                  <a:pt x="1252804" y="388848"/>
                </a:lnTo>
                <a:lnTo>
                  <a:pt x="1286675" y="360451"/>
                </a:lnTo>
                <a:lnTo>
                  <a:pt x="1314615" y="326034"/>
                </a:lnTo>
                <a:lnTo>
                  <a:pt x="1335709" y="286524"/>
                </a:lnTo>
                <a:lnTo>
                  <a:pt x="1349044" y="242874"/>
                </a:lnTo>
                <a:lnTo>
                  <a:pt x="1353693" y="196011"/>
                </a:lnTo>
                <a:close/>
              </a:path>
              <a:path w="4842509" h="4803140">
                <a:moveTo>
                  <a:pt x="2336165" y="3322891"/>
                </a:moveTo>
                <a:lnTo>
                  <a:pt x="2331415" y="3275126"/>
                </a:lnTo>
                <a:lnTo>
                  <a:pt x="2317826" y="3230638"/>
                </a:lnTo>
                <a:lnTo>
                  <a:pt x="2296325" y="3190392"/>
                </a:lnTo>
                <a:lnTo>
                  <a:pt x="2267851" y="3155315"/>
                </a:lnTo>
                <a:lnTo>
                  <a:pt x="2233333" y="3126371"/>
                </a:lnTo>
                <a:lnTo>
                  <a:pt x="2193721" y="3104527"/>
                </a:lnTo>
                <a:lnTo>
                  <a:pt x="2149945" y="3090710"/>
                </a:lnTo>
                <a:lnTo>
                  <a:pt x="2102954" y="3085896"/>
                </a:lnTo>
                <a:lnTo>
                  <a:pt x="2055952" y="3090710"/>
                </a:lnTo>
                <a:lnTo>
                  <a:pt x="2012175" y="3104527"/>
                </a:lnTo>
                <a:lnTo>
                  <a:pt x="1972564" y="3126371"/>
                </a:lnTo>
                <a:lnTo>
                  <a:pt x="1938058" y="3155315"/>
                </a:lnTo>
                <a:lnTo>
                  <a:pt x="1909572" y="3190392"/>
                </a:lnTo>
                <a:lnTo>
                  <a:pt x="1888070" y="3230638"/>
                </a:lnTo>
                <a:lnTo>
                  <a:pt x="1874494" y="3275126"/>
                </a:lnTo>
                <a:lnTo>
                  <a:pt x="1869757" y="3322891"/>
                </a:lnTo>
                <a:lnTo>
                  <a:pt x="1874494" y="3370656"/>
                </a:lnTo>
                <a:lnTo>
                  <a:pt x="1888070" y="3415144"/>
                </a:lnTo>
                <a:lnTo>
                  <a:pt x="1909572" y="3455403"/>
                </a:lnTo>
                <a:lnTo>
                  <a:pt x="1938058" y="3490480"/>
                </a:lnTo>
                <a:lnTo>
                  <a:pt x="1972564" y="3519424"/>
                </a:lnTo>
                <a:lnTo>
                  <a:pt x="2012175" y="3541280"/>
                </a:lnTo>
                <a:lnTo>
                  <a:pt x="2055952" y="3555085"/>
                </a:lnTo>
                <a:lnTo>
                  <a:pt x="2102954" y="3559899"/>
                </a:lnTo>
                <a:lnTo>
                  <a:pt x="2149945" y="3555085"/>
                </a:lnTo>
                <a:lnTo>
                  <a:pt x="2193721" y="3541280"/>
                </a:lnTo>
                <a:lnTo>
                  <a:pt x="2233333" y="3519424"/>
                </a:lnTo>
                <a:lnTo>
                  <a:pt x="2267851" y="3490480"/>
                </a:lnTo>
                <a:lnTo>
                  <a:pt x="2296325" y="3455403"/>
                </a:lnTo>
                <a:lnTo>
                  <a:pt x="2317826" y="3415144"/>
                </a:lnTo>
                <a:lnTo>
                  <a:pt x="2331415" y="3370656"/>
                </a:lnTo>
                <a:lnTo>
                  <a:pt x="2336165" y="3322891"/>
                </a:lnTo>
                <a:close/>
              </a:path>
              <a:path w="4842509" h="4803140">
                <a:moveTo>
                  <a:pt x="2815031" y="1449959"/>
                </a:moveTo>
                <a:lnTo>
                  <a:pt x="2805074" y="1400657"/>
                </a:lnTo>
                <a:lnTo>
                  <a:pt x="2777921" y="1360385"/>
                </a:lnTo>
                <a:lnTo>
                  <a:pt x="2737650" y="1333233"/>
                </a:lnTo>
                <a:lnTo>
                  <a:pt x="2688348" y="1323276"/>
                </a:lnTo>
                <a:lnTo>
                  <a:pt x="1587842" y="1323276"/>
                </a:lnTo>
                <a:lnTo>
                  <a:pt x="1594739" y="1293037"/>
                </a:lnTo>
                <a:lnTo>
                  <a:pt x="1611210" y="1231938"/>
                </a:lnTo>
                <a:lnTo>
                  <a:pt x="1635810" y="1161021"/>
                </a:lnTo>
                <a:lnTo>
                  <a:pt x="1653717" y="1120343"/>
                </a:lnTo>
                <a:lnTo>
                  <a:pt x="1674545" y="1079030"/>
                </a:lnTo>
                <a:lnTo>
                  <a:pt x="1698117" y="1037107"/>
                </a:lnTo>
                <a:lnTo>
                  <a:pt x="1724279" y="994613"/>
                </a:lnTo>
                <a:lnTo>
                  <a:pt x="1724837" y="994613"/>
                </a:lnTo>
                <a:lnTo>
                  <a:pt x="1725358" y="994778"/>
                </a:lnTo>
                <a:lnTo>
                  <a:pt x="2587726" y="994778"/>
                </a:lnTo>
                <a:lnTo>
                  <a:pt x="2588539" y="994613"/>
                </a:lnTo>
                <a:lnTo>
                  <a:pt x="2637028" y="984821"/>
                </a:lnTo>
                <a:lnTo>
                  <a:pt x="2677299" y="957668"/>
                </a:lnTo>
                <a:lnTo>
                  <a:pt x="2704452" y="917409"/>
                </a:lnTo>
                <a:lnTo>
                  <a:pt x="2714409" y="868095"/>
                </a:lnTo>
                <a:lnTo>
                  <a:pt x="2704452" y="818794"/>
                </a:lnTo>
                <a:lnTo>
                  <a:pt x="2677299" y="778522"/>
                </a:lnTo>
                <a:lnTo>
                  <a:pt x="2637028" y="751370"/>
                </a:lnTo>
                <a:lnTo>
                  <a:pt x="2587726" y="741413"/>
                </a:lnTo>
                <a:lnTo>
                  <a:pt x="1918449" y="741413"/>
                </a:lnTo>
                <a:lnTo>
                  <a:pt x="1948662" y="707326"/>
                </a:lnTo>
                <a:lnTo>
                  <a:pt x="1979866" y="672985"/>
                </a:lnTo>
                <a:lnTo>
                  <a:pt x="2012010" y="638390"/>
                </a:lnTo>
                <a:lnTo>
                  <a:pt x="2045055" y="603554"/>
                </a:lnTo>
                <a:lnTo>
                  <a:pt x="2078926" y="568502"/>
                </a:lnTo>
                <a:lnTo>
                  <a:pt x="2113610" y="533209"/>
                </a:lnTo>
                <a:lnTo>
                  <a:pt x="2149030" y="497700"/>
                </a:lnTo>
                <a:lnTo>
                  <a:pt x="2185162" y="461987"/>
                </a:lnTo>
                <a:lnTo>
                  <a:pt x="2221954" y="426072"/>
                </a:lnTo>
                <a:lnTo>
                  <a:pt x="2297303" y="353644"/>
                </a:lnTo>
                <a:lnTo>
                  <a:pt x="2414079" y="243662"/>
                </a:lnTo>
                <a:lnTo>
                  <a:pt x="2677630" y="12"/>
                </a:lnTo>
                <a:lnTo>
                  <a:pt x="2136800" y="12"/>
                </a:lnTo>
                <a:lnTo>
                  <a:pt x="2069376" y="63487"/>
                </a:lnTo>
                <a:lnTo>
                  <a:pt x="1987892" y="141401"/>
                </a:lnTo>
                <a:lnTo>
                  <a:pt x="1947964" y="180200"/>
                </a:lnTo>
                <a:lnTo>
                  <a:pt x="1908632" y="218884"/>
                </a:lnTo>
                <a:lnTo>
                  <a:pt x="1869922" y="257467"/>
                </a:lnTo>
                <a:lnTo>
                  <a:pt x="1831911" y="295948"/>
                </a:lnTo>
                <a:lnTo>
                  <a:pt x="1794637" y="334327"/>
                </a:lnTo>
                <a:lnTo>
                  <a:pt x="1758124" y="372618"/>
                </a:lnTo>
                <a:lnTo>
                  <a:pt x="1722450" y="410806"/>
                </a:lnTo>
                <a:lnTo>
                  <a:pt x="1687626" y="448906"/>
                </a:lnTo>
                <a:lnTo>
                  <a:pt x="1653730" y="486918"/>
                </a:lnTo>
                <a:lnTo>
                  <a:pt x="1620786" y="524840"/>
                </a:lnTo>
                <a:lnTo>
                  <a:pt x="1588846" y="562686"/>
                </a:lnTo>
                <a:lnTo>
                  <a:pt x="1557959" y="600443"/>
                </a:lnTo>
                <a:lnTo>
                  <a:pt x="1528152" y="638124"/>
                </a:lnTo>
                <a:lnTo>
                  <a:pt x="1499501" y="675716"/>
                </a:lnTo>
                <a:lnTo>
                  <a:pt x="1472018" y="713244"/>
                </a:lnTo>
                <a:lnTo>
                  <a:pt x="1445780" y="750697"/>
                </a:lnTo>
                <a:lnTo>
                  <a:pt x="1420812" y="788073"/>
                </a:lnTo>
                <a:lnTo>
                  <a:pt x="1397165" y="825385"/>
                </a:lnTo>
                <a:lnTo>
                  <a:pt x="1374889" y="862634"/>
                </a:lnTo>
                <a:lnTo>
                  <a:pt x="1354023" y="899820"/>
                </a:lnTo>
                <a:lnTo>
                  <a:pt x="1334604" y="936955"/>
                </a:lnTo>
                <a:lnTo>
                  <a:pt x="1316697" y="974013"/>
                </a:lnTo>
                <a:lnTo>
                  <a:pt x="1300340" y="1011021"/>
                </a:lnTo>
                <a:lnTo>
                  <a:pt x="1285570" y="1047978"/>
                </a:lnTo>
                <a:lnTo>
                  <a:pt x="1272451" y="1084884"/>
                </a:lnTo>
                <a:lnTo>
                  <a:pt x="1251242" y="1153655"/>
                </a:lnTo>
                <a:lnTo>
                  <a:pt x="1233639" y="1221536"/>
                </a:lnTo>
                <a:lnTo>
                  <a:pt x="1219492" y="1288491"/>
                </a:lnTo>
                <a:lnTo>
                  <a:pt x="1208646" y="1354493"/>
                </a:lnTo>
                <a:lnTo>
                  <a:pt x="1200962" y="1419517"/>
                </a:lnTo>
                <a:lnTo>
                  <a:pt x="1196276" y="1483499"/>
                </a:lnTo>
                <a:lnTo>
                  <a:pt x="1194447" y="1546440"/>
                </a:lnTo>
                <a:lnTo>
                  <a:pt x="1195324" y="1608264"/>
                </a:lnTo>
                <a:lnTo>
                  <a:pt x="1198753" y="1668970"/>
                </a:lnTo>
                <a:lnTo>
                  <a:pt x="1204595" y="1728508"/>
                </a:lnTo>
                <a:lnTo>
                  <a:pt x="1212684" y="1786839"/>
                </a:lnTo>
                <a:lnTo>
                  <a:pt x="1222870" y="1843925"/>
                </a:lnTo>
                <a:lnTo>
                  <a:pt x="1235024" y="1899742"/>
                </a:lnTo>
                <a:lnTo>
                  <a:pt x="1248981" y="1954237"/>
                </a:lnTo>
                <a:lnTo>
                  <a:pt x="1264589" y="2007400"/>
                </a:lnTo>
                <a:lnTo>
                  <a:pt x="1281709" y="2059178"/>
                </a:lnTo>
                <a:lnTo>
                  <a:pt x="1300175" y="2109533"/>
                </a:lnTo>
                <a:lnTo>
                  <a:pt x="1319860" y="2158441"/>
                </a:lnTo>
                <a:lnTo>
                  <a:pt x="1340586" y="2205863"/>
                </a:lnTo>
                <a:lnTo>
                  <a:pt x="1362227" y="2251748"/>
                </a:lnTo>
                <a:lnTo>
                  <a:pt x="1384617" y="2296083"/>
                </a:lnTo>
                <a:lnTo>
                  <a:pt x="1407617" y="2338819"/>
                </a:lnTo>
                <a:lnTo>
                  <a:pt x="1431074" y="2379916"/>
                </a:lnTo>
                <a:lnTo>
                  <a:pt x="1454835" y="2419350"/>
                </a:lnTo>
                <a:lnTo>
                  <a:pt x="1478749" y="2457081"/>
                </a:lnTo>
                <a:lnTo>
                  <a:pt x="1502676" y="2493073"/>
                </a:lnTo>
                <a:lnTo>
                  <a:pt x="1526451" y="2527300"/>
                </a:lnTo>
                <a:lnTo>
                  <a:pt x="1549946" y="2559710"/>
                </a:lnTo>
                <a:lnTo>
                  <a:pt x="1572983" y="2590266"/>
                </a:lnTo>
                <a:lnTo>
                  <a:pt x="1617141" y="2645714"/>
                </a:lnTo>
                <a:lnTo>
                  <a:pt x="1657718" y="2693352"/>
                </a:lnTo>
                <a:lnTo>
                  <a:pt x="1693532" y="2732887"/>
                </a:lnTo>
                <a:lnTo>
                  <a:pt x="1723364" y="2764040"/>
                </a:lnTo>
                <a:lnTo>
                  <a:pt x="1754289" y="2794431"/>
                </a:lnTo>
                <a:lnTo>
                  <a:pt x="1791779" y="2824124"/>
                </a:lnTo>
                <a:lnTo>
                  <a:pt x="1853996" y="2847721"/>
                </a:lnTo>
                <a:lnTo>
                  <a:pt x="1886724" y="2850654"/>
                </a:lnTo>
                <a:lnTo>
                  <a:pt x="1923973" y="2846857"/>
                </a:lnTo>
                <a:lnTo>
                  <a:pt x="1993277" y="2816644"/>
                </a:lnTo>
                <a:lnTo>
                  <a:pt x="2022830" y="2790367"/>
                </a:lnTo>
                <a:lnTo>
                  <a:pt x="2050745" y="2749880"/>
                </a:lnTo>
                <a:lnTo>
                  <a:pt x="2066505" y="2705011"/>
                </a:lnTo>
                <a:lnTo>
                  <a:pt x="2070239" y="2658224"/>
                </a:lnTo>
                <a:lnTo>
                  <a:pt x="2062073" y="2611996"/>
                </a:lnTo>
                <a:lnTo>
                  <a:pt x="2042134" y="2568778"/>
                </a:lnTo>
                <a:lnTo>
                  <a:pt x="2010562" y="2531059"/>
                </a:lnTo>
                <a:lnTo>
                  <a:pt x="2002307" y="2523312"/>
                </a:lnTo>
                <a:lnTo>
                  <a:pt x="1986203" y="2507475"/>
                </a:lnTo>
                <a:lnTo>
                  <a:pt x="1934933" y="2452725"/>
                </a:lnTo>
                <a:lnTo>
                  <a:pt x="1902015" y="2414397"/>
                </a:lnTo>
                <a:lnTo>
                  <a:pt x="1865718" y="2369159"/>
                </a:lnTo>
                <a:lnTo>
                  <a:pt x="1827174" y="2317305"/>
                </a:lnTo>
                <a:lnTo>
                  <a:pt x="1787486" y="2259114"/>
                </a:lnTo>
                <a:lnTo>
                  <a:pt x="1747786" y="2194903"/>
                </a:lnTo>
                <a:lnTo>
                  <a:pt x="1709204" y="2124951"/>
                </a:lnTo>
                <a:lnTo>
                  <a:pt x="2085060" y="2124951"/>
                </a:lnTo>
                <a:lnTo>
                  <a:pt x="2134362" y="2114994"/>
                </a:lnTo>
                <a:lnTo>
                  <a:pt x="2174633" y="2087841"/>
                </a:lnTo>
                <a:lnTo>
                  <a:pt x="2201786" y="2047582"/>
                </a:lnTo>
                <a:lnTo>
                  <a:pt x="2211743" y="1998268"/>
                </a:lnTo>
                <a:lnTo>
                  <a:pt x="2201786" y="1948967"/>
                </a:lnTo>
                <a:lnTo>
                  <a:pt x="2174633" y="1908695"/>
                </a:lnTo>
                <a:lnTo>
                  <a:pt x="2134362" y="1881543"/>
                </a:lnTo>
                <a:lnTo>
                  <a:pt x="2085060" y="1871586"/>
                </a:lnTo>
                <a:lnTo>
                  <a:pt x="1607959" y="1871586"/>
                </a:lnTo>
                <a:lnTo>
                  <a:pt x="1595729" y="1825244"/>
                </a:lnTo>
                <a:lnTo>
                  <a:pt x="1585214" y="1777720"/>
                </a:lnTo>
                <a:lnTo>
                  <a:pt x="1576565" y="1729054"/>
                </a:lnTo>
                <a:lnTo>
                  <a:pt x="1569910" y="1679295"/>
                </a:lnTo>
                <a:lnTo>
                  <a:pt x="1565402" y="1628482"/>
                </a:lnTo>
                <a:lnTo>
                  <a:pt x="1563192" y="1576641"/>
                </a:lnTo>
                <a:lnTo>
                  <a:pt x="2688348" y="1576641"/>
                </a:lnTo>
                <a:lnTo>
                  <a:pt x="2737650" y="1566697"/>
                </a:lnTo>
                <a:lnTo>
                  <a:pt x="2777921" y="1539544"/>
                </a:lnTo>
                <a:lnTo>
                  <a:pt x="2805074" y="1499273"/>
                </a:lnTo>
                <a:lnTo>
                  <a:pt x="2815031" y="1449959"/>
                </a:lnTo>
                <a:close/>
              </a:path>
              <a:path w="4842509" h="4803140">
                <a:moveTo>
                  <a:pt x="3022498" y="1998268"/>
                </a:moveTo>
                <a:lnTo>
                  <a:pt x="3012541" y="1948967"/>
                </a:lnTo>
                <a:lnTo>
                  <a:pt x="2985389" y="1908695"/>
                </a:lnTo>
                <a:lnTo>
                  <a:pt x="2945130" y="1881543"/>
                </a:lnTo>
                <a:lnTo>
                  <a:pt x="2895816" y="1871586"/>
                </a:lnTo>
                <a:lnTo>
                  <a:pt x="2492959" y="1871586"/>
                </a:lnTo>
                <a:lnTo>
                  <a:pt x="2443645" y="1881543"/>
                </a:lnTo>
                <a:lnTo>
                  <a:pt x="2403373" y="1908695"/>
                </a:lnTo>
                <a:lnTo>
                  <a:pt x="2376220" y="1948967"/>
                </a:lnTo>
                <a:lnTo>
                  <a:pt x="2366264" y="1998268"/>
                </a:lnTo>
                <a:lnTo>
                  <a:pt x="2376220" y="2047582"/>
                </a:lnTo>
                <a:lnTo>
                  <a:pt x="2403373" y="2087854"/>
                </a:lnTo>
                <a:lnTo>
                  <a:pt x="2443645" y="2114994"/>
                </a:lnTo>
                <a:lnTo>
                  <a:pt x="2492959" y="2124951"/>
                </a:lnTo>
                <a:lnTo>
                  <a:pt x="2895816" y="2124951"/>
                </a:lnTo>
                <a:lnTo>
                  <a:pt x="2945130" y="2114994"/>
                </a:lnTo>
                <a:lnTo>
                  <a:pt x="2985389" y="2087854"/>
                </a:lnTo>
                <a:lnTo>
                  <a:pt x="3012541" y="2047582"/>
                </a:lnTo>
                <a:lnTo>
                  <a:pt x="3022498" y="1998268"/>
                </a:lnTo>
                <a:close/>
              </a:path>
              <a:path w="4842509" h="4803140">
                <a:moveTo>
                  <a:pt x="3290455" y="860463"/>
                </a:moveTo>
                <a:lnTo>
                  <a:pt x="3285413" y="815911"/>
                </a:lnTo>
                <a:lnTo>
                  <a:pt x="3271024" y="775017"/>
                </a:lnTo>
                <a:lnTo>
                  <a:pt x="3248456" y="738936"/>
                </a:lnTo>
                <a:lnTo>
                  <a:pt x="3218853" y="708850"/>
                </a:lnTo>
                <a:lnTo>
                  <a:pt x="3183344" y="685914"/>
                </a:lnTo>
                <a:lnTo>
                  <a:pt x="3143097" y="671296"/>
                </a:lnTo>
                <a:lnTo>
                  <a:pt x="3099257" y="666165"/>
                </a:lnTo>
                <a:lnTo>
                  <a:pt x="3055429" y="671296"/>
                </a:lnTo>
                <a:lnTo>
                  <a:pt x="3015183" y="685914"/>
                </a:lnTo>
                <a:lnTo>
                  <a:pt x="2979674" y="708850"/>
                </a:lnTo>
                <a:lnTo>
                  <a:pt x="2950070" y="738936"/>
                </a:lnTo>
                <a:lnTo>
                  <a:pt x="2927502" y="775017"/>
                </a:lnTo>
                <a:lnTo>
                  <a:pt x="2913113" y="815911"/>
                </a:lnTo>
                <a:lnTo>
                  <a:pt x="2908058" y="860463"/>
                </a:lnTo>
                <a:lnTo>
                  <a:pt x="2913113" y="905027"/>
                </a:lnTo>
                <a:lnTo>
                  <a:pt x="2927502" y="945921"/>
                </a:lnTo>
                <a:lnTo>
                  <a:pt x="2950070" y="982002"/>
                </a:lnTo>
                <a:lnTo>
                  <a:pt x="2979674" y="1012088"/>
                </a:lnTo>
                <a:lnTo>
                  <a:pt x="3015183" y="1035024"/>
                </a:lnTo>
                <a:lnTo>
                  <a:pt x="3055429" y="1049642"/>
                </a:lnTo>
                <a:lnTo>
                  <a:pt x="3099257" y="1054773"/>
                </a:lnTo>
                <a:lnTo>
                  <a:pt x="3143097" y="1049642"/>
                </a:lnTo>
                <a:lnTo>
                  <a:pt x="3183344" y="1035024"/>
                </a:lnTo>
                <a:lnTo>
                  <a:pt x="3218853" y="1012088"/>
                </a:lnTo>
                <a:lnTo>
                  <a:pt x="3248456" y="982002"/>
                </a:lnTo>
                <a:lnTo>
                  <a:pt x="3271024" y="945921"/>
                </a:lnTo>
                <a:lnTo>
                  <a:pt x="3285413" y="905027"/>
                </a:lnTo>
                <a:lnTo>
                  <a:pt x="3290455" y="860463"/>
                </a:lnTo>
                <a:close/>
              </a:path>
              <a:path w="4842509" h="4803140">
                <a:moveTo>
                  <a:pt x="3455378" y="1436839"/>
                </a:moveTo>
                <a:lnTo>
                  <a:pt x="3449624" y="1393291"/>
                </a:lnTo>
                <a:lnTo>
                  <a:pt x="3433368" y="1354150"/>
                </a:lnTo>
                <a:lnTo>
                  <a:pt x="3408159" y="1320990"/>
                </a:lnTo>
                <a:lnTo>
                  <a:pt x="3375533" y="1295374"/>
                </a:lnTo>
                <a:lnTo>
                  <a:pt x="3337026" y="1278864"/>
                </a:lnTo>
                <a:lnTo>
                  <a:pt x="3294164" y="1273009"/>
                </a:lnTo>
                <a:lnTo>
                  <a:pt x="3251314" y="1278864"/>
                </a:lnTo>
                <a:lnTo>
                  <a:pt x="3212795" y="1295374"/>
                </a:lnTo>
                <a:lnTo>
                  <a:pt x="3180169" y="1320990"/>
                </a:lnTo>
                <a:lnTo>
                  <a:pt x="3154959" y="1354150"/>
                </a:lnTo>
                <a:lnTo>
                  <a:pt x="3138716" y="1393291"/>
                </a:lnTo>
                <a:lnTo>
                  <a:pt x="3132950" y="1436839"/>
                </a:lnTo>
                <a:lnTo>
                  <a:pt x="3138716" y="1480388"/>
                </a:lnTo>
                <a:lnTo>
                  <a:pt x="3154959" y="1519529"/>
                </a:lnTo>
                <a:lnTo>
                  <a:pt x="3180169" y="1552689"/>
                </a:lnTo>
                <a:lnTo>
                  <a:pt x="3212795" y="1578305"/>
                </a:lnTo>
                <a:lnTo>
                  <a:pt x="3251314" y="1594815"/>
                </a:lnTo>
                <a:lnTo>
                  <a:pt x="3294164" y="1600669"/>
                </a:lnTo>
                <a:lnTo>
                  <a:pt x="3337026" y="1594815"/>
                </a:lnTo>
                <a:lnTo>
                  <a:pt x="3375533" y="1578305"/>
                </a:lnTo>
                <a:lnTo>
                  <a:pt x="3408159" y="1552689"/>
                </a:lnTo>
                <a:lnTo>
                  <a:pt x="3433368" y="1519529"/>
                </a:lnTo>
                <a:lnTo>
                  <a:pt x="3449624" y="1480388"/>
                </a:lnTo>
                <a:lnTo>
                  <a:pt x="3455378" y="1436839"/>
                </a:lnTo>
                <a:close/>
              </a:path>
              <a:path w="4842509" h="4803140">
                <a:moveTo>
                  <a:pt x="3677882" y="141617"/>
                </a:moveTo>
                <a:lnTo>
                  <a:pt x="3669868" y="91109"/>
                </a:lnTo>
                <a:lnTo>
                  <a:pt x="3647541" y="47244"/>
                </a:lnTo>
                <a:lnTo>
                  <a:pt x="3613505" y="12661"/>
                </a:lnTo>
                <a:lnTo>
                  <a:pt x="3589439" y="0"/>
                </a:lnTo>
                <a:lnTo>
                  <a:pt x="3451847" y="0"/>
                </a:lnTo>
                <a:lnTo>
                  <a:pt x="3427780" y="12661"/>
                </a:lnTo>
                <a:lnTo>
                  <a:pt x="3393744" y="47244"/>
                </a:lnTo>
                <a:lnTo>
                  <a:pt x="3371418" y="91109"/>
                </a:lnTo>
                <a:lnTo>
                  <a:pt x="3363404" y="141617"/>
                </a:lnTo>
                <a:lnTo>
                  <a:pt x="3371418" y="192125"/>
                </a:lnTo>
                <a:lnTo>
                  <a:pt x="3393744" y="235991"/>
                </a:lnTo>
                <a:lnTo>
                  <a:pt x="3427780" y="270573"/>
                </a:lnTo>
                <a:lnTo>
                  <a:pt x="3470935" y="293268"/>
                </a:lnTo>
                <a:lnTo>
                  <a:pt x="3520643" y="301409"/>
                </a:lnTo>
                <a:lnTo>
                  <a:pt x="3570338" y="293268"/>
                </a:lnTo>
                <a:lnTo>
                  <a:pt x="3613505" y="270573"/>
                </a:lnTo>
                <a:lnTo>
                  <a:pt x="3647541" y="235991"/>
                </a:lnTo>
                <a:lnTo>
                  <a:pt x="3669868" y="192125"/>
                </a:lnTo>
                <a:lnTo>
                  <a:pt x="3677882" y="141617"/>
                </a:lnTo>
                <a:close/>
              </a:path>
              <a:path w="4842509" h="4803140">
                <a:moveTo>
                  <a:pt x="3887127" y="709460"/>
                </a:moveTo>
                <a:lnTo>
                  <a:pt x="3882085" y="664908"/>
                </a:lnTo>
                <a:lnTo>
                  <a:pt x="3867696" y="624001"/>
                </a:lnTo>
                <a:lnTo>
                  <a:pt x="3845128" y="587933"/>
                </a:lnTo>
                <a:lnTo>
                  <a:pt x="3815524" y="557834"/>
                </a:lnTo>
                <a:lnTo>
                  <a:pt x="3780015" y="534898"/>
                </a:lnTo>
                <a:lnTo>
                  <a:pt x="3739769" y="520280"/>
                </a:lnTo>
                <a:lnTo>
                  <a:pt x="3695928" y="515150"/>
                </a:lnTo>
                <a:lnTo>
                  <a:pt x="3652101" y="520280"/>
                </a:lnTo>
                <a:lnTo>
                  <a:pt x="3611854" y="534898"/>
                </a:lnTo>
                <a:lnTo>
                  <a:pt x="3576345" y="557834"/>
                </a:lnTo>
                <a:lnTo>
                  <a:pt x="3546741" y="587933"/>
                </a:lnTo>
                <a:lnTo>
                  <a:pt x="3524173" y="624001"/>
                </a:lnTo>
                <a:lnTo>
                  <a:pt x="3509784" y="664908"/>
                </a:lnTo>
                <a:lnTo>
                  <a:pt x="3504730" y="709460"/>
                </a:lnTo>
                <a:lnTo>
                  <a:pt x="3509784" y="754011"/>
                </a:lnTo>
                <a:lnTo>
                  <a:pt x="3524173" y="794918"/>
                </a:lnTo>
                <a:lnTo>
                  <a:pt x="3546741" y="830986"/>
                </a:lnTo>
                <a:lnTo>
                  <a:pt x="3576345" y="861085"/>
                </a:lnTo>
                <a:lnTo>
                  <a:pt x="3611854" y="884021"/>
                </a:lnTo>
                <a:lnTo>
                  <a:pt x="3652101" y="898639"/>
                </a:lnTo>
                <a:lnTo>
                  <a:pt x="3695928" y="903770"/>
                </a:lnTo>
                <a:lnTo>
                  <a:pt x="3739769" y="898639"/>
                </a:lnTo>
                <a:lnTo>
                  <a:pt x="3780015" y="884021"/>
                </a:lnTo>
                <a:lnTo>
                  <a:pt x="3815524" y="861085"/>
                </a:lnTo>
                <a:lnTo>
                  <a:pt x="3845128" y="830986"/>
                </a:lnTo>
                <a:lnTo>
                  <a:pt x="3867696" y="794918"/>
                </a:lnTo>
                <a:lnTo>
                  <a:pt x="3882085" y="754011"/>
                </a:lnTo>
                <a:lnTo>
                  <a:pt x="3887127" y="709460"/>
                </a:lnTo>
                <a:close/>
              </a:path>
              <a:path w="4842509" h="4803140">
                <a:moveTo>
                  <a:pt x="4802949" y="2817431"/>
                </a:moveTo>
                <a:lnTo>
                  <a:pt x="4797895" y="2772880"/>
                </a:lnTo>
                <a:lnTo>
                  <a:pt x="4783518" y="2731973"/>
                </a:lnTo>
                <a:lnTo>
                  <a:pt x="4760950" y="2695892"/>
                </a:lnTo>
                <a:lnTo>
                  <a:pt x="4731334" y="2665806"/>
                </a:lnTo>
                <a:lnTo>
                  <a:pt x="4695837" y="2642870"/>
                </a:lnTo>
                <a:lnTo>
                  <a:pt x="4655591" y="2628252"/>
                </a:lnTo>
                <a:lnTo>
                  <a:pt x="4611751" y="2623121"/>
                </a:lnTo>
                <a:lnTo>
                  <a:pt x="4567910" y="2628252"/>
                </a:lnTo>
                <a:lnTo>
                  <a:pt x="4527664" y="2642870"/>
                </a:lnTo>
                <a:lnTo>
                  <a:pt x="4492168" y="2665806"/>
                </a:lnTo>
                <a:lnTo>
                  <a:pt x="4462551" y="2695892"/>
                </a:lnTo>
                <a:lnTo>
                  <a:pt x="4439983" y="2731973"/>
                </a:lnTo>
                <a:lnTo>
                  <a:pt x="4425607" y="2772880"/>
                </a:lnTo>
                <a:lnTo>
                  <a:pt x="4420552" y="2817431"/>
                </a:lnTo>
                <a:lnTo>
                  <a:pt x="4425607" y="2861983"/>
                </a:lnTo>
                <a:lnTo>
                  <a:pt x="4439983" y="2902877"/>
                </a:lnTo>
                <a:lnTo>
                  <a:pt x="4462551" y="2938957"/>
                </a:lnTo>
                <a:lnTo>
                  <a:pt x="4492168" y="2969056"/>
                </a:lnTo>
                <a:lnTo>
                  <a:pt x="4527664" y="2991993"/>
                </a:lnTo>
                <a:lnTo>
                  <a:pt x="4567910" y="3006610"/>
                </a:lnTo>
                <a:lnTo>
                  <a:pt x="4611751" y="3011741"/>
                </a:lnTo>
                <a:lnTo>
                  <a:pt x="4655591" y="3006610"/>
                </a:lnTo>
                <a:lnTo>
                  <a:pt x="4695837" y="2991993"/>
                </a:lnTo>
                <a:lnTo>
                  <a:pt x="4731334" y="2969056"/>
                </a:lnTo>
                <a:lnTo>
                  <a:pt x="4760950" y="2938957"/>
                </a:lnTo>
                <a:lnTo>
                  <a:pt x="4783518" y="2902877"/>
                </a:lnTo>
                <a:lnTo>
                  <a:pt x="4797895" y="2861983"/>
                </a:lnTo>
                <a:lnTo>
                  <a:pt x="4802949" y="2817431"/>
                </a:lnTo>
                <a:close/>
              </a:path>
              <a:path w="4842509" h="4803140">
                <a:moveTo>
                  <a:pt x="4841951" y="3202800"/>
                </a:moveTo>
                <a:lnTo>
                  <a:pt x="4773104" y="3204997"/>
                </a:lnTo>
                <a:lnTo>
                  <a:pt x="4732858" y="3219615"/>
                </a:lnTo>
                <a:lnTo>
                  <a:pt x="4697349" y="3242551"/>
                </a:lnTo>
                <a:lnTo>
                  <a:pt x="4667745" y="3272650"/>
                </a:lnTo>
                <a:lnTo>
                  <a:pt x="4645177" y="3308718"/>
                </a:lnTo>
                <a:lnTo>
                  <a:pt x="4630788" y="3349625"/>
                </a:lnTo>
                <a:lnTo>
                  <a:pt x="4625746" y="3394176"/>
                </a:lnTo>
                <a:lnTo>
                  <a:pt x="4630788" y="3438728"/>
                </a:lnTo>
                <a:lnTo>
                  <a:pt x="4645177" y="3479635"/>
                </a:lnTo>
                <a:lnTo>
                  <a:pt x="4667745" y="3515703"/>
                </a:lnTo>
                <a:lnTo>
                  <a:pt x="4697349" y="3545802"/>
                </a:lnTo>
                <a:lnTo>
                  <a:pt x="4732858" y="3568738"/>
                </a:lnTo>
                <a:lnTo>
                  <a:pt x="4773104" y="3583355"/>
                </a:lnTo>
                <a:lnTo>
                  <a:pt x="4816945" y="3588486"/>
                </a:lnTo>
                <a:lnTo>
                  <a:pt x="4841951" y="3585553"/>
                </a:lnTo>
                <a:lnTo>
                  <a:pt x="4841951" y="3202800"/>
                </a:lnTo>
                <a:close/>
              </a:path>
              <a:path w="4842509" h="4803140">
                <a:moveTo>
                  <a:pt x="4841951" y="1842350"/>
                </a:moveTo>
                <a:lnTo>
                  <a:pt x="4807712" y="1875828"/>
                </a:lnTo>
                <a:lnTo>
                  <a:pt x="4783315" y="1910905"/>
                </a:lnTo>
                <a:lnTo>
                  <a:pt x="4765014" y="1950059"/>
                </a:lnTo>
                <a:lnTo>
                  <a:pt x="4753534" y="1992579"/>
                </a:lnTo>
                <a:lnTo>
                  <a:pt x="4749546" y="2037765"/>
                </a:lnTo>
                <a:lnTo>
                  <a:pt x="4753534" y="2082939"/>
                </a:lnTo>
                <a:lnTo>
                  <a:pt x="4765014" y="2125459"/>
                </a:lnTo>
                <a:lnTo>
                  <a:pt x="4783315" y="2164626"/>
                </a:lnTo>
                <a:lnTo>
                  <a:pt x="4807712" y="2199703"/>
                </a:lnTo>
                <a:lnTo>
                  <a:pt x="4837519" y="2229993"/>
                </a:lnTo>
                <a:lnTo>
                  <a:pt x="4841951" y="2233180"/>
                </a:lnTo>
                <a:lnTo>
                  <a:pt x="4841951" y="1842350"/>
                </a:lnTo>
                <a:close/>
              </a:path>
              <a:path w="4842509" h="4803140">
                <a:moveTo>
                  <a:pt x="4841951" y="573493"/>
                </a:moveTo>
                <a:lnTo>
                  <a:pt x="4189387" y="573493"/>
                </a:lnTo>
                <a:lnTo>
                  <a:pt x="4140073" y="583450"/>
                </a:lnTo>
                <a:lnTo>
                  <a:pt x="4099814" y="610603"/>
                </a:lnTo>
                <a:lnTo>
                  <a:pt x="4072674" y="650875"/>
                </a:lnTo>
                <a:lnTo>
                  <a:pt x="4062730" y="700176"/>
                </a:lnTo>
                <a:lnTo>
                  <a:pt x="4072674" y="749490"/>
                </a:lnTo>
                <a:lnTo>
                  <a:pt x="4099814" y="789749"/>
                </a:lnTo>
                <a:lnTo>
                  <a:pt x="4140073" y="816902"/>
                </a:lnTo>
                <a:lnTo>
                  <a:pt x="4189387" y="826858"/>
                </a:lnTo>
                <a:lnTo>
                  <a:pt x="4767542" y="826858"/>
                </a:lnTo>
                <a:lnTo>
                  <a:pt x="4736668" y="864552"/>
                </a:lnTo>
                <a:lnTo>
                  <a:pt x="4705045" y="902195"/>
                </a:lnTo>
                <a:lnTo>
                  <a:pt x="4672723" y="939787"/>
                </a:lnTo>
                <a:lnTo>
                  <a:pt x="4639742" y="977303"/>
                </a:lnTo>
                <a:lnTo>
                  <a:pt x="4606137" y="1014742"/>
                </a:lnTo>
                <a:lnTo>
                  <a:pt x="4571949" y="1052106"/>
                </a:lnTo>
                <a:lnTo>
                  <a:pt x="4537214" y="1089380"/>
                </a:lnTo>
                <a:lnTo>
                  <a:pt x="4501985" y="1126578"/>
                </a:lnTo>
                <a:lnTo>
                  <a:pt x="4466285" y="1163675"/>
                </a:lnTo>
                <a:lnTo>
                  <a:pt x="4430166" y="1200658"/>
                </a:lnTo>
                <a:lnTo>
                  <a:pt x="4393654" y="1237538"/>
                </a:lnTo>
                <a:lnTo>
                  <a:pt x="4356811" y="1274305"/>
                </a:lnTo>
                <a:lnTo>
                  <a:pt x="4319663" y="1310957"/>
                </a:lnTo>
                <a:lnTo>
                  <a:pt x="4282249" y="1347470"/>
                </a:lnTo>
                <a:lnTo>
                  <a:pt x="4206786" y="1420114"/>
                </a:lnTo>
                <a:lnTo>
                  <a:pt x="4092625" y="1527962"/>
                </a:lnTo>
                <a:lnTo>
                  <a:pt x="3735552" y="1858314"/>
                </a:lnTo>
                <a:lnTo>
                  <a:pt x="3567468" y="2015528"/>
                </a:lnTo>
                <a:lnTo>
                  <a:pt x="3485985" y="2093442"/>
                </a:lnTo>
                <a:lnTo>
                  <a:pt x="3446056" y="2132241"/>
                </a:lnTo>
                <a:lnTo>
                  <a:pt x="3406711" y="2170925"/>
                </a:lnTo>
                <a:lnTo>
                  <a:pt x="3368014" y="2209508"/>
                </a:lnTo>
                <a:lnTo>
                  <a:pt x="3330003" y="2247989"/>
                </a:lnTo>
                <a:lnTo>
                  <a:pt x="3292716" y="2286381"/>
                </a:lnTo>
                <a:lnTo>
                  <a:pt x="3256216" y="2324658"/>
                </a:lnTo>
                <a:lnTo>
                  <a:pt x="3220529" y="2362860"/>
                </a:lnTo>
                <a:lnTo>
                  <a:pt x="3185718" y="2400960"/>
                </a:lnTo>
                <a:lnTo>
                  <a:pt x="3151809" y="2438971"/>
                </a:lnTo>
                <a:lnTo>
                  <a:pt x="3118866" y="2476893"/>
                </a:lnTo>
                <a:lnTo>
                  <a:pt x="3086925" y="2514727"/>
                </a:lnTo>
                <a:lnTo>
                  <a:pt x="3056039" y="2552484"/>
                </a:lnTo>
                <a:lnTo>
                  <a:pt x="3026245" y="2590165"/>
                </a:lnTo>
                <a:lnTo>
                  <a:pt x="2997581" y="2627757"/>
                </a:lnTo>
                <a:lnTo>
                  <a:pt x="2970111" y="2665285"/>
                </a:lnTo>
                <a:lnTo>
                  <a:pt x="2943860" y="2702737"/>
                </a:lnTo>
                <a:lnTo>
                  <a:pt x="2918904" y="2740126"/>
                </a:lnTo>
                <a:lnTo>
                  <a:pt x="2895257" y="2777439"/>
                </a:lnTo>
                <a:lnTo>
                  <a:pt x="2872981" y="2814688"/>
                </a:lnTo>
                <a:lnTo>
                  <a:pt x="2852102" y="2851874"/>
                </a:lnTo>
                <a:lnTo>
                  <a:pt x="2832697" y="2888996"/>
                </a:lnTo>
                <a:lnTo>
                  <a:pt x="2814790" y="2926054"/>
                </a:lnTo>
                <a:lnTo>
                  <a:pt x="2798432" y="2963075"/>
                </a:lnTo>
                <a:lnTo>
                  <a:pt x="2783662" y="3000032"/>
                </a:lnTo>
                <a:lnTo>
                  <a:pt x="2770543" y="3036938"/>
                </a:lnTo>
                <a:lnTo>
                  <a:pt x="2749334" y="3105696"/>
                </a:lnTo>
                <a:lnTo>
                  <a:pt x="2731732" y="3173577"/>
                </a:lnTo>
                <a:lnTo>
                  <a:pt x="2717584" y="3240532"/>
                </a:lnTo>
                <a:lnTo>
                  <a:pt x="2706751" y="3306546"/>
                </a:lnTo>
                <a:lnTo>
                  <a:pt x="2699054" y="3371558"/>
                </a:lnTo>
                <a:lnTo>
                  <a:pt x="2694368" y="3435553"/>
                </a:lnTo>
                <a:lnTo>
                  <a:pt x="2692539" y="3498481"/>
                </a:lnTo>
                <a:lnTo>
                  <a:pt x="2693416" y="3560318"/>
                </a:lnTo>
                <a:lnTo>
                  <a:pt x="2696845" y="3621024"/>
                </a:lnTo>
                <a:lnTo>
                  <a:pt x="2702687" y="3680549"/>
                </a:lnTo>
                <a:lnTo>
                  <a:pt x="2710777" y="3738880"/>
                </a:lnTo>
                <a:lnTo>
                  <a:pt x="2720975" y="3795979"/>
                </a:lnTo>
                <a:lnTo>
                  <a:pt x="2733116" y="3851795"/>
                </a:lnTo>
                <a:lnTo>
                  <a:pt x="2747073" y="3906291"/>
                </a:lnTo>
                <a:lnTo>
                  <a:pt x="2762681" y="3959453"/>
                </a:lnTo>
                <a:lnTo>
                  <a:pt x="2779801" y="4011231"/>
                </a:lnTo>
                <a:lnTo>
                  <a:pt x="2798267" y="4061587"/>
                </a:lnTo>
                <a:lnTo>
                  <a:pt x="2817952" y="4110494"/>
                </a:lnTo>
                <a:lnTo>
                  <a:pt x="2838678" y="4157903"/>
                </a:lnTo>
                <a:lnTo>
                  <a:pt x="2860319" y="4203801"/>
                </a:lnTo>
                <a:lnTo>
                  <a:pt x="2882709" y="4248137"/>
                </a:lnTo>
                <a:lnTo>
                  <a:pt x="2905709" y="4290860"/>
                </a:lnTo>
                <a:lnTo>
                  <a:pt x="2929166" y="4331970"/>
                </a:lnTo>
                <a:lnTo>
                  <a:pt x="2952927" y="4371403"/>
                </a:lnTo>
                <a:lnTo>
                  <a:pt x="2976854" y="4409135"/>
                </a:lnTo>
                <a:lnTo>
                  <a:pt x="3000768" y="4445127"/>
                </a:lnTo>
                <a:lnTo>
                  <a:pt x="3024555" y="4479353"/>
                </a:lnTo>
                <a:lnTo>
                  <a:pt x="3048038" y="4511764"/>
                </a:lnTo>
                <a:lnTo>
                  <a:pt x="3071076" y="4542320"/>
                </a:lnTo>
                <a:lnTo>
                  <a:pt x="3115233" y="4597768"/>
                </a:lnTo>
                <a:lnTo>
                  <a:pt x="3155810" y="4645406"/>
                </a:lnTo>
                <a:lnTo>
                  <a:pt x="3191624" y="4684941"/>
                </a:lnTo>
                <a:lnTo>
                  <a:pt x="3221456" y="4716094"/>
                </a:lnTo>
                <a:lnTo>
                  <a:pt x="3252393" y="4746498"/>
                </a:lnTo>
                <a:lnTo>
                  <a:pt x="3289871" y="4776190"/>
                </a:lnTo>
                <a:lnTo>
                  <a:pt x="3352101" y="4799800"/>
                </a:lnTo>
                <a:lnTo>
                  <a:pt x="3384816" y="4802733"/>
                </a:lnTo>
                <a:lnTo>
                  <a:pt x="3422065" y="4798923"/>
                </a:lnTo>
                <a:lnTo>
                  <a:pt x="3491369" y="4768710"/>
                </a:lnTo>
                <a:lnTo>
                  <a:pt x="3520922" y="4742446"/>
                </a:lnTo>
                <a:lnTo>
                  <a:pt x="3548837" y="4701959"/>
                </a:lnTo>
                <a:lnTo>
                  <a:pt x="3564598" y="4657090"/>
                </a:lnTo>
                <a:lnTo>
                  <a:pt x="3568331" y="4610303"/>
                </a:lnTo>
                <a:lnTo>
                  <a:pt x="3560165" y="4564062"/>
                </a:lnTo>
                <a:lnTo>
                  <a:pt x="3540239" y="4520857"/>
                </a:lnTo>
                <a:lnTo>
                  <a:pt x="3508654" y="4483138"/>
                </a:lnTo>
                <a:lnTo>
                  <a:pt x="3500399" y="4475378"/>
                </a:lnTo>
                <a:lnTo>
                  <a:pt x="3484295" y="4459541"/>
                </a:lnTo>
                <a:lnTo>
                  <a:pt x="3433026" y="4404792"/>
                </a:lnTo>
                <a:lnTo>
                  <a:pt x="3400107" y="4366463"/>
                </a:lnTo>
                <a:lnTo>
                  <a:pt x="3363798" y="4321213"/>
                </a:lnTo>
                <a:lnTo>
                  <a:pt x="3325253" y="4269359"/>
                </a:lnTo>
                <a:lnTo>
                  <a:pt x="3285566" y="4211167"/>
                </a:lnTo>
                <a:lnTo>
                  <a:pt x="3245878" y="4146956"/>
                </a:lnTo>
                <a:lnTo>
                  <a:pt x="3207283" y="4077004"/>
                </a:lnTo>
                <a:lnTo>
                  <a:pt x="3803065" y="4077004"/>
                </a:lnTo>
                <a:lnTo>
                  <a:pt x="3852380" y="4067048"/>
                </a:lnTo>
                <a:lnTo>
                  <a:pt x="3892639" y="4039895"/>
                </a:lnTo>
                <a:lnTo>
                  <a:pt x="3919766" y="3999623"/>
                </a:lnTo>
                <a:lnTo>
                  <a:pt x="3929723" y="3950322"/>
                </a:lnTo>
                <a:lnTo>
                  <a:pt x="3919766" y="3901008"/>
                </a:lnTo>
                <a:lnTo>
                  <a:pt x="3892639" y="3860736"/>
                </a:lnTo>
                <a:lnTo>
                  <a:pt x="3852380" y="3833596"/>
                </a:lnTo>
                <a:lnTo>
                  <a:pt x="3803065" y="3823639"/>
                </a:lnTo>
                <a:lnTo>
                  <a:pt x="3106051" y="3823639"/>
                </a:lnTo>
                <a:lnTo>
                  <a:pt x="3093821" y="3777284"/>
                </a:lnTo>
                <a:lnTo>
                  <a:pt x="3083318" y="3729761"/>
                </a:lnTo>
                <a:lnTo>
                  <a:pt x="3074657" y="3681095"/>
                </a:lnTo>
                <a:lnTo>
                  <a:pt x="3068002" y="3631336"/>
                </a:lnTo>
                <a:lnTo>
                  <a:pt x="3063494" y="3580523"/>
                </a:lnTo>
                <a:lnTo>
                  <a:pt x="3061284" y="3528695"/>
                </a:lnTo>
                <a:lnTo>
                  <a:pt x="4186415" y="3528695"/>
                </a:lnTo>
                <a:lnTo>
                  <a:pt x="4235729" y="3518738"/>
                </a:lnTo>
                <a:lnTo>
                  <a:pt x="4275988" y="3491585"/>
                </a:lnTo>
                <a:lnTo>
                  <a:pt x="4303128" y="3451326"/>
                </a:lnTo>
                <a:lnTo>
                  <a:pt x="4313072" y="3402012"/>
                </a:lnTo>
                <a:lnTo>
                  <a:pt x="4303128" y="3352711"/>
                </a:lnTo>
                <a:lnTo>
                  <a:pt x="4275988" y="3312439"/>
                </a:lnTo>
                <a:lnTo>
                  <a:pt x="4235729" y="3285286"/>
                </a:lnTo>
                <a:lnTo>
                  <a:pt x="4186415" y="3275330"/>
                </a:lnTo>
                <a:lnTo>
                  <a:pt x="3085935" y="3275330"/>
                </a:lnTo>
                <a:lnTo>
                  <a:pt x="3092831" y="3245078"/>
                </a:lnTo>
                <a:lnTo>
                  <a:pt x="3109315" y="3183979"/>
                </a:lnTo>
                <a:lnTo>
                  <a:pt x="3133902" y="3113087"/>
                </a:lnTo>
                <a:lnTo>
                  <a:pt x="3151809" y="3072396"/>
                </a:lnTo>
                <a:lnTo>
                  <a:pt x="3172637" y="3031083"/>
                </a:lnTo>
                <a:lnTo>
                  <a:pt x="3196209" y="2989161"/>
                </a:lnTo>
                <a:lnTo>
                  <a:pt x="3222371" y="2946666"/>
                </a:lnTo>
                <a:lnTo>
                  <a:pt x="3222929" y="2946666"/>
                </a:lnTo>
                <a:lnTo>
                  <a:pt x="3223450" y="2946831"/>
                </a:lnTo>
                <a:lnTo>
                  <a:pt x="4085818" y="2946831"/>
                </a:lnTo>
                <a:lnTo>
                  <a:pt x="4086631" y="2946666"/>
                </a:lnTo>
                <a:lnTo>
                  <a:pt x="4135132" y="2936875"/>
                </a:lnTo>
                <a:lnTo>
                  <a:pt x="4175391" y="2909722"/>
                </a:lnTo>
                <a:lnTo>
                  <a:pt x="4202519" y="2869450"/>
                </a:lnTo>
                <a:lnTo>
                  <a:pt x="4212475" y="2820149"/>
                </a:lnTo>
                <a:lnTo>
                  <a:pt x="4202519" y="2770835"/>
                </a:lnTo>
                <a:lnTo>
                  <a:pt x="4175391" y="2730563"/>
                </a:lnTo>
                <a:lnTo>
                  <a:pt x="4135132" y="2703423"/>
                </a:lnTo>
                <a:lnTo>
                  <a:pt x="4085818" y="2693466"/>
                </a:lnTo>
                <a:lnTo>
                  <a:pt x="3416541" y="2693466"/>
                </a:lnTo>
                <a:lnTo>
                  <a:pt x="3446754" y="2659380"/>
                </a:lnTo>
                <a:lnTo>
                  <a:pt x="3477958" y="2625026"/>
                </a:lnTo>
                <a:lnTo>
                  <a:pt x="3510102" y="2590444"/>
                </a:lnTo>
                <a:lnTo>
                  <a:pt x="3543135" y="2555608"/>
                </a:lnTo>
                <a:lnTo>
                  <a:pt x="3577018" y="2520543"/>
                </a:lnTo>
                <a:lnTo>
                  <a:pt x="3611702" y="2485263"/>
                </a:lnTo>
                <a:lnTo>
                  <a:pt x="3647122" y="2449753"/>
                </a:lnTo>
                <a:lnTo>
                  <a:pt x="3683254" y="2414041"/>
                </a:lnTo>
                <a:lnTo>
                  <a:pt x="3720046" y="2378125"/>
                </a:lnTo>
                <a:lnTo>
                  <a:pt x="3795395" y="2305697"/>
                </a:lnTo>
                <a:lnTo>
                  <a:pt x="3912184" y="2195715"/>
                </a:lnTo>
                <a:lnTo>
                  <a:pt x="4351325" y="1789176"/>
                </a:lnTo>
                <a:lnTo>
                  <a:pt x="4468863" y="1678254"/>
                </a:lnTo>
                <a:lnTo>
                  <a:pt x="4546206" y="1603908"/>
                </a:lnTo>
                <a:lnTo>
                  <a:pt x="4584484" y="1566621"/>
                </a:lnTo>
                <a:lnTo>
                  <a:pt x="4622444" y="1529245"/>
                </a:lnTo>
                <a:lnTo>
                  <a:pt x="4660087" y="1491767"/>
                </a:lnTo>
                <a:lnTo>
                  <a:pt x="4697361" y="1454213"/>
                </a:lnTo>
                <a:lnTo>
                  <a:pt x="4734242" y="1416545"/>
                </a:lnTo>
                <a:lnTo>
                  <a:pt x="4770691" y="1378788"/>
                </a:lnTo>
                <a:lnTo>
                  <a:pt x="4806696" y="1340929"/>
                </a:lnTo>
                <a:lnTo>
                  <a:pt x="4841951" y="1303248"/>
                </a:lnTo>
                <a:lnTo>
                  <a:pt x="4841951" y="573493"/>
                </a:lnTo>
                <a:close/>
              </a:path>
              <a:path w="4842509" h="4803140">
                <a:moveTo>
                  <a:pt x="4841951" y="12"/>
                </a:moveTo>
                <a:lnTo>
                  <a:pt x="4128516" y="12"/>
                </a:lnTo>
                <a:lnTo>
                  <a:pt x="4084472" y="8902"/>
                </a:lnTo>
                <a:lnTo>
                  <a:pt x="4044213" y="36055"/>
                </a:lnTo>
                <a:lnTo>
                  <a:pt x="4017073" y="76327"/>
                </a:lnTo>
                <a:lnTo>
                  <a:pt x="4007129" y="125628"/>
                </a:lnTo>
                <a:lnTo>
                  <a:pt x="4017073" y="174942"/>
                </a:lnTo>
                <a:lnTo>
                  <a:pt x="4044213" y="215214"/>
                </a:lnTo>
                <a:lnTo>
                  <a:pt x="4084472" y="242366"/>
                </a:lnTo>
                <a:lnTo>
                  <a:pt x="4133786" y="252323"/>
                </a:lnTo>
                <a:lnTo>
                  <a:pt x="4841951" y="252323"/>
                </a:lnTo>
                <a:lnTo>
                  <a:pt x="4841951" y="12"/>
                </a:lnTo>
                <a:close/>
              </a:path>
            </a:pathLst>
          </a:custGeom>
          <a:solidFill>
            <a:srgbClr val="00AFFF">
              <a:alpha val="25000"/>
            </a:srgbClr>
          </a:solidFill>
        </p:spPr>
        <p:txBody>
          <a:bodyPr wrap="square" lIns="0" tIns="0" rIns="0" bIns="0" rtlCol="0"/>
          <a:lstStyle/>
          <a:p>
            <a:endParaRPr/>
          </a:p>
        </p:txBody>
      </p:sp>
      <p:grpSp>
        <p:nvGrpSpPr>
          <p:cNvPr id="15" name="Group 14">
            <a:extLst>
              <a:ext uri="{FF2B5EF4-FFF2-40B4-BE49-F238E27FC236}">
                <a16:creationId xmlns:a16="http://schemas.microsoft.com/office/drawing/2014/main" id="{8E7AA6FE-7EC6-165D-2085-FCFB844B5CC6}"/>
              </a:ext>
            </a:extLst>
          </p:cNvPr>
          <p:cNvGrpSpPr/>
          <p:nvPr userDrawn="1"/>
        </p:nvGrpSpPr>
        <p:grpSpPr>
          <a:xfrm>
            <a:off x="0" y="4184585"/>
            <a:ext cx="2767043" cy="2671139"/>
            <a:chOff x="0" y="4184585"/>
            <a:chExt cx="2767043" cy="2671139"/>
          </a:xfrm>
        </p:grpSpPr>
        <p:sp>
          <p:nvSpPr>
            <p:cNvPr id="16" name="bg object 23">
              <a:extLst>
                <a:ext uri="{FF2B5EF4-FFF2-40B4-BE49-F238E27FC236}">
                  <a16:creationId xmlns:a16="http://schemas.microsoft.com/office/drawing/2014/main" id="{B0BECB1F-ECBC-8769-E3C7-16E2F1025215}"/>
                </a:ext>
              </a:extLst>
            </p:cNvPr>
            <p:cNvSpPr/>
            <p:nvPr/>
          </p:nvSpPr>
          <p:spPr>
            <a:xfrm>
              <a:off x="112905" y="6434855"/>
              <a:ext cx="625748" cy="229752"/>
            </a:xfrm>
            <a:custGeom>
              <a:avLst/>
              <a:gdLst/>
              <a:ahLst/>
              <a:cxnLst/>
              <a:rect l="l" t="t" r="r" b="b"/>
              <a:pathLst>
                <a:path w="688975" h="253365">
                  <a:moveTo>
                    <a:pt x="562178" y="0"/>
                  </a:moveTo>
                  <a:lnTo>
                    <a:pt x="126657" y="0"/>
                  </a:lnTo>
                  <a:lnTo>
                    <a:pt x="77340" y="9955"/>
                  </a:lnTo>
                  <a:lnTo>
                    <a:pt x="37082" y="37104"/>
                  </a:lnTo>
                  <a:lnTo>
                    <a:pt x="9947" y="77372"/>
                  </a:lnTo>
                  <a:lnTo>
                    <a:pt x="0" y="126682"/>
                  </a:lnTo>
                  <a:lnTo>
                    <a:pt x="9947" y="175992"/>
                  </a:lnTo>
                  <a:lnTo>
                    <a:pt x="37082" y="216260"/>
                  </a:lnTo>
                  <a:lnTo>
                    <a:pt x="77340" y="243409"/>
                  </a:lnTo>
                  <a:lnTo>
                    <a:pt x="126657" y="253365"/>
                  </a:lnTo>
                  <a:lnTo>
                    <a:pt x="562178" y="253365"/>
                  </a:lnTo>
                  <a:lnTo>
                    <a:pt x="611495" y="243409"/>
                  </a:lnTo>
                  <a:lnTo>
                    <a:pt x="651752" y="216260"/>
                  </a:lnTo>
                  <a:lnTo>
                    <a:pt x="678887" y="175992"/>
                  </a:lnTo>
                  <a:lnTo>
                    <a:pt x="688835" y="126682"/>
                  </a:lnTo>
                  <a:lnTo>
                    <a:pt x="678887" y="77372"/>
                  </a:lnTo>
                  <a:lnTo>
                    <a:pt x="651752" y="37104"/>
                  </a:lnTo>
                  <a:lnTo>
                    <a:pt x="611495" y="9955"/>
                  </a:lnTo>
                  <a:lnTo>
                    <a:pt x="562178" y="0"/>
                  </a:lnTo>
                  <a:close/>
                </a:path>
              </a:pathLst>
            </a:custGeom>
            <a:solidFill>
              <a:srgbClr val="00AFFF">
                <a:alpha val="25000"/>
              </a:srgbClr>
            </a:solidFill>
          </p:spPr>
          <p:txBody>
            <a:bodyPr wrap="square" lIns="0" tIns="0" rIns="0" bIns="0" rtlCol="0"/>
            <a:lstStyle/>
            <a:p>
              <a:endParaRPr/>
            </a:p>
          </p:txBody>
        </p:sp>
        <p:sp>
          <p:nvSpPr>
            <p:cNvPr id="17" name="bg object 24">
              <a:extLst>
                <a:ext uri="{FF2B5EF4-FFF2-40B4-BE49-F238E27FC236}">
                  <a16:creationId xmlns:a16="http://schemas.microsoft.com/office/drawing/2014/main" id="{5A0F166C-5675-4BDF-82C2-1312D3795A30}"/>
                </a:ext>
              </a:extLst>
            </p:cNvPr>
            <p:cNvSpPr/>
            <p:nvPr/>
          </p:nvSpPr>
          <p:spPr>
            <a:xfrm>
              <a:off x="859747" y="5805431"/>
              <a:ext cx="827026" cy="1050293"/>
            </a:xfrm>
            <a:custGeom>
              <a:avLst/>
              <a:gdLst/>
              <a:ahLst/>
              <a:cxnLst/>
              <a:rect l="l" t="t" r="r" b="b"/>
              <a:pathLst>
                <a:path w="910589" h="1158240">
                  <a:moveTo>
                    <a:pt x="291990" y="0"/>
                  </a:moveTo>
                  <a:lnTo>
                    <a:pt x="246330" y="10089"/>
                  </a:lnTo>
                  <a:lnTo>
                    <a:pt x="204131" y="31774"/>
                  </a:lnTo>
                  <a:lnTo>
                    <a:pt x="167817" y="64816"/>
                  </a:lnTo>
                  <a:lnTo>
                    <a:pt x="141493" y="106257"/>
                  </a:lnTo>
                  <a:lnTo>
                    <a:pt x="127449" y="151637"/>
                  </a:lnTo>
                  <a:lnTo>
                    <a:pt x="125461" y="198494"/>
                  </a:lnTo>
                  <a:lnTo>
                    <a:pt x="135309" y="244368"/>
                  </a:lnTo>
                  <a:lnTo>
                    <a:pt x="156770" y="286798"/>
                  </a:lnTo>
                  <a:lnTo>
                    <a:pt x="189623" y="323324"/>
                  </a:lnTo>
                  <a:lnTo>
                    <a:pt x="197954" y="330740"/>
                  </a:lnTo>
                  <a:lnTo>
                    <a:pt x="215065" y="347032"/>
                  </a:lnTo>
                  <a:lnTo>
                    <a:pt x="269445" y="405507"/>
                  </a:lnTo>
                  <a:lnTo>
                    <a:pt x="303623" y="447320"/>
                  </a:lnTo>
                  <a:lnTo>
                    <a:pt x="340399" y="497272"/>
                  </a:lnTo>
                  <a:lnTo>
                    <a:pt x="378225" y="555177"/>
                  </a:lnTo>
                  <a:lnTo>
                    <a:pt x="415557" y="620853"/>
                  </a:lnTo>
                  <a:lnTo>
                    <a:pt x="450850" y="694113"/>
                  </a:lnTo>
                  <a:lnTo>
                    <a:pt x="126657" y="694113"/>
                  </a:lnTo>
                  <a:lnTo>
                    <a:pt x="77340" y="704069"/>
                  </a:lnTo>
                  <a:lnTo>
                    <a:pt x="37082" y="731218"/>
                  </a:lnTo>
                  <a:lnTo>
                    <a:pt x="9947" y="771485"/>
                  </a:lnTo>
                  <a:lnTo>
                    <a:pt x="0" y="820796"/>
                  </a:lnTo>
                  <a:lnTo>
                    <a:pt x="9947" y="870106"/>
                  </a:lnTo>
                  <a:lnTo>
                    <a:pt x="37082" y="910374"/>
                  </a:lnTo>
                  <a:lnTo>
                    <a:pt x="77340" y="937523"/>
                  </a:lnTo>
                  <a:lnTo>
                    <a:pt x="126657" y="947478"/>
                  </a:lnTo>
                  <a:lnTo>
                    <a:pt x="527037" y="947478"/>
                  </a:lnTo>
                  <a:lnTo>
                    <a:pt x="534042" y="994520"/>
                  </a:lnTo>
                  <a:lnTo>
                    <a:pt x="539062" y="1043080"/>
                  </a:lnTo>
                  <a:lnTo>
                    <a:pt x="541939" y="1093149"/>
                  </a:lnTo>
                  <a:lnTo>
                    <a:pt x="542511" y="1144718"/>
                  </a:lnTo>
                  <a:lnTo>
                    <a:pt x="542041" y="1157905"/>
                  </a:lnTo>
                  <a:lnTo>
                    <a:pt x="910242" y="1157905"/>
                  </a:lnTo>
                  <a:lnTo>
                    <a:pt x="909792" y="1082442"/>
                  </a:lnTo>
                  <a:lnTo>
                    <a:pt x="905768" y="1011691"/>
                  </a:lnTo>
                  <a:lnTo>
                    <a:pt x="898533" y="943192"/>
                  </a:lnTo>
                  <a:lnTo>
                    <a:pt x="888342" y="876971"/>
                  </a:lnTo>
                  <a:lnTo>
                    <a:pt x="875454" y="813056"/>
                  </a:lnTo>
                  <a:lnTo>
                    <a:pt x="860125" y="751473"/>
                  </a:lnTo>
                  <a:lnTo>
                    <a:pt x="842612" y="692250"/>
                  </a:lnTo>
                  <a:lnTo>
                    <a:pt x="823173" y="635413"/>
                  </a:lnTo>
                  <a:lnTo>
                    <a:pt x="802063" y="580991"/>
                  </a:lnTo>
                  <a:lnTo>
                    <a:pt x="779541" y="529010"/>
                  </a:lnTo>
                  <a:lnTo>
                    <a:pt x="755862" y="479497"/>
                  </a:lnTo>
                  <a:lnTo>
                    <a:pt x="731285" y="432480"/>
                  </a:lnTo>
                  <a:lnTo>
                    <a:pt x="706066" y="387985"/>
                  </a:lnTo>
                  <a:lnTo>
                    <a:pt x="680461" y="346039"/>
                  </a:lnTo>
                  <a:lnTo>
                    <a:pt x="654729" y="306670"/>
                  </a:lnTo>
                  <a:lnTo>
                    <a:pt x="629126" y="269906"/>
                  </a:lnTo>
                  <a:lnTo>
                    <a:pt x="603908" y="235772"/>
                  </a:lnTo>
                  <a:lnTo>
                    <a:pt x="579334" y="204296"/>
                  </a:lnTo>
                  <a:lnTo>
                    <a:pt x="533142" y="149427"/>
                  </a:lnTo>
                  <a:lnTo>
                    <a:pt x="492605" y="105516"/>
                  </a:lnTo>
                  <a:lnTo>
                    <a:pt x="459780" y="72781"/>
                  </a:lnTo>
                  <a:lnTo>
                    <a:pt x="425488" y="41702"/>
                  </a:lnTo>
                  <a:lnTo>
                    <a:pt x="383993" y="15566"/>
                  </a:lnTo>
                  <a:lnTo>
                    <a:pt x="338686" y="1745"/>
                  </a:lnTo>
                  <a:lnTo>
                    <a:pt x="291990" y="0"/>
                  </a:lnTo>
                  <a:close/>
                </a:path>
              </a:pathLst>
            </a:custGeom>
            <a:solidFill>
              <a:srgbClr val="00AFFF">
                <a:alpha val="25000"/>
              </a:srgbClr>
            </a:solidFill>
          </p:spPr>
          <p:txBody>
            <a:bodyPr wrap="square" lIns="0" tIns="0" rIns="0" bIns="0" rtlCol="0"/>
            <a:lstStyle/>
            <a:p>
              <a:endParaRPr/>
            </a:p>
          </p:txBody>
        </p:sp>
        <p:sp>
          <p:nvSpPr>
            <p:cNvPr id="18" name="bg object 25">
              <a:extLst>
                <a:ext uri="{FF2B5EF4-FFF2-40B4-BE49-F238E27FC236}">
                  <a16:creationId xmlns:a16="http://schemas.microsoft.com/office/drawing/2014/main" id="{F0D9B2C6-6D12-CCA5-00B9-5E51269E9765}"/>
                </a:ext>
              </a:extLst>
            </p:cNvPr>
            <p:cNvSpPr/>
            <p:nvPr/>
          </p:nvSpPr>
          <p:spPr>
            <a:xfrm>
              <a:off x="465830" y="5649760"/>
              <a:ext cx="347766" cy="352401"/>
            </a:xfrm>
            <a:custGeom>
              <a:avLst/>
              <a:gdLst/>
              <a:ahLst/>
              <a:cxnLst/>
              <a:rect l="l" t="t" r="r" b="b"/>
              <a:pathLst>
                <a:path w="382905" h="388620">
                  <a:moveTo>
                    <a:pt x="191198" y="0"/>
                  </a:moveTo>
                  <a:lnTo>
                    <a:pt x="147357" y="5131"/>
                  </a:lnTo>
                  <a:lnTo>
                    <a:pt x="107112" y="19749"/>
                  </a:lnTo>
                  <a:lnTo>
                    <a:pt x="71611" y="42686"/>
                  </a:lnTo>
                  <a:lnTo>
                    <a:pt x="42002" y="72776"/>
                  </a:lnTo>
                  <a:lnTo>
                    <a:pt x="19432" y="108852"/>
                  </a:lnTo>
                  <a:lnTo>
                    <a:pt x="5049" y="149748"/>
                  </a:lnTo>
                  <a:lnTo>
                    <a:pt x="0" y="194297"/>
                  </a:lnTo>
                  <a:lnTo>
                    <a:pt x="5049" y="238850"/>
                  </a:lnTo>
                  <a:lnTo>
                    <a:pt x="19432" y="279750"/>
                  </a:lnTo>
                  <a:lnTo>
                    <a:pt x="42002" y="315828"/>
                  </a:lnTo>
                  <a:lnTo>
                    <a:pt x="71611" y="345919"/>
                  </a:lnTo>
                  <a:lnTo>
                    <a:pt x="107112" y="368857"/>
                  </a:lnTo>
                  <a:lnTo>
                    <a:pt x="147357" y="383475"/>
                  </a:lnTo>
                  <a:lnTo>
                    <a:pt x="191198" y="388607"/>
                  </a:lnTo>
                  <a:lnTo>
                    <a:pt x="235039" y="383475"/>
                  </a:lnTo>
                  <a:lnTo>
                    <a:pt x="275284" y="368857"/>
                  </a:lnTo>
                  <a:lnTo>
                    <a:pt x="310785" y="345919"/>
                  </a:lnTo>
                  <a:lnTo>
                    <a:pt x="340394" y="315828"/>
                  </a:lnTo>
                  <a:lnTo>
                    <a:pt x="362964" y="279750"/>
                  </a:lnTo>
                  <a:lnTo>
                    <a:pt x="377347" y="238850"/>
                  </a:lnTo>
                  <a:lnTo>
                    <a:pt x="382397" y="194297"/>
                  </a:lnTo>
                  <a:lnTo>
                    <a:pt x="377347" y="149748"/>
                  </a:lnTo>
                  <a:lnTo>
                    <a:pt x="362964" y="108852"/>
                  </a:lnTo>
                  <a:lnTo>
                    <a:pt x="340394" y="72776"/>
                  </a:lnTo>
                  <a:lnTo>
                    <a:pt x="310785" y="42686"/>
                  </a:lnTo>
                  <a:lnTo>
                    <a:pt x="275284" y="19749"/>
                  </a:lnTo>
                  <a:lnTo>
                    <a:pt x="235039" y="5131"/>
                  </a:lnTo>
                  <a:lnTo>
                    <a:pt x="191198" y="0"/>
                  </a:lnTo>
                  <a:close/>
                </a:path>
              </a:pathLst>
            </a:custGeom>
            <a:solidFill>
              <a:srgbClr val="00AFFF">
                <a:alpha val="25000"/>
              </a:srgbClr>
            </a:solidFill>
          </p:spPr>
          <p:txBody>
            <a:bodyPr wrap="square" lIns="0" tIns="0" rIns="0" bIns="0" rtlCol="0"/>
            <a:lstStyle/>
            <a:p>
              <a:endParaRPr/>
            </a:p>
          </p:txBody>
        </p:sp>
        <p:sp>
          <p:nvSpPr>
            <p:cNvPr id="19" name="bg object 26">
              <a:extLst>
                <a:ext uri="{FF2B5EF4-FFF2-40B4-BE49-F238E27FC236}">
                  <a16:creationId xmlns:a16="http://schemas.microsoft.com/office/drawing/2014/main" id="{BB04FA2D-05E8-025B-D234-184014DA2606}"/>
                </a:ext>
              </a:extLst>
            </p:cNvPr>
            <p:cNvSpPr/>
            <p:nvPr/>
          </p:nvSpPr>
          <p:spPr>
            <a:xfrm>
              <a:off x="1538145" y="5485645"/>
              <a:ext cx="347766" cy="352401"/>
            </a:xfrm>
            <a:custGeom>
              <a:avLst/>
              <a:gdLst/>
              <a:ahLst/>
              <a:cxnLst/>
              <a:rect l="l" t="t" r="r" b="b"/>
              <a:pathLst>
                <a:path w="382905" h="388620">
                  <a:moveTo>
                    <a:pt x="191198" y="0"/>
                  </a:moveTo>
                  <a:lnTo>
                    <a:pt x="147357" y="5131"/>
                  </a:lnTo>
                  <a:lnTo>
                    <a:pt x="107112" y="19749"/>
                  </a:lnTo>
                  <a:lnTo>
                    <a:pt x="71611" y="42687"/>
                  </a:lnTo>
                  <a:lnTo>
                    <a:pt x="42002" y="72778"/>
                  </a:lnTo>
                  <a:lnTo>
                    <a:pt x="19432" y="108857"/>
                  </a:lnTo>
                  <a:lnTo>
                    <a:pt x="5049" y="149756"/>
                  </a:lnTo>
                  <a:lnTo>
                    <a:pt x="0" y="194309"/>
                  </a:lnTo>
                  <a:lnTo>
                    <a:pt x="5049" y="238863"/>
                  </a:lnTo>
                  <a:lnTo>
                    <a:pt x="19432" y="279762"/>
                  </a:lnTo>
                  <a:lnTo>
                    <a:pt x="42002" y="315841"/>
                  </a:lnTo>
                  <a:lnTo>
                    <a:pt x="71611" y="345932"/>
                  </a:lnTo>
                  <a:lnTo>
                    <a:pt x="107112" y="368870"/>
                  </a:lnTo>
                  <a:lnTo>
                    <a:pt x="147357" y="383488"/>
                  </a:lnTo>
                  <a:lnTo>
                    <a:pt x="191198" y="388620"/>
                  </a:lnTo>
                  <a:lnTo>
                    <a:pt x="235035" y="383488"/>
                  </a:lnTo>
                  <a:lnTo>
                    <a:pt x="275279" y="368870"/>
                  </a:lnTo>
                  <a:lnTo>
                    <a:pt x="310779" y="345932"/>
                  </a:lnTo>
                  <a:lnTo>
                    <a:pt x="340390" y="315841"/>
                  </a:lnTo>
                  <a:lnTo>
                    <a:pt x="362961" y="279762"/>
                  </a:lnTo>
                  <a:lnTo>
                    <a:pt x="377346" y="238863"/>
                  </a:lnTo>
                  <a:lnTo>
                    <a:pt x="382397" y="194309"/>
                  </a:lnTo>
                  <a:lnTo>
                    <a:pt x="377346" y="149756"/>
                  </a:lnTo>
                  <a:lnTo>
                    <a:pt x="362961" y="108857"/>
                  </a:lnTo>
                  <a:lnTo>
                    <a:pt x="340390" y="72778"/>
                  </a:lnTo>
                  <a:lnTo>
                    <a:pt x="310779" y="42687"/>
                  </a:lnTo>
                  <a:lnTo>
                    <a:pt x="275279" y="19749"/>
                  </a:lnTo>
                  <a:lnTo>
                    <a:pt x="235035" y="5131"/>
                  </a:lnTo>
                  <a:lnTo>
                    <a:pt x="191198" y="0"/>
                  </a:lnTo>
                  <a:close/>
                </a:path>
              </a:pathLst>
            </a:custGeom>
            <a:solidFill>
              <a:srgbClr val="00AFFF">
                <a:alpha val="25000"/>
              </a:srgbClr>
            </a:solidFill>
          </p:spPr>
          <p:txBody>
            <a:bodyPr wrap="square" lIns="0" tIns="0" rIns="0" bIns="0" rtlCol="0"/>
            <a:lstStyle/>
            <a:p>
              <a:endParaRPr/>
            </a:p>
          </p:txBody>
        </p:sp>
        <p:sp>
          <p:nvSpPr>
            <p:cNvPr id="20" name="bg object 27">
              <a:extLst>
                <a:ext uri="{FF2B5EF4-FFF2-40B4-BE49-F238E27FC236}">
                  <a16:creationId xmlns:a16="http://schemas.microsoft.com/office/drawing/2014/main" id="{C7C47A63-8503-302D-EEC1-8F321F81D4F4}"/>
                </a:ext>
              </a:extLst>
            </p:cNvPr>
            <p:cNvSpPr/>
            <p:nvPr/>
          </p:nvSpPr>
          <p:spPr>
            <a:xfrm>
              <a:off x="1413231" y="4884901"/>
              <a:ext cx="347766" cy="352401"/>
            </a:xfrm>
            <a:custGeom>
              <a:avLst/>
              <a:gdLst/>
              <a:ahLst/>
              <a:cxnLst/>
              <a:rect l="l" t="t" r="r" b="b"/>
              <a:pathLst>
                <a:path w="382905" h="388620">
                  <a:moveTo>
                    <a:pt x="191198" y="0"/>
                  </a:moveTo>
                  <a:lnTo>
                    <a:pt x="147357" y="5131"/>
                  </a:lnTo>
                  <a:lnTo>
                    <a:pt x="107112" y="19749"/>
                  </a:lnTo>
                  <a:lnTo>
                    <a:pt x="71611" y="42687"/>
                  </a:lnTo>
                  <a:lnTo>
                    <a:pt x="42002" y="72778"/>
                  </a:lnTo>
                  <a:lnTo>
                    <a:pt x="19432" y="108857"/>
                  </a:lnTo>
                  <a:lnTo>
                    <a:pt x="5049" y="149756"/>
                  </a:lnTo>
                  <a:lnTo>
                    <a:pt x="0" y="194310"/>
                  </a:lnTo>
                  <a:lnTo>
                    <a:pt x="5049" y="238863"/>
                  </a:lnTo>
                  <a:lnTo>
                    <a:pt x="19432" y="279762"/>
                  </a:lnTo>
                  <a:lnTo>
                    <a:pt x="42002" y="315841"/>
                  </a:lnTo>
                  <a:lnTo>
                    <a:pt x="71611" y="345932"/>
                  </a:lnTo>
                  <a:lnTo>
                    <a:pt x="107112" y="368870"/>
                  </a:lnTo>
                  <a:lnTo>
                    <a:pt x="147357" y="383488"/>
                  </a:lnTo>
                  <a:lnTo>
                    <a:pt x="191198" y="388620"/>
                  </a:lnTo>
                  <a:lnTo>
                    <a:pt x="235039" y="383488"/>
                  </a:lnTo>
                  <a:lnTo>
                    <a:pt x="275284" y="368870"/>
                  </a:lnTo>
                  <a:lnTo>
                    <a:pt x="310785" y="345932"/>
                  </a:lnTo>
                  <a:lnTo>
                    <a:pt x="340394" y="315841"/>
                  </a:lnTo>
                  <a:lnTo>
                    <a:pt x="362964" y="279762"/>
                  </a:lnTo>
                  <a:lnTo>
                    <a:pt x="377347" y="238863"/>
                  </a:lnTo>
                  <a:lnTo>
                    <a:pt x="382397" y="194310"/>
                  </a:lnTo>
                  <a:lnTo>
                    <a:pt x="377347" y="149756"/>
                  </a:lnTo>
                  <a:lnTo>
                    <a:pt x="362964" y="108857"/>
                  </a:lnTo>
                  <a:lnTo>
                    <a:pt x="340394" y="72778"/>
                  </a:lnTo>
                  <a:lnTo>
                    <a:pt x="310785" y="42687"/>
                  </a:lnTo>
                  <a:lnTo>
                    <a:pt x="275284" y="19749"/>
                  </a:lnTo>
                  <a:lnTo>
                    <a:pt x="235039" y="5131"/>
                  </a:lnTo>
                  <a:lnTo>
                    <a:pt x="191198" y="0"/>
                  </a:lnTo>
                  <a:close/>
                </a:path>
              </a:pathLst>
            </a:custGeom>
            <a:solidFill>
              <a:srgbClr val="00AFFF">
                <a:alpha val="25000"/>
              </a:srgbClr>
            </a:solidFill>
          </p:spPr>
          <p:txBody>
            <a:bodyPr wrap="square" lIns="0" tIns="0" rIns="0" bIns="0" rtlCol="0"/>
            <a:lstStyle/>
            <a:p>
              <a:endParaRPr/>
            </a:p>
          </p:txBody>
        </p:sp>
        <p:sp>
          <p:nvSpPr>
            <p:cNvPr id="21" name="bg object 28">
              <a:extLst>
                <a:ext uri="{FF2B5EF4-FFF2-40B4-BE49-F238E27FC236}">
                  <a16:creationId xmlns:a16="http://schemas.microsoft.com/office/drawing/2014/main" id="{5964C189-B02F-4F4E-319E-E3C3858E0426}"/>
                </a:ext>
              </a:extLst>
            </p:cNvPr>
            <p:cNvSpPr/>
            <p:nvPr/>
          </p:nvSpPr>
          <p:spPr>
            <a:xfrm>
              <a:off x="745586" y="5027755"/>
              <a:ext cx="416397" cy="422651"/>
            </a:xfrm>
            <a:custGeom>
              <a:avLst/>
              <a:gdLst/>
              <a:ahLst/>
              <a:cxnLst/>
              <a:rect l="l" t="t" r="r" b="b"/>
              <a:pathLst>
                <a:path w="458469" h="466089">
                  <a:moveTo>
                    <a:pt x="229044" y="0"/>
                  </a:moveTo>
                  <a:lnTo>
                    <a:pt x="182885" y="4728"/>
                  </a:lnTo>
                  <a:lnTo>
                    <a:pt x="139892" y="18290"/>
                  </a:lnTo>
                  <a:lnTo>
                    <a:pt x="100986" y="39750"/>
                  </a:lnTo>
                  <a:lnTo>
                    <a:pt x="67087" y="68172"/>
                  </a:lnTo>
                  <a:lnTo>
                    <a:pt x="39118" y="102620"/>
                  </a:lnTo>
                  <a:lnTo>
                    <a:pt x="18000" y="142158"/>
                  </a:lnTo>
                  <a:lnTo>
                    <a:pt x="4653" y="185852"/>
                  </a:lnTo>
                  <a:lnTo>
                    <a:pt x="0" y="232765"/>
                  </a:lnTo>
                  <a:lnTo>
                    <a:pt x="4653" y="279679"/>
                  </a:lnTo>
                  <a:lnTo>
                    <a:pt x="18000" y="323374"/>
                  </a:lnTo>
                  <a:lnTo>
                    <a:pt x="39118" y="362915"/>
                  </a:lnTo>
                  <a:lnTo>
                    <a:pt x="67087" y="397365"/>
                  </a:lnTo>
                  <a:lnTo>
                    <a:pt x="100986" y="425789"/>
                  </a:lnTo>
                  <a:lnTo>
                    <a:pt x="139892" y="447251"/>
                  </a:lnTo>
                  <a:lnTo>
                    <a:pt x="182885" y="460814"/>
                  </a:lnTo>
                  <a:lnTo>
                    <a:pt x="229044" y="465543"/>
                  </a:lnTo>
                  <a:lnTo>
                    <a:pt x="275207" y="460814"/>
                  </a:lnTo>
                  <a:lnTo>
                    <a:pt x="318203" y="447251"/>
                  </a:lnTo>
                  <a:lnTo>
                    <a:pt x="357112" y="425789"/>
                  </a:lnTo>
                  <a:lnTo>
                    <a:pt x="391012" y="397365"/>
                  </a:lnTo>
                  <a:lnTo>
                    <a:pt x="418982" y="362915"/>
                  </a:lnTo>
                  <a:lnTo>
                    <a:pt x="440101" y="323374"/>
                  </a:lnTo>
                  <a:lnTo>
                    <a:pt x="453448" y="279679"/>
                  </a:lnTo>
                  <a:lnTo>
                    <a:pt x="458101" y="232765"/>
                  </a:lnTo>
                  <a:lnTo>
                    <a:pt x="453448" y="185852"/>
                  </a:lnTo>
                  <a:lnTo>
                    <a:pt x="440101" y="142158"/>
                  </a:lnTo>
                  <a:lnTo>
                    <a:pt x="418982" y="102620"/>
                  </a:lnTo>
                  <a:lnTo>
                    <a:pt x="391012" y="68172"/>
                  </a:lnTo>
                  <a:lnTo>
                    <a:pt x="357112" y="39750"/>
                  </a:lnTo>
                  <a:lnTo>
                    <a:pt x="318203" y="18290"/>
                  </a:lnTo>
                  <a:lnTo>
                    <a:pt x="275207" y="4728"/>
                  </a:lnTo>
                  <a:lnTo>
                    <a:pt x="229044" y="0"/>
                  </a:lnTo>
                  <a:close/>
                </a:path>
              </a:pathLst>
            </a:custGeom>
            <a:solidFill>
              <a:srgbClr val="00AFFF">
                <a:alpha val="25000"/>
              </a:srgbClr>
            </a:solidFill>
          </p:spPr>
          <p:txBody>
            <a:bodyPr wrap="square" lIns="0" tIns="0" rIns="0" bIns="0" rtlCol="0"/>
            <a:lstStyle/>
            <a:p>
              <a:endParaRPr/>
            </a:p>
          </p:txBody>
        </p:sp>
        <p:sp>
          <p:nvSpPr>
            <p:cNvPr id="22" name="bg object 29">
              <a:extLst>
                <a:ext uri="{FF2B5EF4-FFF2-40B4-BE49-F238E27FC236}">
                  <a16:creationId xmlns:a16="http://schemas.microsoft.com/office/drawing/2014/main" id="{AEB47A71-CFC8-15A6-BEFC-708022A4AF5E}"/>
                </a:ext>
              </a:extLst>
            </p:cNvPr>
            <p:cNvSpPr/>
            <p:nvPr/>
          </p:nvSpPr>
          <p:spPr>
            <a:xfrm>
              <a:off x="2123992" y="5971316"/>
              <a:ext cx="643051" cy="652403"/>
            </a:xfrm>
            <a:custGeom>
              <a:avLst/>
              <a:gdLst/>
              <a:ahLst/>
              <a:cxnLst/>
              <a:rect l="l" t="t" r="r" b="b"/>
              <a:pathLst>
                <a:path w="708025" h="719454">
                  <a:moveTo>
                    <a:pt x="353898" y="0"/>
                  </a:moveTo>
                  <a:lnTo>
                    <a:pt x="305876" y="3283"/>
                  </a:lnTo>
                  <a:lnTo>
                    <a:pt x="259817" y="12847"/>
                  </a:lnTo>
                  <a:lnTo>
                    <a:pt x="216144" y="28263"/>
                  </a:lnTo>
                  <a:lnTo>
                    <a:pt x="175278" y="49103"/>
                  </a:lnTo>
                  <a:lnTo>
                    <a:pt x="137641" y="74938"/>
                  </a:lnTo>
                  <a:lnTo>
                    <a:pt x="103654" y="105340"/>
                  </a:lnTo>
                  <a:lnTo>
                    <a:pt x="73739" y="139879"/>
                  </a:lnTo>
                  <a:lnTo>
                    <a:pt x="48317" y="178129"/>
                  </a:lnTo>
                  <a:lnTo>
                    <a:pt x="27811" y="219659"/>
                  </a:lnTo>
                  <a:lnTo>
                    <a:pt x="12641" y="264042"/>
                  </a:lnTo>
                  <a:lnTo>
                    <a:pt x="3230" y="310849"/>
                  </a:lnTo>
                  <a:lnTo>
                    <a:pt x="0" y="359651"/>
                  </a:lnTo>
                  <a:lnTo>
                    <a:pt x="3230" y="408453"/>
                  </a:lnTo>
                  <a:lnTo>
                    <a:pt x="12641" y="455260"/>
                  </a:lnTo>
                  <a:lnTo>
                    <a:pt x="27811" y="499643"/>
                  </a:lnTo>
                  <a:lnTo>
                    <a:pt x="48317" y="541173"/>
                  </a:lnTo>
                  <a:lnTo>
                    <a:pt x="73739" y="579422"/>
                  </a:lnTo>
                  <a:lnTo>
                    <a:pt x="103654" y="613962"/>
                  </a:lnTo>
                  <a:lnTo>
                    <a:pt x="137641" y="644364"/>
                  </a:lnTo>
                  <a:lnTo>
                    <a:pt x="175278" y="670199"/>
                  </a:lnTo>
                  <a:lnTo>
                    <a:pt x="216144" y="691039"/>
                  </a:lnTo>
                  <a:lnTo>
                    <a:pt x="259817" y="706455"/>
                  </a:lnTo>
                  <a:lnTo>
                    <a:pt x="305876" y="716019"/>
                  </a:lnTo>
                  <a:lnTo>
                    <a:pt x="353898" y="719302"/>
                  </a:lnTo>
                  <a:lnTo>
                    <a:pt x="401920" y="716019"/>
                  </a:lnTo>
                  <a:lnTo>
                    <a:pt x="447978" y="706455"/>
                  </a:lnTo>
                  <a:lnTo>
                    <a:pt x="491651" y="691039"/>
                  </a:lnTo>
                  <a:lnTo>
                    <a:pt x="532517" y="670199"/>
                  </a:lnTo>
                  <a:lnTo>
                    <a:pt x="570155" y="644364"/>
                  </a:lnTo>
                  <a:lnTo>
                    <a:pt x="604142" y="613962"/>
                  </a:lnTo>
                  <a:lnTo>
                    <a:pt x="634057" y="579422"/>
                  </a:lnTo>
                  <a:lnTo>
                    <a:pt x="659479" y="541173"/>
                  </a:lnTo>
                  <a:lnTo>
                    <a:pt x="679985" y="499643"/>
                  </a:lnTo>
                  <a:lnTo>
                    <a:pt x="695154" y="455260"/>
                  </a:lnTo>
                  <a:lnTo>
                    <a:pt x="704565" y="408453"/>
                  </a:lnTo>
                  <a:lnTo>
                    <a:pt x="707796" y="359651"/>
                  </a:lnTo>
                  <a:lnTo>
                    <a:pt x="704565" y="310849"/>
                  </a:lnTo>
                  <a:lnTo>
                    <a:pt x="695154" y="264042"/>
                  </a:lnTo>
                  <a:lnTo>
                    <a:pt x="679985" y="219659"/>
                  </a:lnTo>
                  <a:lnTo>
                    <a:pt x="659479" y="178129"/>
                  </a:lnTo>
                  <a:lnTo>
                    <a:pt x="634057" y="139879"/>
                  </a:lnTo>
                  <a:lnTo>
                    <a:pt x="604142" y="105340"/>
                  </a:lnTo>
                  <a:lnTo>
                    <a:pt x="570155" y="74938"/>
                  </a:lnTo>
                  <a:lnTo>
                    <a:pt x="532517" y="49103"/>
                  </a:lnTo>
                  <a:lnTo>
                    <a:pt x="491651" y="28263"/>
                  </a:lnTo>
                  <a:lnTo>
                    <a:pt x="447978" y="12847"/>
                  </a:lnTo>
                  <a:lnTo>
                    <a:pt x="401920" y="3283"/>
                  </a:lnTo>
                  <a:lnTo>
                    <a:pt x="353898" y="0"/>
                  </a:lnTo>
                  <a:close/>
                </a:path>
              </a:pathLst>
            </a:custGeom>
            <a:solidFill>
              <a:srgbClr val="00AFFF">
                <a:alpha val="25000"/>
              </a:srgbClr>
            </a:solidFill>
          </p:spPr>
          <p:txBody>
            <a:bodyPr wrap="square" lIns="0" tIns="0" rIns="0" bIns="0" rtlCol="0"/>
            <a:lstStyle/>
            <a:p>
              <a:endParaRPr/>
            </a:p>
          </p:txBody>
        </p:sp>
        <p:sp>
          <p:nvSpPr>
            <p:cNvPr id="23" name="bg object 30">
              <a:extLst>
                <a:ext uri="{FF2B5EF4-FFF2-40B4-BE49-F238E27FC236}">
                  <a16:creationId xmlns:a16="http://schemas.microsoft.com/office/drawing/2014/main" id="{746867FF-9D81-E86C-14D3-BA25BF17E6C5}"/>
                </a:ext>
              </a:extLst>
            </p:cNvPr>
            <p:cNvSpPr/>
            <p:nvPr/>
          </p:nvSpPr>
          <p:spPr>
            <a:xfrm>
              <a:off x="528270" y="4184585"/>
              <a:ext cx="536933" cy="545300"/>
            </a:xfrm>
            <a:custGeom>
              <a:avLst/>
              <a:gdLst/>
              <a:ahLst/>
              <a:cxnLst/>
              <a:rect l="l" t="t" r="r" b="b"/>
              <a:pathLst>
                <a:path w="591185" h="601345">
                  <a:moveTo>
                    <a:pt x="295554" y="0"/>
                  </a:moveTo>
                  <a:lnTo>
                    <a:pt x="247613" y="3930"/>
                  </a:lnTo>
                  <a:lnTo>
                    <a:pt x="202135" y="15311"/>
                  </a:lnTo>
                  <a:lnTo>
                    <a:pt x="159728" y="33523"/>
                  </a:lnTo>
                  <a:lnTo>
                    <a:pt x="121002" y="57949"/>
                  </a:lnTo>
                  <a:lnTo>
                    <a:pt x="86564" y="87969"/>
                  </a:lnTo>
                  <a:lnTo>
                    <a:pt x="57024" y="122966"/>
                  </a:lnTo>
                  <a:lnTo>
                    <a:pt x="32988" y="162321"/>
                  </a:lnTo>
                  <a:lnTo>
                    <a:pt x="15067" y="205417"/>
                  </a:lnTo>
                  <a:lnTo>
                    <a:pt x="3868" y="251634"/>
                  </a:lnTo>
                  <a:lnTo>
                    <a:pt x="0" y="300355"/>
                  </a:lnTo>
                  <a:lnTo>
                    <a:pt x="3868" y="349075"/>
                  </a:lnTo>
                  <a:lnTo>
                    <a:pt x="15067" y="395294"/>
                  </a:lnTo>
                  <a:lnTo>
                    <a:pt x="32988" y="438390"/>
                  </a:lnTo>
                  <a:lnTo>
                    <a:pt x="57024" y="477747"/>
                  </a:lnTo>
                  <a:lnTo>
                    <a:pt x="86564" y="512746"/>
                  </a:lnTo>
                  <a:lnTo>
                    <a:pt x="121002" y="542768"/>
                  </a:lnTo>
                  <a:lnTo>
                    <a:pt x="159728" y="567195"/>
                  </a:lnTo>
                  <a:lnTo>
                    <a:pt x="202135" y="585409"/>
                  </a:lnTo>
                  <a:lnTo>
                    <a:pt x="247613" y="596791"/>
                  </a:lnTo>
                  <a:lnTo>
                    <a:pt x="295554" y="600722"/>
                  </a:lnTo>
                  <a:lnTo>
                    <a:pt x="343495" y="596791"/>
                  </a:lnTo>
                  <a:lnTo>
                    <a:pt x="388973" y="585409"/>
                  </a:lnTo>
                  <a:lnTo>
                    <a:pt x="431379" y="567195"/>
                  </a:lnTo>
                  <a:lnTo>
                    <a:pt x="470106" y="542768"/>
                  </a:lnTo>
                  <a:lnTo>
                    <a:pt x="504544" y="512746"/>
                  </a:lnTo>
                  <a:lnTo>
                    <a:pt x="534084" y="477747"/>
                  </a:lnTo>
                  <a:lnTo>
                    <a:pt x="558120" y="438390"/>
                  </a:lnTo>
                  <a:lnTo>
                    <a:pt x="576041" y="395294"/>
                  </a:lnTo>
                  <a:lnTo>
                    <a:pt x="587240" y="349075"/>
                  </a:lnTo>
                  <a:lnTo>
                    <a:pt x="591108" y="300355"/>
                  </a:lnTo>
                  <a:lnTo>
                    <a:pt x="587240" y="251634"/>
                  </a:lnTo>
                  <a:lnTo>
                    <a:pt x="576041" y="205417"/>
                  </a:lnTo>
                  <a:lnTo>
                    <a:pt x="558120" y="162321"/>
                  </a:lnTo>
                  <a:lnTo>
                    <a:pt x="534084" y="122966"/>
                  </a:lnTo>
                  <a:lnTo>
                    <a:pt x="504544" y="87969"/>
                  </a:lnTo>
                  <a:lnTo>
                    <a:pt x="470106" y="57949"/>
                  </a:lnTo>
                  <a:lnTo>
                    <a:pt x="431379" y="33523"/>
                  </a:lnTo>
                  <a:lnTo>
                    <a:pt x="388973" y="15311"/>
                  </a:lnTo>
                  <a:lnTo>
                    <a:pt x="343495" y="3930"/>
                  </a:lnTo>
                  <a:lnTo>
                    <a:pt x="295554" y="0"/>
                  </a:lnTo>
                  <a:close/>
                </a:path>
              </a:pathLst>
            </a:custGeom>
            <a:solidFill>
              <a:srgbClr val="00AFFF">
                <a:alpha val="25000"/>
              </a:srgbClr>
            </a:solidFill>
          </p:spPr>
          <p:txBody>
            <a:bodyPr wrap="square" lIns="0" tIns="0" rIns="0" bIns="0" rtlCol="0"/>
            <a:lstStyle/>
            <a:p>
              <a:endParaRPr/>
            </a:p>
          </p:txBody>
        </p:sp>
        <p:sp>
          <p:nvSpPr>
            <p:cNvPr id="24" name="bg object 31">
              <a:extLst>
                <a:ext uri="{FF2B5EF4-FFF2-40B4-BE49-F238E27FC236}">
                  <a16:creationId xmlns:a16="http://schemas.microsoft.com/office/drawing/2014/main" id="{612BE240-184A-F95D-4205-673C737C18BE}"/>
                </a:ext>
              </a:extLst>
            </p:cNvPr>
            <p:cNvSpPr/>
            <p:nvPr/>
          </p:nvSpPr>
          <p:spPr>
            <a:xfrm>
              <a:off x="0" y="4190048"/>
              <a:ext cx="326428" cy="1775824"/>
            </a:xfrm>
            <a:custGeom>
              <a:avLst/>
              <a:gdLst/>
              <a:ahLst/>
              <a:cxnLst/>
              <a:rect l="l" t="t" r="r" b="b"/>
              <a:pathLst>
                <a:path w="359410" h="1958340">
                  <a:moveTo>
                    <a:pt x="0" y="0"/>
                  </a:moveTo>
                  <a:lnTo>
                    <a:pt x="0" y="1957935"/>
                  </a:lnTo>
                  <a:lnTo>
                    <a:pt x="27343" y="1918542"/>
                  </a:lnTo>
                  <a:lnTo>
                    <a:pt x="53873" y="1878921"/>
                  </a:lnTo>
                  <a:lnTo>
                    <a:pt x="79503" y="1839152"/>
                  </a:lnTo>
                  <a:lnTo>
                    <a:pt x="104202" y="1799230"/>
                  </a:lnTo>
                  <a:lnTo>
                    <a:pt x="127941" y="1759153"/>
                  </a:lnTo>
                  <a:lnTo>
                    <a:pt x="150691" y="1718918"/>
                  </a:lnTo>
                  <a:lnTo>
                    <a:pt x="172420" y="1678522"/>
                  </a:lnTo>
                  <a:lnTo>
                    <a:pt x="193101" y="1637961"/>
                  </a:lnTo>
                  <a:lnTo>
                    <a:pt x="212701" y="1597233"/>
                  </a:lnTo>
                  <a:lnTo>
                    <a:pt x="231193" y="1556334"/>
                  </a:lnTo>
                  <a:lnTo>
                    <a:pt x="248546" y="1515262"/>
                  </a:lnTo>
                  <a:lnTo>
                    <a:pt x="264730" y="1474013"/>
                  </a:lnTo>
                  <a:lnTo>
                    <a:pt x="279716" y="1432583"/>
                  </a:lnTo>
                  <a:lnTo>
                    <a:pt x="293473" y="1390971"/>
                  </a:lnTo>
                  <a:lnTo>
                    <a:pt x="305972" y="1349173"/>
                  </a:lnTo>
                  <a:lnTo>
                    <a:pt x="317182" y="1307186"/>
                  </a:lnTo>
                  <a:lnTo>
                    <a:pt x="327075" y="1265006"/>
                  </a:lnTo>
                  <a:lnTo>
                    <a:pt x="335620" y="1222631"/>
                  </a:lnTo>
                  <a:lnTo>
                    <a:pt x="342788" y="1180057"/>
                  </a:lnTo>
                  <a:lnTo>
                    <a:pt x="348549" y="1137282"/>
                  </a:lnTo>
                  <a:lnTo>
                    <a:pt x="355702" y="1059942"/>
                  </a:lnTo>
                  <a:lnTo>
                    <a:pt x="358873" y="984771"/>
                  </a:lnTo>
                  <a:lnTo>
                    <a:pt x="358318" y="911798"/>
                  </a:lnTo>
                  <a:lnTo>
                    <a:pt x="354295" y="841048"/>
                  </a:lnTo>
                  <a:lnTo>
                    <a:pt x="347060" y="772550"/>
                  </a:lnTo>
                  <a:lnTo>
                    <a:pt x="336870" y="706330"/>
                  </a:lnTo>
                  <a:lnTo>
                    <a:pt x="323983" y="642415"/>
                  </a:lnTo>
                  <a:lnTo>
                    <a:pt x="308655" y="580833"/>
                  </a:lnTo>
                  <a:lnTo>
                    <a:pt x="291143" y="521610"/>
                  </a:lnTo>
                  <a:lnTo>
                    <a:pt x="271705" y="464775"/>
                  </a:lnTo>
                  <a:lnTo>
                    <a:pt x="250596" y="410353"/>
                  </a:lnTo>
                  <a:lnTo>
                    <a:pt x="228075" y="358372"/>
                  </a:lnTo>
                  <a:lnTo>
                    <a:pt x="204398" y="308860"/>
                  </a:lnTo>
                  <a:lnTo>
                    <a:pt x="179822" y="261843"/>
                  </a:lnTo>
                  <a:lnTo>
                    <a:pt x="154604" y="217348"/>
                  </a:lnTo>
                  <a:lnTo>
                    <a:pt x="129001" y="175403"/>
                  </a:lnTo>
                  <a:lnTo>
                    <a:pt x="103270" y="136034"/>
                  </a:lnTo>
                  <a:lnTo>
                    <a:pt x="77668" y="99270"/>
                  </a:lnTo>
                  <a:lnTo>
                    <a:pt x="52451" y="65136"/>
                  </a:lnTo>
                  <a:lnTo>
                    <a:pt x="27878" y="33660"/>
                  </a:lnTo>
                  <a:lnTo>
                    <a:pt x="0" y="0"/>
                  </a:lnTo>
                  <a:close/>
                </a:path>
              </a:pathLst>
            </a:custGeom>
            <a:solidFill>
              <a:srgbClr val="00AFFF">
                <a:alpha val="25000"/>
              </a:srgbClr>
            </a:solidFill>
          </p:spPr>
          <p:txBody>
            <a:bodyPr wrap="square" lIns="0" tIns="0" rIns="0" bIns="0" rtlCol="0"/>
            <a:lstStyle/>
            <a:p>
              <a:endParaRPr/>
            </a:p>
          </p:txBody>
        </p:sp>
      </p:grpSp>
      <p:sp>
        <p:nvSpPr>
          <p:cNvPr id="2" name="Title 1">
            <a:extLst>
              <a:ext uri="{FF2B5EF4-FFF2-40B4-BE49-F238E27FC236}">
                <a16:creationId xmlns:a16="http://schemas.microsoft.com/office/drawing/2014/main" id="{C650ED17-E3D9-4121-6A80-931E191258B6}"/>
              </a:ext>
            </a:extLst>
          </p:cNvPr>
          <p:cNvSpPr>
            <a:spLocks noGrp="1"/>
          </p:cNvSpPr>
          <p:nvPr>
            <p:ph type="ctrTitle"/>
          </p:nvPr>
        </p:nvSpPr>
        <p:spPr>
          <a:xfrm>
            <a:off x="1390559" y="1589518"/>
            <a:ext cx="6384840" cy="1655762"/>
          </a:xfrm>
        </p:spPr>
        <p:txBody>
          <a:bodyPr anchor="b">
            <a:normAutofit/>
          </a:bodyPr>
          <a:lstStyle>
            <a:lvl1pPr algn="l">
              <a:defRPr sz="5400">
                <a:solidFill>
                  <a:schemeClr val="bg1"/>
                </a:solidFill>
                <a:latin typeface="Quicksand" pitchFamily="2" charset="0"/>
              </a:defRPr>
            </a:lvl1pPr>
          </a:lstStyle>
          <a:p>
            <a:r>
              <a:rPr lang="en-GB"/>
              <a:t>Click to edit Master title style</a:t>
            </a:r>
            <a:endParaRPr lang="en-GB" dirty="0"/>
          </a:p>
        </p:txBody>
      </p:sp>
      <p:sp>
        <p:nvSpPr>
          <p:cNvPr id="3" name="Subtitle 2">
            <a:extLst>
              <a:ext uri="{FF2B5EF4-FFF2-40B4-BE49-F238E27FC236}">
                <a16:creationId xmlns:a16="http://schemas.microsoft.com/office/drawing/2014/main" id="{3F450364-A7A7-5137-B495-A7AC34AB67C1}"/>
              </a:ext>
            </a:extLst>
          </p:cNvPr>
          <p:cNvSpPr>
            <a:spLocks noGrp="1"/>
          </p:cNvSpPr>
          <p:nvPr>
            <p:ph type="subTitle" idx="1"/>
          </p:nvPr>
        </p:nvSpPr>
        <p:spPr>
          <a:xfrm>
            <a:off x="1367888" y="3602038"/>
            <a:ext cx="6384840" cy="1127847"/>
          </a:xfrm>
          <a:prstGeom prst="rect">
            <a:avLst/>
          </a:prstGeom>
        </p:spPr>
        <p:txBody>
          <a:bodyPr/>
          <a:lstStyle>
            <a:lvl1pPr marL="0" indent="0" algn="l">
              <a:buNone/>
              <a:defRPr sz="2400">
                <a:solidFill>
                  <a:schemeClr val="tx2"/>
                </a:solidFill>
                <a:latin typeface="Quicksand"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sp>
        <p:nvSpPr>
          <p:cNvPr id="5" name="Footer Placeholder 4">
            <a:extLst>
              <a:ext uri="{FF2B5EF4-FFF2-40B4-BE49-F238E27FC236}">
                <a16:creationId xmlns:a16="http://schemas.microsoft.com/office/drawing/2014/main" id="{6EE016D5-6D8A-ABCA-3F32-19AB5ECD7A09}"/>
              </a:ext>
            </a:extLst>
          </p:cNvPr>
          <p:cNvSpPr>
            <a:spLocks noGrp="1"/>
          </p:cNvSpPr>
          <p:nvPr>
            <p:ph type="ftr" sz="quarter" idx="11"/>
          </p:nvPr>
        </p:nvSpPr>
        <p:spPr>
          <a:xfrm>
            <a:off x="1406931" y="334197"/>
            <a:ext cx="5740399" cy="365125"/>
          </a:xfrm>
          <a:prstGeom prst="rect">
            <a:avLst/>
          </a:prstGeom>
        </p:spPr>
        <p:txBody>
          <a:bodyPr/>
          <a:lstStyle>
            <a:lvl1pPr>
              <a:defRPr sz="1400"/>
            </a:lvl1pPr>
          </a:lstStyle>
          <a:p>
            <a:r>
              <a:rPr lang="en-GB" dirty="0"/>
              <a:t>Presenter names and organisations</a:t>
            </a:r>
          </a:p>
          <a:p>
            <a:endParaRPr lang="en-GB" dirty="0"/>
          </a:p>
        </p:txBody>
      </p:sp>
      <p:grpSp>
        <p:nvGrpSpPr>
          <p:cNvPr id="8" name="Group 7">
            <a:extLst>
              <a:ext uri="{FF2B5EF4-FFF2-40B4-BE49-F238E27FC236}">
                <a16:creationId xmlns:a16="http://schemas.microsoft.com/office/drawing/2014/main" id="{ED61F235-EDD6-AB74-9C26-D2589D0B0BF5}"/>
              </a:ext>
            </a:extLst>
          </p:cNvPr>
          <p:cNvGrpSpPr/>
          <p:nvPr userDrawn="1"/>
        </p:nvGrpSpPr>
        <p:grpSpPr>
          <a:xfrm>
            <a:off x="9768269" y="5263373"/>
            <a:ext cx="1969708" cy="1135284"/>
            <a:chOff x="9768269" y="5263373"/>
            <a:chExt cx="1969708" cy="1135284"/>
          </a:xfrm>
        </p:grpSpPr>
        <p:sp>
          <p:nvSpPr>
            <p:cNvPr id="9" name="bg object 17">
              <a:extLst>
                <a:ext uri="{FF2B5EF4-FFF2-40B4-BE49-F238E27FC236}">
                  <a16:creationId xmlns:a16="http://schemas.microsoft.com/office/drawing/2014/main" id="{B1A475EC-8DC6-2777-9270-716381F7DA64}"/>
                </a:ext>
              </a:extLst>
            </p:cNvPr>
            <p:cNvSpPr/>
            <p:nvPr/>
          </p:nvSpPr>
          <p:spPr>
            <a:xfrm>
              <a:off x="11351110" y="6342803"/>
              <a:ext cx="232420" cy="55854"/>
            </a:xfrm>
            <a:custGeom>
              <a:avLst/>
              <a:gdLst/>
              <a:ahLst/>
              <a:cxnLst/>
              <a:rect l="l" t="t" r="r" b="b"/>
              <a:pathLst>
                <a:path w="255904" h="61595">
                  <a:moveTo>
                    <a:pt x="45491" y="54190"/>
                  </a:moveTo>
                  <a:lnTo>
                    <a:pt x="43802" y="52768"/>
                  </a:lnTo>
                  <a:lnTo>
                    <a:pt x="9245" y="52768"/>
                  </a:lnTo>
                  <a:lnTo>
                    <a:pt x="9245" y="44780"/>
                  </a:lnTo>
                  <a:lnTo>
                    <a:pt x="14655" y="41402"/>
                  </a:lnTo>
                  <a:lnTo>
                    <a:pt x="26657" y="35267"/>
                  </a:lnTo>
                  <a:lnTo>
                    <a:pt x="34874" y="30670"/>
                  </a:lnTo>
                  <a:lnTo>
                    <a:pt x="40576" y="26225"/>
                  </a:lnTo>
                  <a:lnTo>
                    <a:pt x="43891" y="21399"/>
                  </a:lnTo>
                  <a:lnTo>
                    <a:pt x="44958" y="15633"/>
                  </a:lnTo>
                  <a:lnTo>
                    <a:pt x="43383" y="8851"/>
                  </a:lnTo>
                  <a:lnTo>
                    <a:pt x="38976" y="3962"/>
                  </a:lnTo>
                  <a:lnTo>
                    <a:pt x="32181" y="1003"/>
                  </a:lnTo>
                  <a:lnTo>
                    <a:pt x="23456" y="0"/>
                  </a:lnTo>
                  <a:lnTo>
                    <a:pt x="18389" y="0"/>
                  </a:lnTo>
                  <a:lnTo>
                    <a:pt x="12979" y="711"/>
                  </a:lnTo>
                  <a:lnTo>
                    <a:pt x="3378" y="5245"/>
                  </a:lnTo>
                  <a:lnTo>
                    <a:pt x="1155" y="7023"/>
                  </a:lnTo>
                  <a:lnTo>
                    <a:pt x="1155" y="11455"/>
                  </a:lnTo>
                  <a:lnTo>
                    <a:pt x="2667" y="13144"/>
                  </a:lnTo>
                  <a:lnTo>
                    <a:pt x="5600" y="13144"/>
                  </a:lnTo>
                  <a:lnTo>
                    <a:pt x="6311" y="12877"/>
                  </a:lnTo>
                  <a:lnTo>
                    <a:pt x="12255" y="8978"/>
                  </a:lnTo>
                  <a:lnTo>
                    <a:pt x="16611" y="7467"/>
                  </a:lnTo>
                  <a:lnTo>
                    <a:pt x="31267" y="7467"/>
                  </a:lnTo>
                  <a:lnTo>
                    <a:pt x="36601" y="10210"/>
                  </a:lnTo>
                  <a:lnTo>
                    <a:pt x="36601" y="21678"/>
                  </a:lnTo>
                  <a:lnTo>
                    <a:pt x="30124" y="24879"/>
                  </a:lnTo>
                  <a:lnTo>
                    <a:pt x="19456" y="30378"/>
                  </a:lnTo>
                  <a:lnTo>
                    <a:pt x="11137" y="35166"/>
                  </a:lnTo>
                  <a:lnTo>
                    <a:pt x="5041" y="40436"/>
                  </a:lnTo>
                  <a:lnTo>
                    <a:pt x="1282" y="47193"/>
                  </a:lnTo>
                  <a:lnTo>
                    <a:pt x="0" y="56413"/>
                  </a:lnTo>
                  <a:lnTo>
                    <a:pt x="0" y="58458"/>
                  </a:lnTo>
                  <a:lnTo>
                    <a:pt x="1600" y="60236"/>
                  </a:lnTo>
                  <a:lnTo>
                    <a:pt x="41757" y="60236"/>
                  </a:lnTo>
                  <a:lnTo>
                    <a:pt x="43802" y="60236"/>
                  </a:lnTo>
                  <a:lnTo>
                    <a:pt x="45491" y="58724"/>
                  </a:lnTo>
                  <a:lnTo>
                    <a:pt x="45491" y="54190"/>
                  </a:lnTo>
                  <a:close/>
                </a:path>
                <a:path w="255904" h="61595">
                  <a:moveTo>
                    <a:pt x="118351" y="30645"/>
                  </a:moveTo>
                  <a:lnTo>
                    <a:pt x="116674" y="19113"/>
                  </a:lnTo>
                  <a:lnTo>
                    <a:pt x="111785" y="9334"/>
                  </a:lnTo>
                  <a:lnTo>
                    <a:pt x="109994" y="7810"/>
                  </a:lnTo>
                  <a:lnTo>
                    <a:pt x="109994" y="30645"/>
                  </a:lnTo>
                  <a:lnTo>
                    <a:pt x="108788" y="39789"/>
                  </a:lnTo>
                  <a:lnTo>
                    <a:pt x="105371" y="47142"/>
                  </a:lnTo>
                  <a:lnTo>
                    <a:pt x="100025" y="52057"/>
                  </a:lnTo>
                  <a:lnTo>
                    <a:pt x="93027" y="53835"/>
                  </a:lnTo>
                  <a:lnTo>
                    <a:pt x="86017" y="52057"/>
                  </a:lnTo>
                  <a:lnTo>
                    <a:pt x="80670" y="47142"/>
                  </a:lnTo>
                  <a:lnTo>
                    <a:pt x="77254" y="39789"/>
                  </a:lnTo>
                  <a:lnTo>
                    <a:pt x="76060" y="30645"/>
                  </a:lnTo>
                  <a:lnTo>
                    <a:pt x="77254" y="21526"/>
                  </a:lnTo>
                  <a:lnTo>
                    <a:pt x="80670" y="14160"/>
                  </a:lnTo>
                  <a:lnTo>
                    <a:pt x="86017" y="9258"/>
                  </a:lnTo>
                  <a:lnTo>
                    <a:pt x="93027" y="7467"/>
                  </a:lnTo>
                  <a:lnTo>
                    <a:pt x="100025" y="9258"/>
                  </a:lnTo>
                  <a:lnTo>
                    <a:pt x="105371" y="14160"/>
                  </a:lnTo>
                  <a:lnTo>
                    <a:pt x="108788" y="21526"/>
                  </a:lnTo>
                  <a:lnTo>
                    <a:pt x="109994" y="30645"/>
                  </a:lnTo>
                  <a:lnTo>
                    <a:pt x="109994" y="7810"/>
                  </a:lnTo>
                  <a:lnTo>
                    <a:pt x="109601" y="7467"/>
                  </a:lnTo>
                  <a:lnTo>
                    <a:pt x="103835" y="2540"/>
                  </a:lnTo>
                  <a:lnTo>
                    <a:pt x="93027" y="0"/>
                  </a:lnTo>
                  <a:lnTo>
                    <a:pt x="82207" y="2540"/>
                  </a:lnTo>
                  <a:lnTo>
                    <a:pt x="74269" y="9334"/>
                  </a:lnTo>
                  <a:lnTo>
                    <a:pt x="69367" y="19113"/>
                  </a:lnTo>
                  <a:lnTo>
                    <a:pt x="67703" y="30645"/>
                  </a:lnTo>
                  <a:lnTo>
                    <a:pt x="69367" y="42189"/>
                  </a:lnTo>
                  <a:lnTo>
                    <a:pt x="74269" y="51981"/>
                  </a:lnTo>
                  <a:lnTo>
                    <a:pt x="82207" y="58762"/>
                  </a:lnTo>
                  <a:lnTo>
                    <a:pt x="93027" y="61302"/>
                  </a:lnTo>
                  <a:lnTo>
                    <a:pt x="103835" y="58762"/>
                  </a:lnTo>
                  <a:lnTo>
                    <a:pt x="109601" y="53835"/>
                  </a:lnTo>
                  <a:lnTo>
                    <a:pt x="111785" y="51981"/>
                  </a:lnTo>
                  <a:lnTo>
                    <a:pt x="116674" y="42189"/>
                  </a:lnTo>
                  <a:lnTo>
                    <a:pt x="118351" y="30645"/>
                  </a:lnTo>
                  <a:close/>
                </a:path>
                <a:path w="255904" h="61595">
                  <a:moveTo>
                    <a:pt x="186664" y="54190"/>
                  </a:moveTo>
                  <a:lnTo>
                    <a:pt x="184975" y="52768"/>
                  </a:lnTo>
                  <a:lnTo>
                    <a:pt x="150418" y="52768"/>
                  </a:lnTo>
                  <a:lnTo>
                    <a:pt x="150418" y="44780"/>
                  </a:lnTo>
                  <a:lnTo>
                    <a:pt x="155829" y="41402"/>
                  </a:lnTo>
                  <a:lnTo>
                    <a:pt x="167830" y="35267"/>
                  </a:lnTo>
                  <a:lnTo>
                    <a:pt x="176047" y="30670"/>
                  </a:lnTo>
                  <a:lnTo>
                    <a:pt x="181749" y="26225"/>
                  </a:lnTo>
                  <a:lnTo>
                    <a:pt x="185051" y="21399"/>
                  </a:lnTo>
                  <a:lnTo>
                    <a:pt x="186131" y="15633"/>
                  </a:lnTo>
                  <a:lnTo>
                    <a:pt x="184556" y="8851"/>
                  </a:lnTo>
                  <a:lnTo>
                    <a:pt x="180149" y="3962"/>
                  </a:lnTo>
                  <a:lnTo>
                    <a:pt x="173342" y="1003"/>
                  </a:lnTo>
                  <a:lnTo>
                    <a:pt x="164630" y="0"/>
                  </a:lnTo>
                  <a:lnTo>
                    <a:pt x="159562" y="0"/>
                  </a:lnTo>
                  <a:lnTo>
                    <a:pt x="154139" y="711"/>
                  </a:lnTo>
                  <a:lnTo>
                    <a:pt x="144551" y="5245"/>
                  </a:lnTo>
                  <a:lnTo>
                    <a:pt x="142328" y="7023"/>
                  </a:lnTo>
                  <a:lnTo>
                    <a:pt x="142328" y="11455"/>
                  </a:lnTo>
                  <a:lnTo>
                    <a:pt x="143840" y="13144"/>
                  </a:lnTo>
                  <a:lnTo>
                    <a:pt x="146773" y="13144"/>
                  </a:lnTo>
                  <a:lnTo>
                    <a:pt x="147485" y="12877"/>
                  </a:lnTo>
                  <a:lnTo>
                    <a:pt x="153428" y="8978"/>
                  </a:lnTo>
                  <a:lnTo>
                    <a:pt x="157784" y="7467"/>
                  </a:lnTo>
                  <a:lnTo>
                    <a:pt x="172440" y="7467"/>
                  </a:lnTo>
                  <a:lnTo>
                    <a:pt x="177774" y="10210"/>
                  </a:lnTo>
                  <a:lnTo>
                    <a:pt x="177774" y="21678"/>
                  </a:lnTo>
                  <a:lnTo>
                    <a:pt x="171297" y="24879"/>
                  </a:lnTo>
                  <a:lnTo>
                    <a:pt x="160629" y="30378"/>
                  </a:lnTo>
                  <a:lnTo>
                    <a:pt x="152311" y="35166"/>
                  </a:lnTo>
                  <a:lnTo>
                    <a:pt x="146202" y="40436"/>
                  </a:lnTo>
                  <a:lnTo>
                    <a:pt x="142455" y="47193"/>
                  </a:lnTo>
                  <a:lnTo>
                    <a:pt x="141173" y="56413"/>
                  </a:lnTo>
                  <a:lnTo>
                    <a:pt x="141173" y="58458"/>
                  </a:lnTo>
                  <a:lnTo>
                    <a:pt x="142773" y="60236"/>
                  </a:lnTo>
                  <a:lnTo>
                    <a:pt x="182930" y="60236"/>
                  </a:lnTo>
                  <a:lnTo>
                    <a:pt x="184975" y="60236"/>
                  </a:lnTo>
                  <a:lnTo>
                    <a:pt x="186664" y="58724"/>
                  </a:lnTo>
                  <a:lnTo>
                    <a:pt x="186664" y="54190"/>
                  </a:lnTo>
                  <a:close/>
                </a:path>
                <a:path w="255904" h="61595">
                  <a:moveTo>
                    <a:pt x="255689" y="34734"/>
                  </a:moveTo>
                  <a:lnTo>
                    <a:pt x="250532" y="29845"/>
                  </a:lnTo>
                  <a:lnTo>
                    <a:pt x="242709" y="27724"/>
                  </a:lnTo>
                  <a:lnTo>
                    <a:pt x="249021" y="25057"/>
                  </a:lnTo>
                  <a:lnTo>
                    <a:pt x="251688" y="20078"/>
                  </a:lnTo>
                  <a:lnTo>
                    <a:pt x="251688" y="5511"/>
                  </a:lnTo>
                  <a:lnTo>
                    <a:pt x="244309" y="0"/>
                  </a:lnTo>
                  <a:lnTo>
                    <a:pt x="228765" y="0"/>
                  </a:lnTo>
                  <a:lnTo>
                    <a:pt x="223875" y="622"/>
                  </a:lnTo>
                  <a:lnTo>
                    <a:pt x="217665" y="3200"/>
                  </a:lnTo>
                  <a:lnTo>
                    <a:pt x="214287" y="4800"/>
                  </a:lnTo>
                  <a:lnTo>
                    <a:pt x="214287" y="9410"/>
                  </a:lnTo>
                  <a:lnTo>
                    <a:pt x="215442" y="10934"/>
                  </a:lnTo>
                  <a:lnTo>
                    <a:pt x="219176" y="10934"/>
                  </a:lnTo>
                  <a:lnTo>
                    <a:pt x="224764" y="8001"/>
                  </a:lnTo>
                  <a:lnTo>
                    <a:pt x="228053" y="7112"/>
                  </a:lnTo>
                  <a:lnTo>
                    <a:pt x="238721" y="7112"/>
                  </a:lnTo>
                  <a:lnTo>
                    <a:pt x="243332" y="9410"/>
                  </a:lnTo>
                  <a:lnTo>
                    <a:pt x="243332" y="21056"/>
                  </a:lnTo>
                  <a:lnTo>
                    <a:pt x="238988" y="24968"/>
                  </a:lnTo>
                  <a:lnTo>
                    <a:pt x="224497" y="24968"/>
                  </a:lnTo>
                  <a:lnTo>
                    <a:pt x="222808" y="26479"/>
                  </a:lnTo>
                  <a:lnTo>
                    <a:pt x="222808" y="30746"/>
                  </a:lnTo>
                  <a:lnTo>
                    <a:pt x="224497" y="32334"/>
                  </a:lnTo>
                  <a:lnTo>
                    <a:pt x="240576" y="32334"/>
                  </a:lnTo>
                  <a:lnTo>
                    <a:pt x="247332" y="35356"/>
                  </a:lnTo>
                  <a:lnTo>
                    <a:pt x="247332" y="50114"/>
                  </a:lnTo>
                  <a:lnTo>
                    <a:pt x="241033" y="54190"/>
                  </a:lnTo>
                  <a:lnTo>
                    <a:pt x="224142" y="54190"/>
                  </a:lnTo>
                  <a:lnTo>
                    <a:pt x="219798" y="51536"/>
                  </a:lnTo>
                  <a:lnTo>
                    <a:pt x="214376" y="47358"/>
                  </a:lnTo>
                  <a:lnTo>
                    <a:pt x="213575" y="47002"/>
                  </a:lnTo>
                  <a:lnTo>
                    <a:pt x="210731" y="47002"/>
                  </a:lnTo>
                  <a:lnTo>
                    <a:pt x="208864" y="48336"/>
                  </a:lnTo>
                  <a:lnTo>
                    <a:pt x="208864" y="51879"/>
                  </a:lnTo>
                  <a:lnTo>
                    <a:pt x="209575" y="53035"/>
                  </a:lnTo>
                  <a:lnTo>
                    <a:pt x="216065" y="58635"/>
                  </a:lnTo>
                  <a:lnTo>
                    <a:pt x="223342" y="61302"/>
                  </a:lnTo>
                  <a:lnTo>
                    <a:pt x="232410" y="61302"/>
                  </a:lnTo>
                  <a:lnTo>
                    <a:pt x="241820" y="60007"/>
                  </a:lnTo>
                  <a:lnTo>
                    <a:pt x="249186" y="56324"/>
                  </a:lnTo>
                  <a:lnTo>
                    <a:pt x="253974" y="50622"/>
                  </a:lnTo>
                  <a:lnTo>
                    <a:pt x="255689" y="43268"/>
                  </a:lnTo>
                  <a:lnTo>
                    <a:pt x="255689" y="34734"/>
                  </a:lnTo>
                  <a:close/>
                </a:path>
              </a:pathLst>
            </a:custGeom>
            <a:solidFill>
              <a:srgbClr val="FFFFFF"/>
            </a:solidFill>
          </p:spPr>
          <p:txBody>
            <a:bodyPr wrap="square" lIns="0" tIns="0" rIns="0" bIns="0" rtlCol="0"/>
            <a:lstStyle/>
            <a:p>
              <a:endParaRPr/>
            </a:p>
          </p:txBody>
        </p:sp>
        <p:pic>
          <p:nvPicPr>
            <p:cNvPr id="10" name="bg object 18">
              <a:extLst>
                <a:ext uri="{FF2B5EF4-FFF2-40B4-BE49-F238E27FC236}">
                  <a16:creationId xmlns:a16="http://schemas.microsoft.com/office/drawing/2014/main" id="{CB203E13-91BE-B4AD-9232-6C1CA705097A}"/>
                </a:ext>
              </a:extLst>
            </p:cNvPr>
            <p:cNvPicPr/>
            <p:nvPr/>
          </p:nvPicPr>
          <p:blipFill>
            <a:blip r:embed="rId2" cstate="print"/>
            <a:stretch>
              <a:fillRect/>
            </a:stretch>
          </p:blipFill>
          <p:spPr>
            <a:xfrm>
              <a:off x="9768269" y="6133524"/>
              <a:ext cx="114872" cy="115198"/>
            </a:xfrm>
            <a:prstGeom prst="rect">
              <a:avLst/>
            </a:prstGeom>
          </p:spPr>
        </p:pic>
        <p:sp>
          <p:nvSpPr>
            <p:cNvPr id="11" name="bg object 19">
              <a:extLst>
                <a:ext uri="{FF2B5EF4-FFF2-40B4-BE49-F238E27FC236}">
                  <a16:creationId xmlns:a16="http://schemas.microsoft.com/office/drawing/2014/main" id="{496AC52C-7545-151F-E8C3-1E3096522EB4}"/>
                </a:ext>
              </a:extLst>
            </p:cNvPr>
            <p:cNvSpPr/>
            <p:nvPr/>
          </p:nvSpPr>
          <p:spPr>
            <a:xfrm>
              <a:off x="9916387" y="6076176"/>
              <a:ext cx="65747" cy="171594"/>
            </a:xfrm>
            <a:custGeom>
              <a:avLst/>
              <a:gdLst/>
              <a:ahLst/>
              <a:cxnLst/>
              <a:rect l="l" t="t" r="r" b="b"/>
              <a:pathLst>
                <a:path w="72390" h="189229">
                  <a:moveTo>
                    <a:pt x="16637" y="3606"/>
                  </a:moveTo>
                  <a:lnTo>
                    <a:pt x="13030" y="0"/>
                  </a:lnTo>
                  <a:lnTo>
                    <a:pt x="3606" y="0"/>
                  </a:lnTo>
                  <a:lnTo>
                    <a:pt x="0" y="3606"/>
                  </a:lnTo>
                  <a:lnTo>
                    <a:pt x="0" y="185559"/>
                  </a:lnTo>
                  <a:lnTo>
                    <a:pt x="3606" y="189166"/>
                  </a:lnTo>
                  <a:lnTo>
                    <a:pt x="8318" y="189166"/>
                  </a:lnTo>
                  <a:lnTo>
                    <a:pt x="13030" y="189166"/>
                  </a:lnTo>
                  <a:lnTo>
                    <a:pt x="16637" y="185559"/>
                  </a:lnTo>
                  <a:lnTo>
                    <a:pt x="16637" y="3606"/>
                  </a:lnTo>
                  <a:close/>
                </a:path>
                <a:path w="72390" h="189229">
                  <a:moveTo>
                    <a:pt x="72110" y="3606"/>
                  </a:moveTo>
                  <a:lnTo>
                    <a:pt x="68503" y="0"/>
                  </a:lnTo>
                  <a:lnTo>
                    <a:pt x="59080" y="0"/>
                  </a:lnTo>
                  <a:lnTo>
                    <a:pt x="55473" y="3606"/>
                  </a:lnTo>
                  <a:lnTo>
                    <a:pt x="55473" y="185559"/>
                  </a:lnTo>
                  <a:lnTo>
                    <a:pt x="59080" y="189166"/>
                  </a:lnTo>
                  <a:lnTo>
                    <a:pt x="63792" y="189166"/>
                  </a:lnTo>
                  <a:lnTo>
                    <a:pt x="68503" y="189166"/>
                  </a:lnTo>
                  <a:lnTo>
                    <a:pt x="72110" y="185559"/>
                  </a:lnTo>
                  <a:lnTo>
                    <a:pt x="72110" y="3606"/>
                  </a:lnTo>
                  <a:close/>
                </a:path>
              </a:pathLst>
            </a:custGeom>
            <a:solidFill>
              <a:srgbClr val="FFFFFF"/>
            </a:solidFill>
          </p:spPr>
          <p:txBody>
            <a:bodyPr wrap="square" lIns="0" tIns="0" rIns="0" bIns="0" rtlCol="0"/>
            <a:lstStyle/>
            <a:p>
              <a:endParaRPr/>
            </a:p>
          </p:txBody>
        </p:sp>
        <p:pic>
          <p:nvPicPr>
            <p:cNvPr id="12" name="bg object 20">
              <a:extLst>
                <a:ext uri="{FF2B5EF4-FFF2-40B4-BE49-F238E27FC236}">
                  <a16:creationId xmlns:a16="http://schemas.microsoft.com/office/drawing/2014/main" id="{D7BC008D-5A1B-BE3A-4CBD-34678F8CB2CF}"/>
                </a:ext>
              </a:extLst>
            </p:cNvPr>
            <p:cNvPicPr/>
            <p:nvPr/>
          </p:nvPicPr>
          <p:blipFill>
            <a:blip r:embed="rId3" cstate="print"/>
            <a:stretch>
              <a:fillRect/>
            </a:stretch>
          </p:blipFill>
          <p:spPr>
            <a:xfrm>
              <a:off x="9901316" y="6093783"/>
              <a:ext cx="1836661" cy="304614"/>
            </a:xfrm>
            <a:prstGeom prst="rect">
              <a:avLst/>
            </a:prstGeom>
          </p:spPr>
        </p:pic>
        <p:pic>
          <p:nvPicPr>
            <p:cNvPr id="13" name="bg object 21">
              <a:extLst>
                <a:ext uri="{FF2B5EF4-FFF2-40B4-BE49-F238E27FC236}">
                  <a16:creationId xmlns:a16="http://schemas.microsoft.com/office/drawing/2014/main" id="{7A1F9893-575A-F37A-22F6-165D8958B679}"/>
                </a:ext>
              </a:extLst>
            </p:cNvPr>
            <p:cNvPicPr/>
            <p:nvPr/>
          </p:nvPicPr>
          <p:blipFill>
            <a:blip r:embed="rId4" cstate="print"/>
            <a:stretch>
              <a:fillRect/>
            </a:stretch>
          </p:blipFill>
          <p:spPr>
            <a:xfrm>
              <a:off x="10391018" y="5263373"/>
              <a:ext cx="711091" cy="772536"/>
            </a:xfrm>
            <a:prstGeom prst="rect">
              <a:avLst/>
            </a:prstGeom>
          </p:spPr>
        </p:pic>
      </p:grpSp>
    </p:spTree>
    <p:extLst>
      <p:ext uri="{BB962C8B-B14F-4D97-AF65-F5344CB8AC3E}">
        <p14:creationId xmlns:p14="http://schemas.microsoft.com/office/powerpoint/2010/main" val="8817800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 Blue">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2D00DCAC-C40F-C3B9-F022-BCEE66A66A0B}"/>
              </a:ext>
            </a:extLst>
          </p:cNvPr>
          <p:cNvSpPr/>
          <p:nvPr userDrawn="1"/>
        </p:nvSpPr>
        <p:spPr>
          <a:xfrm>
            <a:off x="0" y="-4957"/>
            <a:ext cx="12197847" cy="6908925"/>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chemeClr val="bg2"/>
          </a:solidFill>
        </p:spPr>
        <p:txBody>
          <a:bodyPr wrap="square" lIns="0" tIns="0" rIns="0" bIns="0" rtlCol="0"/>
          <a:lstStyle/>
          <a:p>
            <a:endParaRPr sz="2000"/>
          </a:p>
        </p:txBody>
      </p:sp>
      <p:sp>
        <p:nvSpPr>
          <p:cNvPr id="3" name="Text Placeholder 2">
            <a:extLst>
              <a:ext uri="{FF2B5EF4-FFF2-40B4-BE49-F238E27FC236}">
                <a16:creationId xmlns:a16="http://schemas.microsoft.com/office/drawing/2014/main" id="{5ADC4885-E653-9F9B-1C72-2AA34FCB44D8}"/>
              </a:ext>
            </a:extLst>
          </p:cNvPr>
          <p:cNvSpPr>
            <a:spLocks noGrp="1"/>
          </p:cNvSpPr>
          <p:nvPr userDrawn="1">
            <p:ph type="body" idx="1"/>
          </p:nvPr>
        </p:nvSpPr>
        <p:spPr>
          <a:xfrm>
            <a:off x="6642514" y="651643"/>
            <a:ext cx="4351283" cy="3044706"/>
          </a:xfrm>
          <a:prstGeom prst="rect">
            <a:avLst/>
          </a:prstGeom>
        </p:spPr>
        <p:txBody>
          <a:bodyPr>
            <a:normAutofit/>
          </a:bodyPr>
          <a:lstStyle>
            <a:lvl1pPr marL="0" indent="0" algn="l">
              <a:buNone/>
              <a:defRPr sz="3200">
                <a:solidFill>
                  <a:schemeClr val="bg1"/>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8" name="object 4">
            <a:extLst>
              <a:ext uri="{FF2B5EF4-FFF2-40B4-BE49-F238E27FC236}">
                <a16:creationId xmlns:a16="http://schemas.microsoft.com/office/drawing/2014/main" id="{74673720-C835-BE5C-5C80-3FD8DB241F01}"/>
              </a:ext>
            </a:extLst>
          </p:cNvPr>
          <p:cNvSpPr/>
          <p:nvPr userDrawn="1"/>
        </p:nvSpPr>
        <p:spPr>
          <a:xfrm>
            <a:off x="11017319" y="4297582"/>
            <a:ext cx="456048" cy="456048"/>
          </a:xfrm>
          <a:custGeom>
            <a:avLst/>
            <a:gdLst/>
            <a:ahLst/>
            <a:cxnLst/>
            <a:rect l="l" t="t" r="r" b="b"/>
            <a:pathLst>
              <a:path w="502920" h="502920">
                <a:moveTo>
                  <a:pt x="251421" y="0"/>
                </a:moveTo>
                <a:lnTo>
                  <a:pt x="206227" y="4051"/>
                </a:lnTo>
                <a:lnTo>
                  <a:pt x="163690" y="15730"/>
                </a:lnTo>
                <a:lnTo>
                  <a:pt x="124522" y="34328"/>
                </a:lnTo>
                <a:lnTo>
                  <a:pt x="89431" y="59134"/>
                </a:lnTo>
                <a:lnTo>
                  <a:pt x="59129" y="89439"/>
                </a:lnTo>
                <a:lnTo>
                  <a:pt x="34325" y="124531"/>
                </a:lnTo>
                <a:lnTo>
                  <a:pt x="15728" y="163701"/>
                </a:lnTo>
                <a:lnTo>
                  <a:pt x="4050" y="206239"/>
                </a:lnTo>
                <a:lnTo>
                  <a:pt x="0" y="251434"/>
                </a:lnTo>
                <a:lnTo>
                  <a:pt x="4050" y="296626"/>
                </a:lnTo>
                <a:lnTo>
                  <a:pt x="15728" y="339160"/>
                </a:lnTo>
                <a:lnTo>
                  <a:pt x="34325" y="378328"/>
                </a:lnTo>
                <a:lnTo>
                  <a:pt x="59129" y="413419"/>
                </a:lnTo>
                <a:lnTo>
                  <a:pt x="89431" y="443722"/>
                </a:lnTo>
                <a:lnTo>
                  <a:pt x="124522" y="468528"/>
                </a:lnTo>
                <a:lnTo>
                  <a:pt x="163690" y="487126"/>
                </a:lnTo>
                <a:lnTo>
                  <a:pt x="206227" y="498805"/>
                </a:lnTo>
                <a:lnTo>
                  <a:pt x="251421" y="502856"/>
                </a:lnTo>
                <a:lnTo>
                  <a:pt x="296617" y="498805"/>
                </a:lnTo>
                <a:lnTo>
                  <a:pt x="339154" y="487126"/>
                </a:lnTo>
                <a:lnTo>
                  <a:pt x="378325" y="468528"/>
                </a:lnTo>
                <a:lnTo>
                  <a:pt x="413417" y="443722"/>
                </a:lnTo>
                <a:lnTo>
                  <a:pt x="443721" y="413419"/>
                </a:lnTo>
                <a:lnTo>
                  <a:pt x="468527" y="378328"/>
                </a:lnTo>
                <a:lnTo>
                  <a:pt x="487125" y="339160"/>
                </a:lnTo>
                <a:lnTo>
                  <a:pt x="498805" y="296626"/>
                </a:lnTo>
                <a:lnTo>
                  <a:pt x="502856" y="251434"/>
                </a:lnTo>
                <a:lnTo>
                  <a:pt x="498805" y="206239"/>
                </a:lnTo>
                <a:lnTo>
                  <a:pt x="487125" y="163701"/>
                </a:lnTo>
                <a:lnTo>
                  <a:pt x="468527" y="124531"/>
                </a:lnTo>
                <a:lnTo>
                  <a:pt x="443721" y="89439"/>
                </a:lnTo>
                <a:lnTo>
                  <a:pt x="413417" y="59134"/>
                </a:lnTo>
                <a:lnTo>
                  <a:pt x="378325" y="34328"/>
                </a:lnTo>
                <a:lnTo>
                  <a:pt x="339154" y="15730"/>
                </a:lnTo>
                <a:lnTo>
                  <a:pt x="296617" y="4051"/>
                </a:lnTo>
                <a:lnTo>
                  <a:pt x="251421" y="0"/>
                </a:lnTo>
                <a:close/>
              </a:path>
            </a:pathLst>
          </a:custGeom>
          <a:solidFill>
            <a:srgbClr val="0E5C77">
              <a:alpha val="23999"/>
            </a:srgbClr>
          </a:solidFill>
        </p:spPr>
        <p:txBody>
          <a:bodyPr wrap="square" lIns="0" tIns="0" rIns="0" bIns="0" rtlCol="0"/>
          <a:lstStyle/>
          <a:p>
            <a:endParaRPr/>
          </a:p>
        </p:txBody>
      </p:sp>
      <p:sp>
        <p:nvSpPr>
          <p:cNvPr id="9" name="object 4">
            <a:extLst>
              <a:ext uri="{FF2B5EF4-FFF2-40B4-BE49-F238E27FC236}">
                <a16:creationId xmlns:a16="http://schemas.microsoft.com/office/drawing/2014/main" id="{46D95486-8AE6-9324-FF15-FB06241C299A}"/>
              </a:ext>
            </a:extLst>
          </p:cNvPr>
          <p:cNvSpPr/>
          <p:nvPr userDrawn="1"/>
        </p:nvSpPr>
        <p:spPr>
          <a:xfrm>
            <a:off x="10858176" y="4794163"/>
            <a:ext cx="2203785" cy="2203785"/>
          </a:xfrm>
          <a:custGeom>
            <a:avLst/>
            <a:gdLst/>
            <a:ahLst/>
            <a:cxnLst/>
            <a:rect l="l" t="t" r="r" b="b"/>
            <a:pathLst>
              <a:path w="502920" h="502920">
                <a:moveTo>
                  <a:pt x="251421" y="0"/>
                </a:moveTo>
                <a:lnTo>
                  <a:pt x="206227" y="4051"/>
                </a:lnTo>
                <a:lnTo>
                  <a:pt x="163690" y="15730"/>
                </a:lnTo>
                <a:lnTo>
                  <a:pt x="124522" y="34328"/>
                </a:lnTo>
                <a:lnTo>
                  <a:pt x="89431" y="59134"/>
                </a:lnTo>
                <a:lnTo>
                  <a:pt x="59129" y="89439"/>
                </a:lnTo>
                <a:lnTo>
                  <a:pt x="34325" y="124531"/>
                </a:lnTo>
                <a:lnTo>
                  <a:pt x="15728" y="163701"/>
                </a:lnTo>
                <a:lnTo>
                  <a:pt x="4050" y="206239"/>
                </a:lnTo>
                <a:lnTo>
                  <a:pt x="0" y="251434"/>
                </a:lnTo>
                <a:lnTo>
                  <a:pt x="4050" y="296626"/>
                </a:lnTo>
                <a:lnTo>
                  <a:pt x="15728" y="339160"/>
                </a:lnTo>
                <a:lnTo>
                  <a:pt x="34325" y="378328"/>
                </a:lnTo>
                <a:lnTo>
                  <a:pt x="59129" y="413419"/>
                </a:lnTo>
                <a:lnTo>
                  <a:pt x="89431" y="443722"/>
                </a:lnTo>
                <a:lnTo>
                  <a:pt x="124522" y="468528"/>
                </a:lnTo>
                <a:lnTo>
                  <a:pt x="163690" y="487126"/>
                </a:lnTo>
                <a:lnTo>
                  <a:pt x="206227" y="498805"/>
                </a:lnTo>
                <a:lnTo>
                  <a:pt x="251421" y="502856"/>
                </a:lnTo>
                <a:lnTo>
                  <a:pt x="296617" y="498805"/>
                </a:lnTo>
                <a:lnTo>
                  <a:pt x="339154" y="487126"/>
                </a:lnTo>
                <a:lnTo>
                  <a:pt x="378325" y="468528"/>
                </a:lnTo>
                <a:lnTo>
                  <a:pt x="413417" y="443722"/>
                </a:lnTo>
                <a:lnTo>
                  <a:pt x="443721" y="413419"/>
                </a:lnTo>
                <a:lnTo>
                  <a:pt x="468527" y="378328"/>
                </a:lnTo>
                <a:lnTo>
                  <a:pt x="487125" y="339160"/>
                </a:lnTo>
                <a:lnTo>
                  <a:pt x="498805" y="296626"/>
                </a:lnTo>
                <a:lnTo>
                  <a:pt x="502856" y="251434"/>
                </a:lnTo>
                <a:lnTo>
                  <a:pt x="498805" y="206239"/>
                </a:lnTo>
                <a:lnTo>
                  <a:pt x="487125" y="163701"/>
                </a:lnTo>
                <a:lnTo>
                  <a:pt x="468527" y="124531"/>
                </a:lnTo>
                <a:lnTo>
                  <a:pt x="443721" y="89439"/>
                </a:lnTo>
                <a:lnTo>
                  <a:pt x="413417" y="59134"/>
                </a:lnTo>
                <a:lnTo>
                  <a:pt x="378325" y="34328"/>
                </a:lnTo>
                <a:lnTo>
                  <a:pt x="339154" y="15730"/>
                </a:lnTo>
                <a:lnTo>
                  <a:pt x="296617" y="4051"/>
                </a:lnTo>
                <a:lnTo>
                  <a:pt x="251421" y="0"/>
                </a:lnTo>
                <a:close/>
              </a:path>
            </a:pathLst>
          </a:custGeom>
          <a:solidFill>
            <a:srgbClr val="0E5C77">
              <a:alpha val="23999"/>
            </a:srgbClr>
          </a:solidFill>
        </p:spPr>
        <p:txBody>
          <a:bodyPr wrap="square" lIns="0" tIns="0" rIns="0" bIns="0" rtlCol="0"/>
          <a:lstStyle/>
          <a:p>
            <a:endParaRPr/>
          </a:p>
        </p:txBody>
      </p:sp>
      <p:sp>
        <p:nvSpPr>
          <p:cNvPr id="10" name="object 4">
            <a:extLst>
              <a:ext uri="{FF2B5EF4-FFF2-40B4-BE49-F238E27FC236}">
                <a16:creationId xmlns:a16="http://schemas.microsoft.com/office/drawing/2014/main" id="{6EE743A1-10E0-9B86-6AD1-E9B92D62DCE7}"/>
              </a:ext>
            </a:extLst>
          </p:cNvPr>
          <p:cNvSpPr/>
          <p:nvPr userDrawn="1"/>
        </p:nvSpPr>
        <p:spPr>
          <a:xfrm>
            <a:off x="10211952" y="5003948"/>
            <a:ext cx="456048" cy="456048"/>
          </a:xfrm>
          <a:custGeom>
            <a:avLst/>
            <a:gdLst/>
            <a:ahLst/>
            <a:cxnLst/>
            <a:rect l="l" t="t" r="r" b="b"/>
            <a:pathLst>
              <a:path w="502920" h="502920">
                <a:moveTo>
                  <a:pt x="251421" y="0"/>
                </a:moveTo>
                <a:lnTo>
                  <a:pt x="206227" y="4051"/>
                </a:lnTo>
                <a:lnTo>
                  <a:pt x="163690" y="15730"/>
                </a:lnTo>
                <a:lnTo>
                  <a:pt x="124522" y="34328"/>
                </a:lnTo>
                <a:lnTo>
                  <a:pt x="89431" y="59134"/>
                </a:lnTo>
                <a:lnTo>
                  <a:pt x="59129" y="89439"/>
                </a:lnTo>
                <a:lnTo>
                  <a:pt x="34325" y="124531"/>
                </a:lnTo>
                <a:lnTo>
                  <a:pt x="15728" y="163701"/>
                </a:lnTo>
                <a:lnTo>
                  <a:pt x="4050" y="206239"/>
                </a:lnTo>
                <a:lnTo>
                  <a:pt x="0" y="251434"/>
                </a:lnTo>
                <a:lnTo>
                  <a:pt x="4050" y="296626"/>
                </a:lnTo>
                <a:lnTo>
                  <a:pt x="15728" y="339160"/>
                </a:lnTo>
                <a:lnTo>
                  <a:pt x="34325" y="378328"/>
                </a:lnTo>
                <a:lnTo>
                  <a:pt x="59129" y="413419"/>
                </a:lnTo>
                <a:lnTo>
                  <a:pt x="89431" y="443722"/>
                </a:lnTo>
                <a:lnTo>
                  <a:pt x="124522" y="468528"/>
                </a:lnTo>
                <a:lnTo>
                  <a:pt x="163690" y="487126"/>
                </a:lnTo>
                <a:lnTo>
                  <a:pt x="206227" y="498805"/>
                </a:lnTo>
                <a:lnTo>
                  <a:pt x="251421" y="502856"/>
                </a:lnTo>
                <a:lnTo>
                  <a:pt x="296617" y="498805"/>
                </a:lnTo>
                <a:lnTo>
                  <a:pt x="339154" y="487126"/>
                </a:lnTo>
                <a:lnTo>
                  <a:pt x="378325" y="468528"/>
                </a:lnTo>
                <a:lnTo>
                  <a:pt x="413417" y="443722"/>
                </a:lnTo>
                <a:lnTo>
                  <a:pt x="443721" y="413419"/>
                </a:lnTo>
                <a:lnTo>
                  <a:pt x="468527" y="378328"/>
                </a:lnTo>
                <a:lnTo>
                  <a:pt x="487125" y="339160"/>
                </a:lnTo>
                <a:lnTo>
                  <a:pt x="498805" y="296626"/>
                </a:lnTo>
                <a:lnTo>
                  <a:pt x="502856" y="251434"/>
                </a:lnTo>
                <a:lnTo>
                  <a:pt x="498805" y="206239"/>
                </a:lnTo>
                <a:lnTo>
                  <a:pt x="487125" y="163701"/>
                </a:lnTo>
                <a:lnTo>
                  <a:pt x="468527" y="124531"/>
                </a:lnTo>
                <a:lnTo>
                  <a:pt x="443721" y="89439"/>
                </a:lnTo>
                <a:lnTo>
                  <a:pt x="413417" y="59134"/>
                </a:lnTo>
                <a:lnTo>
                  <a:pt x="378325" y="34328"/>
                </a:lnTo>
                <a:lnTo>
                  <a:pt x="339154" y="15730"/>
                </a:lnTo>
                <a:lnTo>
                  <a:pt x="296617" y="4051"/>
                </a:lnTo>
                <a:lnTo>
                  <a:pt x="251421" y="0"/>
                </a:lnTo>
                <a:close/>
              </a:path>
            </a:pathLst>
          </a:custGeom>
          <a:solidFill>
            <a:srgbClr val="0E5C77">
              <a:alpha val="23999"/>
            </a:srgbClr>
          </a:solidFill>
        </p:spPr>
        <p:txBody>
          <a:bodyPr wrap="square" lIns="0" tIns="0" rIns="0" bIns="0" rtlCol="0"/>
          <a:lstStyle/>
          <a:p>
            <a:endParaRPr/>
          </a:p>
        </p:txBody>
      </p:sp>
      <p:sp>
        <p:nvSpPr>
          <p:cNvPr id="11" name="object 4">
            <a:extLst>
              <a:ext uri="{FF2B5EF4-FFF2-40B4-BE49-F238E27FC236}">
                <a16:creationId xmlns:a16="http://schemas.microsoft.com/office/drawing/2014/main" id="{E8D99936-C791-EC50-A678-76F12A1EC831}"/>
              </a:ext>
            </a:extLst>
          </p:cNvPr>
          <p:cNvSpPr/>
          <p:nvPr userDrawn="1"/>
        </p:nvSpPr>
        <p:spPr>
          <a:xfrm>
            <a:off x="9239151" y="4572895"/>
            <a:ext cx="814552" cy="814552"/>
          </a:xfrm>
          <a:custGeom>
            <a:avLst/>
            <a:gdLst/>
            <a:ahLst/>
            <a:cxnLst/>
            <a:rect l="l" t="t" r="r" b="b"/>
            <a:pathLst>
              <a:path w="502920" h="502920">
                <a:moveTo>
                  <a:pt x="251421" y="0"/>
                </a:moveTo>
                <a:lnTo>
                  <a:pt x="206227" y="4051"/>
                </a:lnTo>
                <a:lnTo>
                  <a:pt x="163690" y="15730"/>
                </a:lnTo>
                <a:lnTo>
                  <a:pt x="124522" y="34328"/>
                </a:lnTo>
                <a:lnTo>
                  <a:pt x="89431" y="59134"/>
                </a:lnTo>
                <a:lnTo>
                  <a:pt x="59129" y="89439"/>
                </a:lnTo>
                <a:lnTo>
                  <a:pt x="34325" y="124531"/>
                </a:lnTo>
                <a:lnTo>
                  <a:pt x="15728" y="163701"/>
                </a:lnTo>
                <a:lnTo>
                  <a:pt x="4050" y="206239"/>
                </a:lnTo>
                <a:lnTo>
                  <a:pt x="0" y="251434"/>
                </a:lnTo>
                <a:lnTo>
                  <a:pt x="4050" y="296626"/>
                </a:lnTo>
                <a:lnTo>
                  <a:pt x="15728" y="339160"/>
                </a:lnTo>
                <a:lnTo>
                  <a:pt x="34325" y="378328"/>
                </a:lnTo>
                <a:lnTo>
                  <a:pt x="59129" y="413419"/>
                </a:lnTo>
                <a:lnTo>
                  <a:pt x="89431" y="443722"/>
                </a:lnTo>
                <a:lnTo>
                  <a:pt x="124522" y="468528"/>
                </a:lnTo>
                <a:lnTo>
                  <a:pt x="163690" y="487126"/>
                </a:lnTo>
                <a:lnTo>
                  <a:pt x="206227" y="498805"/>
                </a:lnTo>
                <a:lnTo>
                  <a:pt x="251421" y="502856"/>
                </a:lnTo>
                <a:lnTo>
                  <a:pt x="296617" y="498805"/>
                </a:lnTo>
                <a:lnTo>
                  <a:pt x="339154" y="487126"/>
                </a:lnTo>
                <a:lnTo>
                  <a:pt x="378325" y="468528"/>
                </a:lnTo>
                <a:lnTo>
                  <a:pt x="413417" y="443722"/>
                </a:lnTo>
                <a:lnTo>
                  <a:pt x="443721" y="413419"/>
                </a:lnTo>
                <a:lnTo>
                  <a:pt x="468527" y="378328"/>
                </a:lnTo>
                <a:lnTo>
                  <a:pt x="487125" y="339160"/>
                </a:lnTo>
                <a:lnTo>
                  <a:pt x="498805" y="296626"/>
                </a:lnTo>
                <a:lnTo>
                  <a:pt x="502856" y="251434"/>
                </a:lnTo>
                <a:lnTo>
                  <a:pt x="498805" y="206239"/>
                </a:lnTo>
                <a:lnTo>
                  <a:pt x="487125" y="163701"/>
                </a:lnTo>
                <a:lnTo>
                  <a:pt x="468527" y="124531"/>
                </a:lnTo>
                <a:lnTo>
                  <a:pt x="443721" y="89439"/>
                </a:lnTo>
                <a:lnTo>
                  <a:pt x="413417" y="59134"/>
                </a:lnTo>
                <a:lnTo>
                  <a:pt x="378325" y="34328"/>
                </a:lnTo>
                <a:lnTo>
                  <a:pt x="339154" y="15730"/>
                </a:lnTo>
                <a:lnTo>
                  <a:pt x="296617" y="4051"/>
                </a:lnTo>
                <a:lnTo>
                  <a:pt x="251421" y="0"/>
                </a:lnTo>
                <a:close/>
              </a:path>
            </a:pathLst>
          </a:custGeom>
          <a:solidFill>
            <a:srgbClr val="0E5C77">
              <a:alpha val="23999"/>
            </a:srgbClr>
          </a:solidFill>
        </p:spPr>
        <p:txBody>
          <a:bodyPr wrap="square" lIns="0" tIns="0" rIns="0" bIns="0" rtlCol="0"/>
          <a:lstStyle/>
          <a:p>
            <a:endParaRPr/>
          </a:p>
        </p:txBody>
      </p:sp>
      <p:sp>
        <p:nvSpPr>
          <p:cNvPr id="12" name="object 4">
            <a:extLst>
              <a:ext uri="{FF2B5EF4-FFF2-40B4-BE49-F238E27FC236}">
                <a16:creationId xmlns:a16="http://schemas.microsoft.com/office/drawing/2014/main" id="{3A7B13D2-0D85-68C1-7844-658E315F6177}"/>
              </a:ext>
            </a:extLst>
          </p:cNvPr>
          <p:cNvSpPr/>
          <p:nvPr userDrawn="1"/>
        </p:nvSpPr>
        <p:spPr>
          <a:xfrm>
            <a:off x="7173395" y="6277376"/>
            <a:ext cx="814552" cy="814552"/>
          </a:xfrm>
          <a:custGeom>
            <a:avLst/>
            <a:gdLst/>
            <a:ahLst/>
            <a:cxnLst/>
            <a:rect l="l" t="t" r="r" b="b"/>
            <a:pathLst>
              <a:path w="502920" h="502920">
                <a:moveTo>
                  <a:pt x="251421" y="0"/>
                </a:moveTo>
                <a:lnTo>
                  <a:pt x="206227" y="4051"/>
                </a:lnTo>
                <a:lnTo>
                  <a:pt x="163690" y="15730"/>
                </a:lnTo>
                <a:lnTo>
                  <a:pt x="124522" y="34328"/>
                </a:lnTo>
                <a:lnTo>
                  <a:pt x="89431" y="59134"/>
                </a:lnTo>
                <a:lnTo>
                  <a:pt x="59129" y="89439"/>
                </a:lnTo>
                <a:lnTo>
                  <a:pt x="34325" y="124531"/>
                </a:lnTo>
                <a:lnTo>
                  <a:pt x="15728" y="163701"/>
                </a:lnTo>
                <a:lnTo>
                  <a:pt x="4050" y="206239"/>
                </a:lnTo>
                <a:lnTo>
                  <a:pt x="0" y="251434"/>
                </a:lnTo>
                <a:lnTo>
                  <a:pt x="4050" y="296626"/>
                </a:lnTo>
                <a:lnTo>
                  <a:pt x="15728" y="339160"/>
                </a:lnTo>
                <a:lnTo>
                  <a:pt x="34325" y="378328"/>
                </a:lnTo>
                <a:lnTo>
                  <a:pt x="59129" y="413419"/>
                </a:lnTo>
                <a:lnTo>
                  <a:pt x="89431" y="443722"/>
                </a:lnTo>
                <a:lnTo>
                  <a:pt x="124522" y="468528"/>
                </a:lnTo>
                <a:lnTo>
                  <a:pt x="163690" y="487126"/>
                </a:lnTo>
                <a:lnTo>
                  <a:pt x="206227" y="498805"/>
                </a:lnTo>
                <a:lnTo>
                  <a:pt x="251421" y="502856"/>
                </a:lnTo>
                <a:lnTo>
                  <a:pt x="296617" y="498805"/>
                </a:lnTo>
                <a:lnTo>
                  <a:pt x="339154" y="487126"/>
                </a:lnTo>
                <a:lnTo>
                  <a:pt x="378325" y="468528"/>
                </a:lnTo>
                <a:lnTo>
                  <a:pt x="413417" y="443722"/>
                </a:lnTo>
                <a:lnTo>
                  <a:pt x="443721" y="413419"/>
                </a:lnTo>
                <a:lnTo>
                  <a:pt x="468527" y="378328"/>
                </a:lnTo>
                <a:lnTo>
                  <a:pt x="487125" y="339160"/>
                </a:lnTo>
                <a:lnTo>
                  <a:pt x="498805" y="296626"/>
                </a:lnTo>
                <a:lnTo>
                  <a:pt x="502856" y="251434"/>
                </a:lnTo>
                <a:lnTo>
                  <a:pt x="498805" y="206239"/>
                </a:lnTo>
                <a:lnTo>
                  <a:pt x="487125" y="163701"/>
                </a:lnTo>
                <a:lnTo>
                  <a:pt x="468527" y="124531"/>
                </a:lnTo>
                <a:lnTo>
                  <a:pt x="443721" y="89439"/>
                </a:lnTo>
                <a:lnTo>
                  <a:pt x="413417" y="59134"/>
                </a:lnTo>
                <a:lnTo>
                  <a:pt x="378325" y="34328"/>
                </a:lnTo>
                <a:lnTo>
                  <a:pt x="339154" y="15730"/>
                </a:lnTo>
                <a:lnTo>
                  <a:pt x="296617" y="4051"/>
                </a:lnTo>
                <a:lnTo>
                  <a:pt x="251421" y="0"/>
                </a:lnTo>
                <a:close/>
              </a:path>
            </a:pathLst>
          </a:custGeom>
          <a:solidFill>
            <a:srgbClr val="0E5C77">
              <a:alpha val="23999"/>
            </a:srgbClr>
          </a:solidFill>
        </p:spPr>
        <p:txBody>
          <a:bodyPr wrap="square" lIns="0" tIns="0" rIns="0" bIns="0" rtlCol="0"/>
          <a:lstStyle/>
          <a:p>
            <a:endParaRPr/>
          </a:p>
        </p:txBody>
      </p:sp>
      <p:sp>
        <p:nvSpPr>
          <p:cNvPr id="13" name="object 4">
            <a:extLst>
              <a:ext uri="{FF2B5EF4-FFF2-40B4-BE49-F238E27FC236}">
                <a16:creationId xmlns:a16="http://schemas.microsoft.com/office/drawing/2014/main" id="{01DC0EFC-6C93-BFA0-523B-FE355A921294}"/>
              </a:ext>
            </a:extLst>
          </p:cNvPr>
          <p:cNvSpPr/>
          <p:nvPr userDrawn="1"/>
        </p:nvSpPr>
        <p:spPr>
          <a:xfrm>
            <a:off x="6464955" y="5911803"/>
            <a:ext cx="456048" cy="456048"/>
          </a:xfrm>
          <a:custGeom>
            <a:avLst/>
            <a:gdLst/>
            <a:ahLst/>
            <a:cxnLst/>
            <a:rect l="l" t="t" r="r" b="b"/>
            <a:pathLst>
              <a:path w="502920" h="502920">
                <a:moveTo>
                  <a:pt x="251421" y="0"/>
                </a:moveTo>
                <a:lnTo>
                  <a:pt x="206227" y="4051"/>
                </a:lnTo>
                <a:lnTo>
                  <a:pt x="163690" y="15730"/>
                </a:lnTo>
                <a:lnTo>
                  <a:pt x="124522" y="34328"/>
                </a:lnTo>
                <a:lnTo>
                  <a:pt x="89431" y="59134"/>
                </a:lnTo>
                <a:lnTo>
                  <a:pt x="59129" y="89439"/>
                </a:lnTo>
                <a:lnTo>
                  <a:pt x="34325" y="124531"/>
                </a:lnTo>
                <a:lnTo>
                  <a:pt x="15728" y="163701"/>
                </a:lnTo>
                <a:lnTo>
                  <a:pt x="4050" y="206239"/>
                </a:lnTo>
                <a:lnTo>
                  <a:pt x="0" y="251434"/>
                </a:lnTo>
                <a:lnTo>
                  <a:pt x="4050" y="296626"/>
                </a:lnTo>
                <a:lnTo>
                  <a:pt x="15728" y="339160"/>
                </a:lnTo>
                <a:lnTo>
                  <a:pt x="34325" y="378328"/>
                </a:lnTo>
                <a:lnTo>
                  <a:pt x="59129" y="413419"/>
                </a:lnTo>
                <a:lnTo>
                  <a:pt x="89431" y="443722"/>
                </a:lnTo>
                <a:lnTo>
                  <a:pt x="124522" y="468528"/>
                </a:lnTo>
                <a:lnTo>
                  <a:pt x="163690" y="487126"/>
                </a:lnTo>
                <a:lnTo>
                  <a:pt x="206227" y="498805"/>
                </a:lnTo>
                <a:lnTo>
                  <a:pt x="251421" y="502856"/>
                </a:lnTo>
                <a:lnTo>
                  <a:pt x="296617" y="498805"/>
                </a:lnTo>
                <a:lnTo>
                  <a:pt x="339154" y="487126"/>
                </a:lnTo>
                <a:lnTo>
                  <a:pt x="378325" y="468528"/>
                </a:lnTo>
                <a:lnTo>
                  <a:pt x="413417" y="443722"/>
                </a:lnTo>
                <a:lnTo>
                  <a:pt x="443721" y="413419"/>
                </a:lnTo>
                <a:lnTo>
                  <a:pt x="468527" y="378328"/>
                </a:lnTo>
                <a:lnTo>
                  <a:pt x="487125" y="339160"/>
                </a:lnTo>
                <a:lnTo>
                  <a:pt x="498805" y="296626"/>
                </a:lnTo>
                <a:lnTo>
                  <a:pt x="502856" y="251434"/>
                </a:lnTo>
                <a:lnTo>
                  <a:pt x="498805" y="206239"/>
                </a:lnTo>
                <a:lnTo>
                  <a:pt x="487125" y="163701"/>
                </a:lnTo>
                <a:lnTo>
                  <a:pt x="468527" y="124531"/>
                </a:lnTo>
                <a:lnTo>
                  <a:pt x="443721" y="89439"/>
                </a:lnTo>
                <a:lnTo>
                  <a:pt x="413417" y="59134"/>
                </a:lnTo>
                <a:lnTo>
                  <a:pt x="378325" y="34328"/>
                </a:lnTo>
                <a:lnTo>
                  <a:pt x="339154" y="15730"/>
                </a:lnTo>
                <a:lnTo>
                  <a:pt x="296617" y="4051"/>
                </a:lnTo>
                <a:lnTo>
                  <a:pt x="251421" y="0"/>
                </a:lnTo>
                <a:close/>
              </a:path>
            </a:pathLst>
          </a:custGeom>
          <a:solidFill>
            <a:srgbClr val="0E5C77">
              <a:alpha val="23999"/>
            </a:srgbClr>
          </a:solidFill>
        </p:spPr>
        <p:txBody>
          <a:bodyPr wrap="square" lIns="0" tIns="0" rIns="0" bIns="0" rtlCol="0"/>
          <a:lstStyle/>
          <a:p>
            <a:endParaRPr/>
          </a:p>
        </p:txBody>
      </p:sp>
      <p:sp>
        <p:nvSpPr>
          <p:cNvPr id="14" name="object 4">
            <a:extLst>
              <a:ext uri="{FF2B5EF4-FFF2-40B4-BE49-F238E27FC236}">
                <a16:creationId xmlns:a16="http://schemas.microsoft.com/office/drawing/2014/main" id="{34D1CC05-DC4E-8B38-D132-6D0E40FCB802}"/>
              </a:ext>
            </a:extLst>
          </p:cNvPr>
          <p:cNvSpPr/>
          <p:nvPr userDrawn="1"/>
        </p:nvSpPr>
        <p:spPr>
          <a:xfrm>
            <a:off x="6826903" y="3913649"/>
            <a:ext cx="2203785" cy="2203785"/>
          </a:xfrm>
          <a:custGeom>
            <a:avLst/>
            <a:gdLst/>
            <a:ahLst/>
            <a:cxnLst/>
            <a:rect l="l" t="t" r="r" b="b"/>
            <a:pathLst>
              <a:path w="502920" h="502920">
                <a:moveTo>
                  <a:pt x="251421" y="0"/>
                </a:moveTo>
                <a:lnTo>
                  <a:pt x="206227" y="4051"/>
                </a:lnTo>
                <a:lnTo>
                  <a:pt x="163690" y="15730"/>
                </a:lnTo>
                <a:lnTo>
                  <a:pt x="124522" y="34328"/>
                </a:lnTo>
                <a:lnTo>
                  <a:pt x="89431" y="59134"/>
                </a:lnTo>
                <a:lnTo>
                  <a:pt x="59129" y="89439"/>
                </a:lnTo>
                <a:lnTo>
                  <a:pt x="34325" y="124531"/>
                </a:lnTo>
                <a:lnTo>
                  <a:pt x="15728" y="163701"/>
                </a:lnTo>
                <a:lnTo>
                  <a:pt x="4050" y="206239"/>
                </a:lnTo>
                <a:lnTo>
                  <a:pt x="0" y="251434"/>
                </a:lnTo>
                <a:lnTo>
                  <a:pt x="4050" y="296626"/>
                </a:lnTo>
                <a:lnTo>
                  <a:pt x="15728" y="339160"/>
                </a:lnTo>
                <a:lnTo>
                  <a:pt x="34325" y="378328"/>
                </a:lnTo>
                <a:lnTo>
                  <a:pt x="59129" y="413419"/>
                </a:lnTo>
                <a:lnTo>
                  <a:pt x="89431" y="443722"/>
                </a:lnTo>
                <a:lnTo>
                  <a:pt x="124522" y="468528"/>
                </a:lnTo>
                <a:lnTo>
                  <a:pt x="163690" y="487126"/>
                </a:lnTo>
                <a:lnTo>
                  <a:pt x="206227" y="498805"/>
                </a:lnTo>
                <a:lnTo>
                  <a:pt x="251421" y="502856"/>
                </a:lnTo>
                <a:lnTo>
                  <a:pt x="296617" y="498805"/>
                </a:lnTo>
                <a:lnTo>
                  <a:pt x="339154" y="487126"/>
                </a:lnTo>
                <a:lnTo>
                  <a:pt x="378325" y="468528"/>
                </a:lnTo>
                <a:lnTo>
                  <a:pt x="413417" y="443722"/>
                </a:lnTo>
                <a:lnTo>
                  <a:pt x="443721" y="413419"/>
                </a:lnTo>
                <a:lnTo>
                  <a:pt x="468527" y="378328"/>
                </a:lnTo>
                <a:lnTo>
                  <a:pt x="487125" y="339160"/>
                </a:lnTo>
                <a:lnTo>
                  <a:pt x="498805" y="296626"/>
                </a:lnTo>
                <a:lnTo>
                  <a:pt x="502856" y="251434"/>
                </a:lnTo>
                <a:lnTo>
                  <a:pt x="498805" y="206239"/>
                </a:lnTo>
                <a:lnTo>
                  <a:pt x="487125" y="163701"/>
                </a:lnTo>
                <a:lnTo>
                  <a:pt x="468527" y="124531"/>
                </a:lnTo>
                <a:lnTo>
                  <a:pt x="443721" y="89439"/>
                </a:lnTo>
                <a:lnTo>
                  <a:pt x="413417" y="59134"/>
                </a:lnTo>
                <a:lnTo>
                  <a:pt x="378325" y="34328"/>
                </a:lnTo>
                <a:lnTo>
                  <a:pt x="339154" y="15730"/>
                </a:lnTo>
                <a:lnTo>
                  <a:pt x="296617" y="4051"/>
                </a:lnTo>
                <a:lnTo>
                  <a:pt x="251421" y="0"/>
                </a:lnTo>
                <a:close/>
              </a:path>
            </a:pathLst>
          </a:custGeom>
          <a:solidFill>
            <a:srgbClr val="0E5C77">
              <a:alpha val="23999"/>
            </a:srgbClr>
          </a:solidFill>
        </p:spPr>
        <p:txBody>
          <a:bodyPr wrap="square" lIns="0" tIns="0" rIns="0" bIns="0" rtlCol="0"/>
          <a:lstStyle/>
          <a:p>
            <a:endParaRPr/>
          </a:p>
        </p:txBody>
      </p:sp>
      <p:sp>
        <p:nvSpPr>
          <p:cNvPr id="16" name="object 4">
            <a:extLst>
              <a:ext uri="{FF2B5EF4-FFF2-40B4-BE49-F238E27FC236}">
                <a16:creationId xmlns:a16="http://schemas.microsoft.com/office/drawing/2014/main" id="{3439139F-F645-CA8D-5BF1-27B8526442E2}"/>
              </a:ext>
            </a:extLst>
          </p:cNvPr>
          <p:cNvSpPr/>
          <p:nvPr userDrawn="1"/>
        </p:nvSpPr>
        <p:spPr>
          <a:xfrm>
            <a:off x="8852061" y="5677297"/>
            <a:ext cx="1497988" cy="1497988"/>
          </a:xfrm>
          <a:custGeom>
            <a:avLst/>
            <a:gdLst/>
            <a:ahLst/>
            <a:cxnLst/>
            <a:rect l="l" t="t" r="r" b="b"/>
            <a:pathLst>
              <a:path w="502920" h="502920">
                <a:moveTo>
                  <a:pt x="251421" y="0"/>
                </a:moveTo>
                <a:lnTo>
                  <a:pt x="206227" y="4051"/>
                </a:lnTo>
                <a:lnTo>
                  <a:pt x="163690" y="15730"/>
                </a:lnTo>
                <a:lnTo>
                  <a:pt x="124522" y="34328"/>
                </a:lnTo>
                <a:lnTo>
                  <a:pt x="89431" y="59134"/>
                </a:lnTo>
                <a:lnTo>
                  <a:pt x="59129" y="89439"/>
                </a:lnTo>
                <a:lnTo>
                  <a:pt x="34325" y="124531"/>
                </a:lnTo>
                <a:lnTo>
                  <a:pt x="15728" y="163701"/>
                </a:lnTo>
                <a:lnTo>
                  <a:pt x="4050" y="206239"/>
                </a:lnTo>
                <a:lnTo>
                  <a:pt x="0" y="251434"/>
                </a:lnTo>
                <a:lnTo>
                  <a:pt x="4050" y="296626"/>
                </a:lnTo>
                <a:lnTo>
                  <a:pt x="15728" y="339160"/>
                </a:lnTo>
                <a:lnTo>
                  <a:pt x="34325" y="378328"/>
                </a:lnTo>
                <a:lnTo>
                  <a:pt x="59129" y="413419"/>
                </a:lnTo>
                <a:lnTo>
                  <a:pt x="89431" y="443722"/>
                </a:lnTo>
                <a:lnTo>
                  <a:pt x="124522" y="468528"/>
                </a:lnTo>
                <a:lnTo>
                  <a:pt x="163690" y="487126"/>
                </a:lnTo>
                <a:lnTo>
                  <a:pt x="206227" y="498805"/>
                </a:lnTo>
                <a:lnTo>
                  <a:pt x="251421" y="502856"/>
                </a:lnTo>
                <a:lnTo>
                  <a:pt x="296617" y="498805"/>
                </a:lnTo>
                <a:lnTo>
                  <a:pt x="339154" y="487126"/>
                </a:lnTo>
                <a:lnTo>
                  <a:pt x="378325" y="468528"/>
                </a:lnTo>
                <a:lnTo>
                  <a:pt x="413417" y="443722"/>
                </a:lnTo>
                <a:lnTo>
                  <a:pt x="443721" y="413419"/>
                </a:lnTo>
                <a:lnTo>
                  <a:pt x="468527" y="378328"/>
                </a:lnTo>
                <a:lnTo>
                  <a:pt x="487125" y="339160"/>
                </a:lnTo>
                <a:lnTo>
                  <a:pt x="498805" y="296626"/>
                </a:lnTo>
                <a:lnTo>
                  <a:pt x="502856" y="251434"/>
                </a:lnTo>
                <a:lnTo>
                  <a:pt x="498805" y="206239"/>
                </a:lnTo>
                <a:lnTo>
                  <a:pt x="487125" y="163701"/>
                </a:lnTo>
                <a:lnTo>
                  <a:pt x="468527" y="124531"/>
                </a:lnTo>
                <a:lnTo>
                  <a:pt x="443721" y="89439"/>
                </a:lnTo>
                <a:lnTo>
                  <a:pt x="413417" y="59134"/>
                </a:lnTo>
                <a:lnTo>
                  <a:pt x="378325" y="34328"/>
                </a:lnTo>
                <a:lnTo>
                  <a:pt x="339154" y="15730"/>
                </a:lnTo>
                <a:lnTo>
                  <a:pt x="296617" y="4051"/>
                </a:lnTo>
                <a:lnTo>
                  <a:pt x="251421" y="0"/>
                </a:lnTo>
                <a:close/>
              </a:path>
            </a:pathLst>
          </a:custGeom>
          <a:solidFill>
            <a:srgbClr val="0E5C77">
              <a:alpha val="23999"/>
            </a:srgbClr>
          </a:solidFill>
        </p:spPr>
        <p:txBody>
          <a:bodyPr wrap="square" lIns="0" tIns="0" rIns="0" bIns="0" rtlCol="0"/>
          <a:lstStyle/>
          <a:p>
            <a:endParaRPr/>
          </a:p>
        </p:txBody>
      </p:sp>
      <p:pic>
        <p:nvPicPr>
          <p:cNvPr id="17" name="Picture 16" descr="A picture containing text&#10;&#10;Description automatically generated">
            <a:extLst>
              <a:ext uri="{FF2B5EF4-FFF2-40B4-BE49-F238E27FC236}">
                <a16:creationId xmlns:a16="http://schemas.microsoft.com/office/drawing/2014/main" id="{1C70859E-DCA5-87BD-ACBD-C84DD8CAD7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58512" y="5755005"/>
            <a:ext cx="887325" cy="866809"/>
          </a:xfrm>
          <a:prstGeom prst="rect">
            <a:avLst/>
          </a:prstGeom>
        </p:spPr>
      </p:pic>
      <p:sp>
        <p:nvSpPr>
          <p:cNvPr id="2" name="Picture Placeholder 2">
            <a:extLst>
              <a:ext uri="{FF2B5EF4-FFF2-40B4-BE49-F238E27FC236}">
                <a16:creationId xmlns:a16="http://schemas.microsoft.com/office/drawing/2014/main" id="{C965953D-FE9D-4CC7-8DA0-75C83642EEAC}"/>
              </a:ext>
            </a:extLst>
          </p:cNvPr>
          <p:cNvSpPr>
            <a:spLocks noGrp="1"/>
          </p:cNvSpPr>
          <p:nvPr>
            <p:ph type="pic" idx="10"/>
          </p:nvPr>
        </p:nvSpPr>
        <p:spPr>
          <a:xfrm>
            <a:off x="-1086041" y="431046"/>
            <a:ext cx="7293907" cy="7195979"/>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GB" dirty="0"/>
          </a:p>
        </p:txBody>
      </p:sp>
    </p:spTree>
    <p:extLst>
      <p:ext uri="{BB962C8B-B14F-4D97-AF65-F5344CB8AC3E}">
        <p14:creationId xmlns:p14="http://schemas.microsoft.com/office/powerpoint/2010/main" val="8730423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 Black">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2D00DCAC-C40F-C3B9-F022-BCEE66A66A0B}"/>
              </a:ext>
            </a:extLst>
          </p:cNvPr>
          <p:cNvSpPr/>
          <p:nvPr userDrawn="1"/>
        </p:nvSpPr>
        <p:spPr>
          <a:xfrm>
            <a:off x="0" y="-4957"/>
            <a:ext cx="12197847" cy="6908925"/>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chemeClr val="tx1"/>
          </a:solidFill>
          <a:ln>
            <a:solidFill>
              <a:schemeClr val="tx1"/>
            </a:solidFill>
          </a:ln>
        </p:spPr>
        <p:txBody>
          <a:bodyPr wrap="square" lIns="0" tIns="0" rIns="0" bIns="0" rtlCol="0"/>
          <a:lstStyle/>
          <a:p>
            <a:endParaRPr sz="2000" dirty="0"/>
          </a:p>
        </p:txBody>
      </p:sp>
      <p:sp>
        <p:nvSpPr>
          <p:cNvPr id="3" name="Text Placeholder 2">
            <a:extLst>
              <a:ext uri="{FF2B5EF4-FFF2-40B4-BE49-F238E27FC236}">
                <a16:creationId xmlns:a16="http://schemas.microsoft.com/office/drawing/2014/main" id="{5ADC4885-E653-9F9B-1C72-2AA34FCB44D8}"/>
              </a:ext>
            </a:extLst>
          </p:cNvPr>
          <p:cNvSpPr>
            <a:spLocks noGrp="1"/>
          </p:cNvSpPr>
          <p:nvPr userDrawn="1">
            <p:ph type="body" idx="1"/>
          </p:nvPr>
        </p:nvSpPr>
        <p:spPr>
          <a:xfrm>
            <a:off x="735724" y="809298"/>
            <a:ext cx="4351283" cy="3364383"/>
          </a:xfrm>
          <a:prstGeom prst="rect">
            <a:avLst/>
          </a:prstGeom>
        </p:spPr>
        <p:txBody>
          <a:bodyPr>
            <a:normAutofit/>
          </a:bodyPr>
          <a:lstStyle>
            <a:lvl1pPr marL="0" indent="0" algn="l">
              <a:buNone/>
              <a:defRPr sz="3200">
                <a:solidFill>
                  <a:schemeClr val="bg1"/>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grpSp>
        <p:nvGrpSpPr>
          <p:cNvPr id="5" name="Group 4">
            <a:extLst>
              <a:ext uri="{FF2B5EF4-FFF2-40B4-BE49-F238E27FC236}">
                <a16:creationId xmlns:a16="http://schemas.microsoft.com/office/drawing/2014/main" id="{94FC349D-7459-4846-947D-CBE48ADB0FFC}"/>
              </a:ext>
            </a:extLst>
          </p:cNvPr>
          <p:cNvGrpSpPr/>
          <p:nvPr userDrawn="1"/>
        </p:nvGrpSpPr>
        <p:grpSpPr>
          <a:xfrm>
            <a:off x="9597" y="4222076"/>
            <a:ext cx="5495304" cy="2633814"/>
            <a:chOff x="9597" y="4222076"/>
            <a:chExt cx="5495304" cy="2633814"/>
          </a:xfrm>
        </p:grpSpPr>
        <p:sp>
          <p:nvSpPr>
            <p:cNvPr id="6" name="object 4">
              <a:extLst>
                <a:ext uri="{FF2B5EF4-FFF2-40B4-BE49-F238E27FC236}">
                  <a16:creationId xmlns:a16="http://schemas.microsoft.com/office/drawing/2014/main" id="{A1C7CB09-C480-93D4-4E86-80749DC8482D}"/>
                </a:ext>
              </a:extLst>
            </p:cNvPr>
            <p:cNvSpPr/>
            <p:nvPr/>
          </p:nvSpPr>
          <p:spPr>
            <a:xfrm>
              <a:off x="440952" y="4364568"/>
              <a:ext cx="456048" cy="456048"/>
            </a:xfrm>
            <a:custGeom>
              <a:avLst/>
              <a:gdLst/>
              <a:ahLst/>
              <a:cxnLst/>
              <a:rect l="l" t="t" r="r" b="b"/>
              <a:pathLst>
                <a:path w="502919" h="502920">
                  <a:moveTo>
                    <a:pt x="251434" y="0"/>
                  </a:moveTo>
                  <a:lnTo>
                    <a:pt x="206239" y="4051"/>
                  </a:lnTo>
                  <a:lnTo>
                    <a:pt x="163701" y="15730"/>
                  </a:lnTo>
                  <a:lnTo>
                    <a:pt x="124531" y="34328"/>
                  </a:lnTo>
                  <a:lnTo>
                    <a:pt x="89439" y="59134"/>
                  </a:lnTo>
                  <a:lnTo>
                    <a:pt x="59134" y="89439"/>
                  </a:lnTo>
                  <a:lnTo>
                    <a:pt x="34328" y="124531"/>
                  </a:lnTo>
                  <a:lnTo>
                    <a:pt x="15730" y="163701"/>
                  </a:lnTo>
                  <a:lnTo>
                    <a:pt x="4051" y="206239"/>
                  </a:lnTo>
                  <a:lnTo>
                    <a:pt x="0" y="251434"/>
                  </a:lnTo>
                  <a:lnTo>
                    <a:pt x="4051" y="296626"/>
                  </a:lnTo>
                  <a:lnTo>
                    <a:pt x="15730" y="339160"/>
                  </a:lnTo>
                  <a:lnTo>
                    <a:pt x="34328" y="378328"/>
                  </a:lnTo>
                  <a:lnTo>
                    <a:pt x="59134" y="413419"/>
                  </a:lnTo>
                  <a:lnTo>
                    <a:pt x="89439" y="443722"/>
                  </a:lnTo>
                  <a:lnTo>
                    <a:pt x="124531" y="468528"/>
                  </a:lnTo>
                  <a:lnTo>
                    <a:pt x="163701" y="487126"/>
                  </a:lnTo>
                  <a:lnTo>
                    <a:pt x="206239" y="498805"/>
                  </a:lnTo>
                  <a:lnTo>
                    <a:pt x="251434" y="502856"/>
                  </a:lnTo>
                  <a:lnTo>
                    <a:pt x="296629" y="498805"/>
                  </a:lnTo>
                  <a:lnTo>
                    <a:pt x="339167" y="487126"/>
                  </a:lnTo>
                  <a:lnTo>
                    <a:pt x="378337" y="468528"/>
                  </a:lnTo>
                  <a:lnTo>
                    <a:pt x="413430" y="443722"/>
                  </a:lnTo>
                  <a:lnTo>
                    <a:pt x="443734" y="413419"/>
                  </a:lnTo>
                  <a:lnTo>
                    <a:pt x="468540" y="378328"/>
                  </a:lnTo>
                  <a:lnTo>
                    <a:pt x="487138" y="339160"/>
                  </a:lnTo>
                  <a:lnTo>
                    <a:pt x="498818" y="296626"/>
                  </a:lnTo>
                  <a:lnTo>
                    <a:pt x="502869" y="251434"/>
                  </a:lnTo>
                  <a:lnTo>
                    <a:pt x="498818" y="206239"/>
                  </a:lnTo>
                  <a:lnTo>
                    <a:pt x="487138" y="163701"/>
                  </a:lnTo>
                  <a:lnTo>
                    <a:pt x="468540" y="124531"/>
                  </a:lnTo>
                  <a:lnTo>
                    <a:pt x="443734" y="89439"/>
                  </a:lnTo>
                  <a:lnTo>
                    <a:pt x="413430" y="59134"/>
                  </a:lnTo>
                  <a:lnTo>
                    <a:pt x="378337" y="34328"/>
                  </a:lnTo>
                  <a:lnTo>
                    <a:pt x="339167" y="15730"/>
                  </a:lnTo>
                  <a:lnTo>
                    <a:pt x="296629" y="4051"/>
                  </a:lnTo>
                  <a:lnTo>
                    <a:pt x="251434" y="0"/>
                  </a:lnTo>
                  <a:close/>
                </a:path>
              </a:pathLst>
            </a:custGeom>
            <a:solidFill>
              <a:srgbClr val="0E5C77">
                <a:alpha val="23999"/>
              </a:srgbClr>
            </a:solidFill>
          </p:spPr>
          <p:txBody>
            <a:bodyPr wrap="square" lIns="0" tIns="0" rIns="0" bIns="0" rtlCol="0"/>
            <a:lstStyle/>
            <a:p>
              <a:endParaRPr/>
            </a:p>
          </p:txBody>
        </p:sp>
        <p:sp>
          <p:nvSpPr>
            <p:cNvPr id="7" name="object 5">
              <a:extLst>
                <a:ext uri="{FF2B5EF4-FFF2-40B4-BE49-F238E27FC236}">
                  <a16:creationId xmlns:a16="http://schemas.microsoft.com/office/drawing/2014/main" id="{3500E5BE-1EAF-781E-4732-256336562279}"/>
                </a:ext>
              </a:extLst>
            </p:cNvPr>
            <p:cNvSpPr/>
            <p:nvPr/>
          </p:nvSpPr>
          <p:spPr>
            <a:xfrm>
              <a:off x="1338685" y="5086553"/>
              <a:ext cx="456048" cy="456048"/>
            </a:xfrm>
            <a:custGeom>
              <a:avLst/>
              <a:gdLst/>
              <a:ahLst/>
              <a:cxnLst/>
              <a:rect l="l" t="t" r="r" b="b"/>
              <a:pathLst>
                <a:path w="502919" h="502920">
                  <a:moveTo>
                    <a:pt x="251434" y="0"/>
                  </a:moveTo>
                  <a:lnTo>
                    <a:pt x="206239" y="4051"/>
                  </a:lnTo>
                  <a:lnTo>
                    <a:pt x="163701" y="15730"/>
                  </a:lnTo>
                  <a:lnTo>
                    <a:pt x="124531" y="34328"/>
                  </a:lnTo>
                  <a:lnTo>
                    <a:pt x="89439" y="59134"/>
                  </a:lnTo>
                  <a:lnTo>
                    <a:pt x="59134" y="89439"/>
                  </a:lnTo>
                  <a:lnTo>
                    <a:pt x="34328" y="124531"/>
                  </a:lnTo>
                  <a:lnTo>
                    <a:pt x="15730" y="163701"/>
                  </a:lnTo>
                  <a:lnTo>
                    <a:pt x="4051" y="206239"/>
                  </a:lnTo>
                  <a:lnTo>
                    <a:pt x="0" y="251434"/>
                  </a:lnTo>
                  <a:lnTo>
                    <a:pt x="4051" y="296626"/>
                  </a:lnTo>
                  <a:lnTo>
                    <a:pt x="15730" y="339160"/>
                  </a:lnTo>
                  <a:lnTo>
                    <a:pt x="34328" y="378328"/>
                  </a:lnTo>
                  <a:lnTo>
                    <a:pt x="59134" y="413419"/>
                  </a:lnTo>
                  <a:lnTo>
                    <a:pt x="89439" y="443722"/>
                  </a:lnTo>
                  <a:lnTo>
                    <a:pt x="124531" y="468528"/>
                  </a:lnTo>
                  <a:lnTo>
                    <a:pt x="163701" y="487126"/>
                  </a:lnTo>
                  <a:lnTo>
                    <a:pt x="206239" y="498805"/>
                  </a:lnTo>
                  <a:lnTo>
                    <a:pt x="251434" y="502856"/>
                  </a:lnTo>
                  <a:lnTo>
                    <a:pt x="296629" y="498805"/>
                  </a:lnTo>
                  <a:lnTo>
                    <a:pt x="339167" y="487126"/>
                  </a:lnTo>
                  <a:lnTo>
                    <a:pt x="378337" y="468528"/>
                  </a:lnTo>
                  <a:lnTo>
                    <a:pt x="413430" y="443722"/>
                  </a:lnTo>
                  <a:lnTo>
                    <a:pt x="443734" y="413419"/>
                  </a:lnTo>
                  <a:lnTo>
                    <a:pt x="468540" y="378328"/>
                  </a:lnTo>
                  <a:lnTo>
                    <a:pt x="487138" y="339160"/>
                  </a:lnTo>
                  <a:lnTo>
                    <a:pt x="498818" y="296626"/>
                  </a:lnTo>
                  <a:lnTo>
                    <a:pt x="502869" y="251434"/>
                  </a:lnTo>
                  <a:lnTo>
                    <a:pt x="498818" y="206239"/>
                  </a:lnTo>
                  <a:lnTo>
                    <a:pt x="487138" y="163701"/>
                  </a:lnTo>
                  <a:lnTo>
                    <a:pt x="468540" y="124531"/>
                  </a:lnTo>
                  <a:lnTo>
                    <a:pt x="443734" y="89439"/>
                  </a:lnTo>
                  <a:lnTo>
                    <a:pt x="413430" y="59134"/>
                  </a:lnTo>
                  <a:lnTo>
                    <a:pt x="378337" y="34328"/>
                  </a:lnTo>
                  <a:lnTo>
                    <a:pt x="339167" y="15730"/>
                  </a:lnTo>
                  <a:lnTo>
                    <a:pt x="296629" y="4051"/>
                  </a:lnTo>
                  <a:lnTo>
                    <a:pt x="251434" y="0"/>
                  </a:lnTo>
                  <a:close/>
                </a:path>
              </a:pathLst>
            </a:custGeom>
            <a:solidFill>
              <a:srgbClr val="0E5C77">
                <a:alpha val="23999"/>
              </a:srgbClr>
            </a:solidFill>
          </p:spPr>
          <p:txBody>
            <a:bodyPr wrap="square" lIns="0" tIns="0" rIns="0" bIns="0" rtlCol="0"/>
            <a:lstStyle/>
            <a:p>
              <a:endParaRPr/>
            </a:p>
          </p:txBody>
        </p:sp>
        <p:sp>
          <p:nvSpPr>
            <p:cNvPr id="15" name="object 6">
              <a:extLst>
                <a:ext uri="{FF2B5EF4-FFF2-40B4-BE49-F238E27FC236}">
                  <a16:creationId xmlns:a16="http://schemas.microsoft.com/office/drawing/2014/main" id="{704A627A-3432-816F-D27C-B13AF7896B4A}"/>
                </a:ext>
              </a:extLst>
            </p:cNvPr>
            <p:cNvSpPr/>
            <p:nvPr/>
          </p:nvSpPr>
          <p:spPr>
            <a:xfrm>
              <a:off x="2992604" y="4222076"/>
              <a:ext cx="2512297" cy="2223236"/>
            </a:xfrm>
            <a:custGeom>
              <a:avLst/>
              <a:gdLst/>
              <a:ahLst/>
              <a:cxnLst/>
              <a:rect l="l" t="t" r="r" b="b"/>
              <a:pathLst>
                <a:path w="2770504" h="2451734">
                  <a:moveTo>
                    <a:pt x="2293239" y="1146619"/>
                  </a:moveTo>
                  <a:lnTo>
                    <a:pt x="2292235" y="1098156"/>
                  </a:lnTo>
                  <a:lnTo>
                    <a:pt x="2289238" y="1050201"/>
                  </a:lnTo>
                  <a:lnTo>
                    <a:pt x="2284298" y="1002792"/>
                  </a:lnTo>
                  <a:lnTo>
                    <a:pt x="2277465" y="955979"/>
                  </a:lnTo>
                  <a:lnTo>
                    <a:pt x="2268753" y="909802"/>
                  </a:lnTo>
                  <a:lnTo>
                    <a:pt x="2258212" y="864298"/>
                  </a:lnTo>
                  <a:lnTo>
                    <a:pt x="2245893" y="819492"/>
                  </a:lnTo>
                  <a:lnTo>
                    <a:pt x="2231834" y="775449"/>
                  </a:lnTo>
                  <a:lnTo>
                    <a:pt x="2216061" y="732205"/>
                  </a:lnTo>
                  <a:lnTo>
                    <a:pt x="2198611" y="689775"/>
                  </a:lnTo>
                  <a:lnTo>
                    <a:pt x="2179548" y="648233"/>
                  </a:lnTo>
                  <a:lnTo>
                    <a:pt x="2158885" y="607593"/>
                  </a:lnTo>
                  <a:lnTo>
                    <a:pt x="2136686" y="567905"/>
                  </a:lnTo>
                  <a:lnTo>
                    <a:pt x="2112975" y="529196"/>
                  </a:lnTo>
                  <a:lnTo>
                    <a:pt x="2087803" y="491528"/>
                  </a:lnTo>
                  <a:lnTo>
                    <a:pt x="2061197" y="454939"/>
                  </a:lnTo>
                  <a:lnTo>
                    <a:pt x="2033193" y="419442"/>
                  </a:lnTo>
                  <a:lnTo>
                    <a:pt x="2003856" y="385102"/>
                  </a:lnTo>
                  <a:lnTo>
                    <a:pt x="1973199" y="351955"/>
                  </a:lnTo>
                  <a:lnTo>
                    <a:pt x="1941283" y="320040"/>
                  </a:lnTo>
                  <a:lnTo>
                    <a:pt x="1908136" y="289382"/>
                  </a:lnTo>
                  <a:lnTo>
                    <a:pt x="1873796" y="260045"/>
                  </a:lnTo>
                  <a:lnTo>
                    <a:pt x="1838299" y="232041"/>
                  </a:lnTo>
                  <a:lnTo>
                    <a:pt x="1801710" y="205435"/>
                  </a:lnTo>
                  <a:lnTo>
                    <a:pt x="1764042" y="180263"/>
                  </a:lnTo>
                  <a:lnTo>
                    <a:pt x="1725333" y="156552"/>
                  </a:lnTo>
                  <a:lnTo>
                    <a:pt x="1685645" y="134353"/>
                  </a:lnTo>
                  <a:lnTo>
                    <a:pt x="1645005" y="113690"/>
                  </a:lnTo>
                  <a:lnTo>
                    <a:pt x="1603463" y="94627"/>
                  </a:lnTo>
                  <a:lnTo>
                    <a:pt x="1561033" y="77177"/>
                  </a:lnTo>
                  <a:lnTo>
                    <a:pt x="1517789" y="61404"/>
                  </a:lnTo>
                  <a:lnTo>
                    <a:pt x="1473746" y="47345"/>
                  </a:lnTo>
                  <a:lnTo>
                    <a:pt x="1428940" y="35026"/>
                  </a:lnTo>
                  <a:lnTo>
                    <a:pt x="1383436" y="24485"/>
                  </a:lnTo>
                  <a:lnTo>
                    <a:pt x="1337259" y="15773"/>
                  </a:lnTo>
                  <a:lnTo>
                    <a:pt x="1290447" y="8940"/>
                  </a:lnTo>
                  <a:lnTo>
                    <a:pt x="1243037" y="4000"/>
                  </a:lnTo>
                  <a:lnTo>
                    <a:pt x="1195082" y="1003"/>
                  </a:lnTo>
                  <a:lnTo>
                    <a:pt x="1146619" y="0"/>
                  </a:lnTo>
                  <a:lnTo>
                    <a:pt x="1098143" y="1003"/>
                  </a:lnTo>
                  <a:lnTo>
                    <a:pt x="1050188" y="4000"/>
                  </a:lnTo>
                  <a:lnTo>
                    <a:pt x="1002792" y="8940"/>
                  </a:lnTo>
                  <a:lnTo>
                    <a:pt x="955979" y="15773"/>
                  </a:lnTo>
                  <a:lnTo>
                    <a:pt x="909802" y="24485"/>
                  </a:lnTo>
                  <a:lnTo>
                    <a:pt x="864285" y="35026"/>
                  </a:lnTo>
                  <a:lnTo>
                    <a:pt x="819492" y="47345"/>
                  </a:lnTo>
                  <a:lnTo>
                    <a:pt x="775449" y="61404"/>
                  </a:lnTo>
                  <a:lnTo>
                    <a:pt x="732193" y="77177"/>
                  </a:lnTo>
                  <a:lnTo>
                    <a:pt x="689775" y="94627"/>
                  </a:lnTo>
                  <a:lnTo>
                    <a:pt x="648220" y="113690"/>
                  </a:lnTo>
                  <a:lnTo>
                    <a:pt x="607580" y="134353"/>
                  </a:lnTo>
                  <a:lnTo>
                    <a:pt x="567893" y="156552"/>
                  </a:lnTo>
                  <a:lnTo>
                    <a:pt x="529196" y="180263"/>
                  </a:lnTo>
                  <a:lnTo>
                    <a:pt x="491528" y="205435"/>
                  </a:lnTo>
                  <a:lnTo>
                    <a:pt x="454926" y="232041"/>
                  </a:lnTo>
                  <a:lnTo>
                    <a:pt x="419442" y="260045"/>
                  </a:lnTo>
                  <a:lnTo>
                    <a:pt x="385102" y="289382"/>
                  </a:lnTo>
                  <a:lnTo>
                    <a:pt x="351955" y="320040"/>
                  </a:lnTo>
                  <a:lnTo>
                    <a:pt x="320027" y="351955"/>
                  </a:lnTo>
                  <a:lnTo>
                    <a:pt x="289382" y="385102"/>
                  </a:lnTo>
                  <a:lnTo>
                    <a:pt x="260032" y="419442"/>
                  </a:lnTo>
                  <a:lnTo>
                    <a:pt x="232041" y="454939"/>
                  </a:lnTo>
                  <a:lnTo>
                    <a:pt x="205435" y="491528"/>
                  </a:lnTo>
                  <a:lnTo>
                    <a:pt x="180251" y="529196"/>
                  </a:lnTo>
                  <a:lnTo>
                    <a:pt x="156540" y="567905"/>
                  </a:lnTo>
                  <a:lnTo>
                    <a:pt x="134340" y="607593"/>
                  </a:lnTo>
                  <a:lnTo>
                    <a:pt x="113690" y="648233"/>
                  </a:lnTo>
                  <a:lnTo>
                    <a:pt x="94615" y="689775"/>
                  </a:lnTo>
                  <a:lnTo>
                    <a:pt x="77177" y="732205"/>
                  </a:lnTo>
                  <a:lnTo>
                    <a:pt x="61404" y="775449"/>
                  </a:lnTo>
                  <a:lnTo>
                    <a:pt x="47332" y="819492"/>
                  </a:lnTo>
                  <a:lnTo>
                    <a:pt x="35013" y="864298"/>
                  </a:lnTo>
                  <a:lnTo>
                    <a:pt x="24485" y="909802"/>
                  </a:lnTo>
                  <a:lnTo>
                    <a:pt x="15773" y="955979"/>
                  </a:lnTo>
                  <a:lnTo>
                    <a:pt x="8928" y="1002792"/>
                  </a:lnTo>
                  <a:lnTo>
                    <a:pt x="4000" y="1050201"/>
                  </a:lnTo>
                  <a:lnTo>
                    <a:pt x="1003" y="1098156"/>
                  </a:lnTo>
                  <a:lnTo>
                    <a:pt x="0" y="1146619"/>
                  </a:lnTo>
                  <a:lnTo>
                    <a:pt x="1003" y="1195095"/>
                  </a:lnTo>
                  <a:lnTo>
                    <a:pt x="4000" y="1243050"/>
                  </a:lnTo>
                  <a:lnTo>
                    <a:pt x="8928" y="1290447"/>
                  </a:lnTo>
                  <a:lnTo>
                    <a:pt x="15773" y="1337259"/>
                  </a:lnTo>
                  <a:lnTo>
                    <a:pt x="24485" y="1383436"/>
                  </a:lnTo>
                  <a:lnTo>
                    <a:pt x="35013" y="1428953"/>
                  </a:lnTo>
                  <a:lnTo>
                    <a:pt x="47332" y="1473746"/>
                  </a:lnTo>
                  <a:lnTo>
                    <a:pt x="61404" y="1517789"/>
                  </a:lnTo>
                  <a:lnTo>
                    <a:pt x="77177" y="1561045"/>
                  </a:lnTo>
                  <a:lnTo>
                    <a:pt x="94615" y="1603463"/>
                  </a:lnTo>
                  <a:lnTo>
                    <a:pt x="113690" y="1645018"/>
                  </a:lnTo>
                  <a:lnTo>
                    <a:pt x="134340" y="1685658"/>
                  </a:lnTo>
                  <a:lnTo>
                    <a:pt x="156540" y="1725345"/>
                  </a:lnTo>
                  <a:lnTo>
                    <a:pt x="180251" y="1764042"/>
                  </a:lnTo>
                  <a:lnTo>
                    <a:pt x="205435" y="1801710"/>
                  </a:lnTo>
                  <a:lnTo>
                    <a:pt x="232041" y="1838312"/>
                  </a:lnTo>
                  <a:lnTo>
                    <a:pt x="260032" y="1873796"/>
                  </a:lnTo>
                  <a:lnTo>
                    <a:pt x="289382" y="1908136"/>
                  </a:lnTo>
                  <a:lnTo>
                    <a:pt x="320027" y="1941283"/>
                  </a:lnTo>
                  <a:lnTo>
                    <a:pt x="351955" y="1973211"/>
                  </a:lnTo>
                  <a:lnTo>
                    <a:pt x="385102" y="2003856"/>
                  </a:lnTo>
                  <a:lnTo>
                    <a:pt x="419442" y="2033206"/>
                  </a:lnTo>
                  <a:lnTo>
                    <a:pt x="454926" y="2061197"/>
                  </a:lnTo>
                  <a:lnTo>
                    <a:pt x="491528" y="2087803"/>
                  </a:lnTo>
                  <a:lnTo>
                    <a:pt x="529196" y="2112988"/>
                  </a:lnTo>
                  <a:lnTo>
                    <a:pt x="567893" y="2136698"/>
                  </a:lnTo>
                  <a:lnTo>
                    <a:pt x="607580" y="2158898"/>
                  </a:lnTo>
                  <a:lnTo>
                    <a:pt x="648220" y="2179548"/>
                  </a:lnTo>
                  <a:lnTo>
                    <a:pt x="689775" y="2198624"/>
                  </a:lnTo>
                  <a:lnTo>
                    <a:pt x="732193" y="2216061"/>
                  </a:lnTo>
                  <a:lnTo>
                    <a:pt x="775449" y="2231834"/>
                  </a:lnTo>
                  <a:lnTo>
                    <a:pt x="819492" y="2245906"/>
                  </a:lnTo>
                  <a:lnTo>
                    <a:pt x="864285" y="2258225"/>
                  </a:lnTo>
                  <a:lnTo>
                    <a:pt x="909802" y="2268753"/>
                  </a:lnTo>
                  <a:lnTo>
                    <a:pt x="955979" y="2277465"/>
                  </a:lnTo>
                  <a:lnTo>
                    <a:pt x="1002792" y="2284311"/>
                  </a:lnTo>
                  <a:lnTo>
                    <a:pt x="1050188" y="2289238"/>
                  </a:lnTo>
                  <a:lnTo>
                    <a:pt x="1098143" y="2292235"/>
                  </a:lnTo>
                  <a:lnTo>
                    <a:pt x="1146619" y="2293239"/>
                  </a:lnTo>
                  <a:lnTo>
                    <a:pt x="1195082" y="2292235"/>
                  </a:lnTo>
                  <a:lnTo>
                    <a:pt x="1243037" y="2289238"/>
                  </a:lnTo>
                  <a:lnTo>
                    <a:pt x="1290447" y="2284311"/>
                  </a:lnTo>
                  <a:lnTo>
                    <a:pt x="1337259" y="2277465"/>
                  </a:lnTo>
                  <a:lnTo>
                    <a:pt x="1383436" y="2268753"/>
                  </a:lnTo>
                  <a:lnTo>
                    <a:pt x="1428940" y="2258225"/>
                  </a:lnTo>
                  <a:lnTo>
                    <a:pt x="1473746" y="2245906"/>
                  </a:lnTo>
                  <a:lnTo>
                    <a:pt x="1517789" y="2231834"/>
                  </a:lnTo>
                  <a:lnTo>
                    <a:pt x="1561033" y="2216061"/>
                  </a:lnTo>
                  <a:lnTo>
                    <a:pt x="1603463" y="2198624"/>
                  </a:lnTo>
                  <a:lnTo>
                    <a:pt x="1645005" y="2179548"/>
                  </a:lnTo>
                  <a:lnTo>
                    <a:pt x="1685645" y="2158898"/>
                  </a:lnTo>
                  <a:lnTo>
                    <a:pt x="1725333" y="2136698"/>
                  </a:lnTo>
                  <a:lnTo>
                    <a:pt x="1764042" y="2112988"/>
                  </a:lnTo>
                  <a:lnTo>
                    <a:pt x="1801710" y="2087803"/>
                  </a:lnTo>
                  <a:lnTo>
                    <a:pt x="1838299" y="2061197"/>
                  </a:lnTo>
                  <a:lnTo>
                    <a:pt x="1873796" y="2033206"/>
                  </a:lnTo>
                  <a:lnTo>
                    <a:pt x="1908136" y="2003856"/>
                  </a:lnTo>
                  <a:lnTo>
                    <a:pt x="1941283" y="1973211"/>
                  </a:lnTo>
                  <a:lnTo>
                    <a:pt x="1973199" y="1941283"/>
                  </a:lnTo>
                  <a:lnTo>
                    <a:pt x="2003856" y="1908136"/>
                  </a:lnTo>
                  <a:lnTo>
                    <a:pt x="2033193" y="1873796"/>
                  </a:lnTo>
                  <a:lnTo>
                    <a:pt x="2061197" y="1838312"/>
                  </a:lnTo>
                  <a:lnTo>
                    <a:pt x="2087803" y="1801710"/>
                  </a:lnTo>
                  <a:lnTo>
                    <a:pt x="2112975" y="1764042"/>
                  </a:lnTo>
                  <a:lnTo>
                    <a:pt x="2136686" y="1725345"/>
                  </a:lnTo>
                  <a:lnTo>
                    <a:pt x="2158885" y="1685658"/>
                  </a:lnTo>
                  <a:lnTo>
                    <a:pt x="2179548" y="1645018"/>
                  </a:lnTo>
                  <a:lnTo>
                    <a:pt x="2198611" y="1603463"/>
                  </a:lnTo>
                  <a:lnTo>
                    <a:pt x="2216061" y="1561045"/>
                  </a:lnTo>
                  <a:lnTo>
                    <a:pt x="2231834" y="1517789"/>
                  </a:lnTo>
                  <a:lnTo>
                    <a:pt x="2245893" y="1473746"/>
                  </a:lnTo>
                  <a:lnTo>
                    <a:pt x="2258212" y="1428953"/>
                  </a:lnTo>
                  <a:lnTo>
                    <a:pt x="2268753" y="1383436"/>
                  </a:lnTo>
                  <a:lnTo>
                    <a:pt x="2277465" y="1337259"/>
                  </a:lnTo>
                  <a:lnTo>
                    <a:pt x="2284298" y="1290447"/>
                  </a:lnTo>
                  <a:lnTo>
                    <a:pt x="2289238" y="1243050"/>
                  </a:lnTo>
                  <a:lnTo>
                    <a:pt x="2292235" y="1195095"/>
                  </a:lnTo>
                  <a:lnTo>
                    <a:pt x="2293239" y="1146619"/>
                  </a:lnTo>
                  <a:close/>
                </a:path>
                <a:path w="2770504" h="2451734">
                  <a:moveTo>
                    <a:pt x="2769895" y="2200008"/>
                  </a:moveTo>
                  <a:lnTo>
                    <a:pt x="2765844" y="2154809"/>
                  </a:lnTo>
                  <a:lnTo>
                    <a:pt x="2754172" y="2112276"/>
                  </a:lnTo>
                  <a:lnTo>
                    <a:pt x="2735580" y="2073109"/>
                  </a:lnTo>
                  <a:lnTo>
                    <a:pt x="2710777" y="2038007"/>
                  </a:lnTo>
                  <a:lnTo>
                    <a:pt x="2680474" y="2007704"/>
                  </a:lnTo>
                  <a:lnTo>
                    <a:pt x="2645384" y="1982901"/>
                  </a:lnTo>
                  <a:lnTo>
                    <a:pt x="2606205" y="1964309"/>
                  </a:lnTo>
                  <a:lnTo>
                    <a:pt x="2563672" y="1952625"/>
                  </a:lnTo>
                  <a:lnTo>
                    <a:pt x="2518473" y="1948573"/>
                  </a:lnTo>
                  <a:lnTo>
                    <a:pt x="2473287" y="1952625"/>
                  </a:lnTo>
                  <a:lnTo>
                    <a:pt x="2430742" y="1964309"/>
                  </a:lnTo>
                  <a:lnTo>
                    <a:pt x="2391575" y="1982901"/>
                  </a:lnTo>
                  <a:lnTo>
                    <a:pt x="2356485" y="2007704"/>
                  </a:lnTo>
                  <a:lnTo>
                    <a:pt x="2326182" y="2038007"/>
                  </a:lnTo>
                  <a:lnTo>
                    <a:pt x="2301367" y="2073109"/>
                  </a:lnTo>
                  <a:lnTo>
                    <a:pt x="2282774" y="2112276"/>
                  </a:lnTo>
                  <a:lnTo>
                    <a:pt x="2271090" y="2154809"/>
                  </a:lnTo>
                  <a:lnTo>
                    <a:pt x="2267039" y="2200008"/>
                  </a:lnTo>
                  <a:lnTo>
                    <a:pt x="2271090" y="2245195"/>
                  </a:lnTo>
                  <a:lnTo>
                    <a:pt x="2282774" y="2287727"/>
                  </a:lnTo>
                  <a:lnTo>
                    <a:pt x="2301367" y="2326906"/>
                  </a:lnTo>
                  <a:lnTo>
                    <a:pt x="2326182" y="2361996"/>
                  </a:lnTo>
                  <a:lnTo>
                    <a:pt x="2356485" y="2392299"/>
                  </a:lnTo>
                  <a:lnTo>
                    <a:pt x="2391575" y="2417102"/>
                  </a:lnTo>
                  <a:lnTo>
                    <a:pt x="2430742" y="2435695"/>
                  </a:lnTo>
                  <a:lnTo>
                    <a:pt x="2473287" y="2447379"/>
                  </a:lnTo>
                  <a:lnTo>
                    <a:pt x="2518473" y="2451430"/>
                  </a:lnTo>
                  <a:lnTo>
                    <a:pt x="2563672" y="2447379"/>
                  </a:lnTo>
                  <a:lnTo>
                    <a:pt x="2606205" y="2435695"/>
                  </a:lnTo>
                  <a:lnTo>
                    <a:pt x="2645384" y="2417102"/>
                  </a:lnTo>
                  <a:lnTo>
                    <a:pt x="2680474" y="2392299"/>
                  </a:lnTo>
                  <a:lnTo>
                    <a:pt x="2710777" y="2361996"/>
                  </a:lnTo>
                  <a:lnTo>
                    <a:pt x="2735580" y="2326906"/>
                  </a:lnTo>
                  <a:lnTo>
                    <a:pt x="2754172" y="2287727"/>
                  </a:lnTo>
                  <a:lnTo>
                    <a:pt x="2765844" y="2245195"/>
                  </a:lnTo>
                  <a:lnTo>
                    <a:pt x="2769895" y="2200008"/>
                  </a:lnTo>
                  <a:close/>
                </a:path>
              </a:pathLst>
            </a:custGeom>
            <a:solidFill>
              <a:srgbClr val="0E5C77">
                <a:alpha val="23999"/>
              </a:srgbClr>
            </a:solidFill>
          </p:spPr>
          <p:txBody>
            <a:bodyPr wrap="square" lIns="0" tIns="0" rIns="0" bIns="0" rtlCol="0"/>
            <a:lstStyle/>
            <a:p>
              <a:endParaRPr/>
            </a:p>
          </p:txBody>
        </p:sp>
        <p:sp>
          <p:nvSpPr>
            <p:cNvPr id="20" name="object 7">
              <a:extLst>
                <a:ext uri="{FF2B5EF4-FFF2-40B4-BE49-F238E27FC236}">
                  <a16:creationId xmlns:a16="http://schemas.microsoft.com/office/drawing/2014/main" id="{E3117CA8-C356-BDA9-FD85-2EB03B137EEA}"/>
                </a:ext>
              </a:extLst>
            </p:cNvPr>
            <p:cNvSpPr/>
            <p:nvPr/>
          </p:nvSpPr>
          <p:spPr>
            <a:xfrm>
              <a:off x="9597" y="4925061"/>
              <a:ext cx="1272559" cy="1930720"/>
            </a:xfrm>
            <a:custGeom>
              <a:avLst/>
              <a:gdLst/>
              <a:ahLst/>
              <a:cxnLst/>
              <a:rect l="l" t="t" r="r" b="b"/>
              <a:pathLst>
                <a:path w="1403350" h="2129154">
                  <a:moveTo>
                    <a:pt x="256217" y="0"/>
                  </a:moveTo>
                  <a:lnTo>
                    <a:pt x="207748" y="1005"/>
                  </a:lnTo>
                  <a:lnTo>
                    <a:pt x="159791" y="3997"/>
                  </a:lnTo>
                  <a:lnTo>
                    <a:pt x="112387" y="8933"/>
                  </a:lnTo>
                  <a:lnTo>
                    <a:pt x="65576" y="15776"/>
                  </a:lnTo>
                  <a:lnTo>
                    <a:pt x="19397" y="24484"/>
                  </a:lnTo>
                  <a:lnTo>
                    <a:pt x="0" y="28974"/>
                  </a:lnTo>
                  <a:lnTo>
                    <a:pt x="0" y="2128758"/>
                  </a:lnTo>
                  <a:lnTo>
                    <a:pt x="847885" y="2128758"/>
                  </a:lnTo>
                  <a:lnTo>
                    <a:pt x="873636" y="2112981"/>
                  </a:lnTo>
                  <a:lnTo>
                    <a:pt x="911305" y="2087802"/>
                  </a:lnTo>
                  <a:lnTo>
                    <a:pt x="947904" y="2061196"/>
                  </a:lnTo>
                  <a:lnTo>
                    <a:pt x="983393" y="2033201"/>
                  </a:lnTo>
                  <a:lnTo>
                    <a:pt x="1017732" y="2003858"/>
                  </a:lnTo>
                  <a:lnTo>
                    <a:pt x="1050883" y="1973206"/>
                  </a:lnTo>
                  <a:lnTo>
                    <a:pt x="1082804" y="1941285"/>
                  </a:lnTo>
                  <a:lnTo>
                    <a:pt x="1113456" y="1908135"/>
                  </a:lnTo>
                  <a:lnTo>
                    <a:pt x="1142799" y="1873795"/>
                  </a:lnTo>
                  <a:lnTo>
                    <a:pt x="1170794" y="1838306"/>
                  </a:lnTo>
                  <a:lnTo>
                    <a:pt x="1197400" y="1801707"/>
                  </a:lnTo>
                  <a:lnTo>
                    <a:pt x="1222579" y="1764039"/>
                  </a:lnTo>
                  <a:lnTo>
                    <a:pt x="1246289" y="1725340"/>
                  </a:lnTo>
                  <a:lnTo>
                    <a:pt x="1268492" y="1685650"/>
                  </a:lnTo>
                  <a:lnTo>
                    <a:pt x="1289147" y="1645011"/>
                  </a:lnTo>
                  <a:lnTo>
                    <a:pt x="1308215" y="1603460"/>
                  </a:lnTo>
                  <a:lnTo>
                    <a:pt x="1325656" y="1561039"/>
                  </a:lnTo>
                  <a:lnTo>
                    <a:pt x="1341430" y="1517786"/>
                  </a:lnTo>
                  <a:lnTo>
                    <a:pt x="1355497" y="1473742"/>
                  </a:lnTo>
                  <a:lnTo>
                    <a:pt x="1367818" y="1428947"/>
                  </a:lnTo>
                  <a:lnTo>
                    <a:pt x="1378352" y="1383439"/>
                  </a:lnTo>
                  <a:lnTo>
                    <a:pt x="1387060" y="1337260"/>
                  </a:lnTo>
                  <a:lnTo>
                    <a:pt x="1393903" y="1290448"/>
                  </a:lnTo>
                  <a:lnTo>
                    <a:pt x="1398839" y="1243045"/>
                  </a:lnTo>
                  <a:lnTo>
                    <a:pt x="1401831" y="1195088"/>
                  </a:lnTo>
                  <a:lnTo>
                    <a:pt x="1402836" y="1146619"/>
                  </a:lnTo>
                  <a:lnTo>
                    <a:pt x="1401831" y="1098150"/>
                  </a:lnTo>
                  <a:lnTo>
                    <a:pt x="1398839" y="1050193"/>
                  </a:lnTo>
                  <a:lnTo>
                    <a:pt x="1393903" y="1002790"/>
                  </a:lnTo>
                  <a:lnTo>
                    <a:pt x="1387060" y="955978"/>
                  </a:lnTo>
                  <a:lnTo>
                    <a:pt x="1378352" y="909799"/>
                  </a:lnTo>
                  <a:lnTo>
                    <a:pt x="1367818" y="864291"/>
                  </a:lnTo>
                  <a:lnTo>
                    <a:pt x="1355497" y="819496"/>
                  </a:lnTo>
                  <a:lnTo>
                    <a:pt x="1341430" y="775452"/>
                  </a:lnTo>
                  <a:lnTo>
                    <a:pt x="1325656" y="732199"/>
                  </a:lnTo>
                  <a:lnTo>
                    <a:pt x="1308215" y="689778"/>
                  </a:lnTo>
                  <a:lnTo>
                    <a:pt x="1289147" y="648227"/>
                  </a:lnTo>
                  <a:lnTo>
                    <a:pt x="1268492" y="607588"/>
                  </a:lnTo>
                  <a:lnTo>
                    <a:pt x="1246289" y="567898"/>
                  </a:lnTo>
                  <a:lnTo>
                    <a:pt x="1222579" y="529199"/>
                  </a:lnTo>
                  <a:lnTo>
                    <a:pt x="1197400" y="491531"/>
                  </a:lnTo>
                  <a:lnTo>
                    <a:pt x="1170794" y="454932"/>
                  </a:lnTo>
                  <a:lnTo>
                    <a:pt x="1142799" y="419443"/>
                  </a:lnTo>
                  <a:lnTo>
                    <a:pt x="1113456" y="385103"/>
                  </a:lnTo>
                  <a:lnTo>
                    <a:pt x="1082804" y="351953"/>
                  </a:lnTo>
                  <a:lnTo>
                    <a:pt x="1050883" y="320032"/>
                  </a:lnTo>
                  <a:lnTo>
                    <a:pt x="1017732" y="289380"/>
                  </a:lnTo>
                  <a:lnTo>
                    <a:pt x="983393" y="260037"/>
                  </a:lnTo>
                  <a:lnTo>
                    <a:pt x="947904" y="232042"/>
                  </a:lnTo>
                  <a:lnTo>
                    <a:pt x="911305" y="205436"/>
                  </a:lnTo>
                  <a:lnTo>
                    <a:pt x="873636" y="180257"/>
                  </a:lnTo>
                  <a:lnTo>
                    <a:pt x="834938" y="156547"/>
                  </a:lnTo>
                  <a:lnTo>
                    <a:pt x="795248" y="134344"/>
                  </a:lnTo>
                  <a:lnTo>
                    <a:pt x="754609" y="113689"/>
                  </a:lnTo>
                  <a:lnTo>
                    <a:pt x="713058" y="94621"/>
                  </a:lnTo>
                  <a:lnTo>
                    <a:pt x="670637" y="77180"/>
                  </a:lnTo>
                  <a:lnTo>
                    <a:pt x="627384" y="61406"/>
                  </a:lnTo>
                  <a:lnTo>
                    <a:pt x="583340" y="47339"/>
                  </a:lnTo>
                  <a:lnTo>
                    <a:pt x="538544" y="35018"/>
                  </a:lnTo>
                  <a:lnTo>
                    <a:pt x="493037" y="24484"/>
                  </a:lnTo>
                  <a:lnTo>
                    <a:pt x="446858" y="15776"/>
                  </a:lnTo>
                  <a:lnTo>
                    <a:pt x="400046" y="8933"/>
                  </a:lnTo>
                  <a:lnTo>
                    <a:pt x="352643" y="3997"/>
                  </a:lnTo>
                  <a:lnTo>
                    <a:pt x="304686" y="1005"/>
                  </a:lnTo>
                  <a:lnTo>
                    <a:pt x="256217" y="0"/>
                  </a:lnTo>
                  <a:close/>
                </a:path>
              </a:pathLst>
            </a:custGeom>
            <a:solidFill>
              <a:srgbClr val="0E5C77">
                <a:alpha val="23999"/>
              </a:srgbClr>
            </a:solidFill>
          </p:spPr>
          <p:txBody>
            <a:bodyPr wrap="square" lIns="0" tIns="0" rIns="0" bIns="0" rtlCol="0"/>
            <a:lstStyle/>
            <a:p>
              <a:endParaRPr/>
            </a:p>
          </p:txBody>
        </p:sp>
        <p:sp>
          <p:nvSpPr>
            <p:cNvPr id="21" name="object 8">
              <a:extLst>
                <a:ext uri="{FF2B5EF4-FFF2-40B4-BE49-F238E27FC236}">
                  <a16:creationId xmlns:a16="http://schemas.microsoft.com/office/drawing/2014/main" id="{D63CF557-1D03-CF27-546B-1151257DE682}"/>
                </a:ext>
              </a:extLst>
            </p:cNvPr>
            <p:cNvSpPr/>
            <p:nvPr/>
          </p:nvSpPr>
          <p:spPr>
            <a:xfrm>
              <a:off x="1438442" y="5634837"/>
              <a:ext cx="1580045" cy="1220736"/>
            </a:xfrm>
            <a:custGeom>
              <a:avLst/>
              <a:gdLst/>
              <a:ahLst/>
              <a:cxnLst/>
              <a:rect l="l" t="t" r="r" b="b"/>
              <a:pathLst>
                <a:path w="1742439" h="1346200">
                  <a:moveTo>
                    <a:pt x="871016" y="0"/>
                  </a:moveTo>
                  <a:lnTo>
                    <a:pt x="823226" y="1288"/>
                  </a:lnTo>
                  <a:lnTo>
                    <a:pt x="776109" y="5110"/>
                  </a:lnTo>
                  <a:lnTo>
                    <a:pt x="729733" y="11400"/>
                  </a:lnTo>
                  <a:lnTo>
                    <a:pt x="684162" y="20089"/>
                  </a:lnTo>
                  <a:lnTo>
                    <a:pt x="639465" y="31113"/>
                  </a:lnTo>
                  <a:lnTo>
                    <a:pt x="595707" y="44404"/>
                  </a:lnTo>
                  <a:lnTo>
                    <a:pt x="552955" y="59897"/>
                  </a:lnTo>
                  <a:lnTo>
                    <a:pt x="511275" y="77525"/>
                  </a:lnTo>
                  <a:lnTo>
                    <a:pt x="470733" y="97221"/>
                  </a:lnTo>
                  <a:lnTo>
                    <a:pt x="431397" y="118919"/>
                  </a:lnTo>
                  <a:lnTo>
                    <a:pt x="393332" y="142552"/>
                  </a:lnTo>
                  <a:lnTo>
                    <a:pt x="356605" y="168055"/>
                  </a:lnTo>
                  <a:lnTo>
                    <a:pt x="321282" y="195360"/>
                  </a:lnTo>
                  <a:lnTo>
                    <a:pt x="287429" y="224402"/>
                  </a:lnTo>
                  <a:lnTo>
                    <a:pt x="255114" y="255114"/>
                  </a:lnTo>
                  <a:lnTo>
                    <a:pt x="224402" y="287429"/>
                  </a:lnTo>
                  <a:lnTo>
                    <a:pt x="195360" y="321282"/>
                  </a:lnTo>
                  <a:lnTo>
                    <a:pt x="168055" y="356605"/>
                  </a:lnTo>
                  <a:lnTo>
                    <a:pt x="142552" y="393332"/>
                  </a:lnTo>
                  <a:lnTo>
                    <a:pt x="118919" y="431397"/>
                  </a:lnTo>
                  <a:lnTo>
                    <a:pt x="97221" y="470733"/>
                  </a:lnTo>
                  <a:lnTo>
                    <a:pt x="77525" y="511275"/>
                  </a:lnTo>
                  <a:lnTo>
                    <a:pt x="59897" y="552955"/>
                  </a:lnTo>
                  <a:lnTo>
                    <a:pt x="44404" y="595707"/>
                  </a:lnTo>
                  <a:lnTo>
                    <a:pt x="31113" y="639465"/>
                  </a:lnTo>
                  <a:lnTo>
                    <a:pt x="20089" y="684162"/>
                  </a:lnTo>
                  <a:lnTo>
                    <a:pt x="11400" y="729733"/>
                  </a:lnTo>
                  <a:lnTo>
                    <a:pt x="5110" y="776109"/>
                  </a:lnTo>
                  <a:lnTo>
                    <a:pt x="1288" y="823226"/>
                  </a:lnTo>
                  <a:lnTo>
                    <a:pt x="0" y="871016"/>
                  </a:lnTo>
                  <a:lnTo>
                    <a:pt x="1288" y="918807"/>
                  </a:lnTo>
                  <a:lnTo>
                    <a:pt x="5110" y="965923"/>
                  </a:lnTo>
                  <a:lnTo>
                    <a:pt x="11400" y="1012300"/>
                  </a:lnTo>
                  <a:lnTo>
                    <a:pt x="20089" y="1057870"/>
                  </a:lnTo>
                  <a:lnTo>
                    <a:pt x="31113" y="1102568"/>
                  </a:lnTo>
                  <a:lnTo>
                    <a:pt x="44404" y="1146325"/>
                  </a:lnTo>
                  <a:lnTo>
                    <a:pt x="59897" y="1189078"/>
                  </a:lnTo>
                  <a:lnTo>
                    <a:pt x="77525" y="1230758"/>
                  </a:lnTo>
                  <a:lnTo>
                    <a:pt x="97221" y="1271299"/>
                  </a:lnTo>
                  <a:lnTo>
                    <a:pt x="118919" y="1310636"/>
                  </a:lnTo>
                  <a:lnTo>
                    <a:pt x="140895" y="1346032"/>
                  </a:lnTo>
                  <a:lnTo>
                    <a:pt x="1601138" y="1346032"/>
                  </a:lnTo>
                  <a:lnTo>
                    <a:pt x="1623114" y="1310636"/>
                  </a:lnTo>
                  <a:lnTo>
                    <a:pt x="1644812" y="1271299"/>
                  </a:lnTo>
                  <a:lnTo>
                    <a:pt x="1664508" y="1230758"/>
                  </a:lnTo>
                  <a:lnTo>
                    <a:pt x="1682136" y="1189078"/>
                  </a:lnTo>
                  <a:lnTo>
                    <a:pt x="1697628" y="1146325"/>
                  </a:lnTo>
                  <a:lnTo>
                    <a:pt x="1710920" y="1102568"/>
                  </a:lnTo>
                  <a:lnTo>
                    <a:pt x="1721943" y="1057870"/>
                  </a:lnTo>
                  <a:lnTo>
                    <a:pt x="1730633" y="1012300"/>
                  </a:lnTo>
                  <a:lnTo>
                    <a:pt x="1736922" y="965923"/>
                  </a:lnTo>
                  <a:lnTo>
                    <a:pt x="1740744" y="918807"/>
                  </a:lnTo>
                  <a:lnTo>
                    <a:pt x="1742033" y="871016"/>
                  </a:lnTo>
                  <a:lnTo>
                    <a:pt x="1740744" y="823226"/>
                  </a:lnTo>
                  <a:lnTo>
                    <a:pt x="1736922" y="776109"/>
                  </a:lnTo>
                  <a:lnTo>
                    <a:pt x="1730633" y="729733"/>
                  </a:lnTo>
                  <a:lnTo>
                    <a:pt x="1721943" y="684162"/>
                  </a:lnTo>
                  <a:lnTo>
                    <a:pt x="1710920" y="639465"/>
                  </a:lnTo>
                  <a:lnTo>
                    <a:pt x="1697628" y="595707"/>
                  </a:lnTo>
                  <a:lnTo>
                    <a:pt x="1682136" y="552955"/>
                  </a:lnTo>
                  <a:lnTo>
                    <a:pt x="1664508" y="511275"/>
                  </a:lnTo>
                  <a:lnTo>
                    <a:pt x="1644812" y="470733"/>
                  </a:lnTo>
                  <a:lnTo>
                    <a:pt x="1623114" y="431397"/>
                  </a:lnTo>
                  <a:lnTo>
                    <a:pt x="1599480" y="393332"/>
                  </a:lnTo>
                  <a:lnTo>
                    <a:pt x="1573978" y="356605"/>
                  </a:lnTo>
                  <a:lnTo>
                    <a:pt x="1546672" y="321282"/>
                  </a:lnTo>
                  <a:lnTo>
                    <a:pt x="1517630" y="287429"/>
                  </a:lnTo>
                  <a:lnTo>
                    <a:pt x="1486919" y="255114"/>
                  </a:lnTo>
                  <a:lnTo>
                    <a:pt x="1454603" y="224402"/>
                  </a:lnTo>
                  <a:lnTo>
                    <a:pt x="1420751" y="195360"/>
                  </a:lnTo>
                  <a:lnTo>
                    <a:pt x="1385428" y="168055"/>
                  </a:lnTo>
                  <a:lnTo>
                    <a:pt x="1348701" y="142552"/>
                  </a:lnTo>
                  <a:lnTo>
                    <a:pt x="1310636" y="118919"/>
                  </a:lnTo>
                  <a:lnTo>
                    <a:pt x="1271299" y="97221"/>
                  </a:lnTo>
                  <a:lnTo>
                    <a:pt x="1230758" y="77525"/>
                  </a:lnTo>
                  <a:lnTo>
                    <a:pt x="1189078" y="59897"/>
                  </a:lnTo>
                  <a:lnTo>
                    <a:pt x="1146325" y="44404"/>
                  </a:lnTo>
                  <a:lnTo>
                    <a:pt x="1102568" y="31113"/>
                  </a:lnTo>
                  <a:lnTo>
                    <a:pt x="1057870" y="20089"/>
                  </a:lnTo>
                  <a:lnTo>
                    <a:pt x="1012300" y="11400"/>
                  </a:lnTo>
                  <a:lnTo>
                    <a:pt x="965923" y="5110"/>
                  </a:lnTo>
                  <a:lnTo>
                    <a:pt x="918807" y="1288"/>
                  </a:lnTo>
                  <a:lnTo>
                    <a:pt x="871016" y="0"/>
                  </a:lnTo>
                  <a:close/>
                </a:path>
              </a:pathLst>
            </a:custGeom>
            <a:solidFill>
              <a:srgbClr val="0E5C77">
                <a:alpha val="23999"/>
              </a:srgbClr>
            </a:solidFill>
          </p:spPr>
          <p:txBody>
            <a:bodyPr wrap="square" lIns="0" tIns="0" rIns="0" bIns="0" rtlCol="0"/>
            <a:lstStyle/>
            <a:p>
              <a:endParaRPr/>
            </a:p>
          </p:txBody>
        </p:sp>
        <p:sp>
          <p:nvSpPr>
            <p:cNvPr id="22" name="object 9">
              <a:extLst>
                <a:ext uri="{FF2B5EF4-FFF2-40B4-BE49-F238E27FC236}">
                  <a16:creationId xmlns:a16="http://schemas.microsoft.com/office/drawing/2014/main" id="{E6538FF3-DDE2-42CC-7C40-B64B8CC9397A}"/>
                </a:ext>
              </a:extLst>
            </p:cNvPr>
            <p:cNvSpPr/>
            <p:nvPr/>
          </p:nvSpPr>
          <p:spPr>
            <a:xfrm>
              <a:off x="4273152" y="6359534"/>
              <a:ext cx="726683" cy="496356"/>
            </a:xfrm>
            <a:custGeom>
              <a:avLst/>
              <a:gdLst/>
              <a:ahLst/>
              <a:cxnLst/>
              <a:rect l="l" t="t" r="r" b="b"/>
              <a:pathLst>
                <a:path w="801370" h="547370">
                  <a:moveTo>
                    <a:pt x="400672" y="0"/>
                  </a:moveTo>
                  <a:lnTo>
                    <a:pt x="353945" y="2695"/>
                  </a:lnTo>
                  <a:lnTo>
                    <a:pt x="308801" y="10581"/>
                  </a:lnTo>
                  <a:lnTo>
                    <a:pt x="265542" y="23357"/>
                  </a:lnTo>
                  <a:lnTo>
                    <a:pt x="224466" y="40722"/>
                  </a:lnTo>
                  <a:lnTo>
                    <a:pt x="185876" y="62376"/>
                  </a:lnTo>
                  <a:lnTo>
                    <a:pt x="150072" y="88018"/>
                  </a:lnTo>
                  <a:lnTo>
                    <a:pt x="117354" y="117348"/>
                  </a:lnTo>
                  <a:lnTo>
                    <a:pt x="88023" y="150064"/>
                  </a:lnTo>
                  <a:lnTo>
                    <a:pt x="62379" y="185867"/>
                  </a:lnTo>
                  <a:lnTo>
                    <a:pt x="40724" y="224456"/>
                  </a:lnTo>
                  <a:lnTo>
                    <a:pt x="23358" y="265531"/>
                  </a:lnTo>
                  <a:lnTo>
                    <a:pt x="10582" y="308789"/>
                  </a:lnTo>
                  <a:lnTo>
                    <a:pt x="2695" y="353933"/>
                  </a:lnTo>
                  <a:lnTo>
                    <a:pt x="0" y="400659"/>
                  </a:lnTo>
                  <a:lnTo>
                    <a:pt x="2695" y="447386"/>
                  </a:lnTo>
                  <a:lnTo>
                    <a:pt x="10582" y="492529"/>
                  </a:lnTo>
                  <a:lnTo>
                    <a:pt x="23358" y="535789"/>
                  </a:lnTo>
                  <a:lnTo>
                    <a:pt x="28035" y="546851"/>
                  </a:lnTo>
                  <a:lnTo>
                    <a:pt x="773308" y="546851"/>
                  </a:lnTo>
                  <a:lnTo>
                    <a:pt x="777985" y="535789"/>
                  </a:lnTo>
                  <a:lnTo>
                    <a:pt x="790762" y="492529"/>
                  </a:lnTo>
                  <a:lnTo>
                    <a:pt x="798648" y="447386"/>
                  </a:lnTo>
                  <a:lnTo>
                    <a:pt x="801344" y="400659"/>
                  </a:lnTo>
                  <a:lnTo>
                    <a:pt x="798648" y="353933"/>
                  </a:lnTo>
                  <a:lnTo>
                    <a:pt x="790762" y="308789"/>
                  </a:lnTo>
                  <a:lnTo>
                    <a:pt x="777985" y="265531"/>
                  </a:lnTo>
                  <a:lnTo>
                    <a:pt x="760619" y="224456"/>
                  </a:lnTo>
                  <a:lnTo>
                    <a:pt x="738964" y="185867"/>
                  </a:lnTo>
                  <a:lnTo>
                    <a:pt x="713321" y="150064"/>
                  </a:lnTo>
                  <a:lnTo>
                    <a:pt x="683990" y="117348"/>
                  </a:lnTo>
                  <a:lnTo>
                    <a:pt x="651272" y="88018"/>
                  </a:lnTo>
                  <a:lnTo>
                    <a:pt x="615467" y="62376"/>
                  </a:lnTo>
                  <a:lnTo>
                    <a:pt x="576877" y="40722"/>
                  </a:lnTo>
                  <a:lnTo>
                    <a:pt x="535802" y="23357"/>
                  </a:lnTo>
                  <a:lnTo>
                    <a:pt x="492542" y="10581"/>
                  </a:lnTo>
                  <a:lnTo>
                    <a:pt x="447399" y="2695"/>
                  </a:lnTo>
                  <a:lnTo>
                    <a:pt x="400672" y="0"/>
                  </a:lnTo>
                  <a:close/>
                </a:path>
              </a:pathLst>
            </a:custGeom>
            <a:solidFill>
              <a:srgbClr val="0E5C77">
                <a:alpha val="23999"/>
              </a:srgbClr>
            </a:solidFill>
          </p:spPr>
          <p:txBody>
            <a:bodyPr wrap="square" lIns="0" tIns="0" rIns="0" bIns="0" rtlCol="0"/>
            <a:lstStyle/>
            <a:p>
              <a:endParaRPr/>
            </a:p>
          </p:txBody>
        </p:sp>
        <p:sp>
          <p:nvSpPr>
            <p:cNvPr id="23" name="object 10">
              <a:extLst>
                <a:ext uri="{FF2B5EF4-FFF2-40B4-BE49-F238E27FC236}">
                  <a16:creationId xmlns:a16="http://schemas.microsoft.com/office/drawing/2014/main" id="{E0B7C2DB-A4D1-95C8-95C5-D97562B895E0}"/>
                </a:ext>
              </a:extLst>
            </p:cNvPr>
            <p:cNvSpPr/>
            <p:nvPr/>
          </p:nvSpPr>
          <p:spPr>
            <a:xfrm>
              <a:off x="1979925" y="4720897"/>
              <a:ext cx="726683" cy="726683"/>
            </a:xfrm>
            <a:custGeom>
              <a:avLst/>
              <a:gdLst/>
              <a:ahLst/>
              <a:cxnLst/>
              <a:rect l="l" t="t" r="r" b="b"/>
              <a:pathLst>
                <a:path w="801369" h="801370">
                  <a:moveTo>
                    <a:pt x="400672" y="0"/>
                  </a:moveTo>
                  <a:lnTo>
                    <a:pt x="353945" y="2695"/>
                  </a:lnTo>
                  <a:lnTo>
                    <a:pt x="308801" y="10582"/>
                  </a:lnTo>
                  <a:lnTo>
                    <a:pt x="265542" y="23358"/>
                  </a:lnTo>
                  <a:lnTo>
                    <a:pt x="224466" y="40724"/>
                  </a:lnTo>
                  <a:lnTo>
                    <a:pt x="185876" y="62379"/>
                  </a:lnTo>
                  <a:lnTo>
                    <a:pt x="150072" y="88022"/>
                  </a:lnTo>
                  <a:lnTo>
                    <a:pt x="117354" y="117352"/>
                  </a:lnTo>
                  <a:lnTo>
                    <a:pt x="88023" y="150070"/>
                  </a:lnTo>
                  <a:lnTo>
                    <a:pt x="62379" y="185873"/>
                  </a:lnTo>
                  <a:lnTo>
                    <a:pt x="40724" y="224462"/>
                  </a:lnTo>
                  <a:lnTo>
                    <a:pt x="23358" y="265536"/>
                  </a:lnTo>
                  <a:lnTo>
                    <a:pt x="10582" y="308793"/>
                  </a:lnTo>
                  <a:lnTo>
                    <a:pt x="2695" y="353935"/>
                  </a:lnTo>
                  <a:lnTo>
                    <a:pt x="0" y="400659"/>
                  </a:lnTo>
                  <a:lnTo>
                    <a:pt x="2695" y="447386"/>
                  </a:lnTo>
                  <a:lnTo>
                    <a:pt x="10582" y="492529"/>
                  </a:lnTo>
                  <a:lnTo>
                    <a:pt x="23358" y="535789"/>
                  </a:lnTo>
                  <a:lnTo>
                    <a:pt x="40724" y="576864"/>
                  </a:lnTo>
                  <a:lnTo>
                    <a:pt x="62379" y="615455"/>
                  </a:lnTo>
                  <a:lnTo>
                    <a:pt x="88023" y="651259"/>
                  </a:lnTo>
                  <a:lnTo>
                    <a:pt x="117354" y="683977"/>
                  </a:lnTo>
                  <a:lnTo>
                    <a:pt x="150072" y="713308"/>
                  </a:lnTo>
                  <a:lnTo>
                    <a:pt x="185876" y="738951"/>
                  </a:lnTo>
                  <a:lnTo>
                    <a:pt x="224466" y="760607"/>
                  </a:lnTo>
                  <a:lnTo>
                    <a:pt x="265542" y="777973"/>
                  </a:lnTo>
                  <a:lnTo>
                    <a:pt x="308801" y="790749"/>
                  </a:lnTo>
                  <a:lnTo>
                    <a:pt x="353945" y="798636"/>
                  </a:lnTo>
                  <a:lnTo>
                    <a:pt x="400672" y="801331"/>
                  </a:lnTo>
                  <a:lnTo>
                    <a:pt x="447399" y="798636"/>
                  </a:lnTo>
                  <a:lnTo>
                    <a:pt x="492542" y="790749"/>
                  </a:lnTo>
                  <a:lnTo>
                    <a:pt x="535802" y="777973"/>
                  </a:lnTo>
                  <a:lnTo>
                    <a:pt x="576877" y="760607"/>
                  </a:lnTo>
                  <a:lnTo>
                    <a:pt x="615467" y="738951"/>
                  </a:lnTo>
                  <a:lnTo>
                    <a:pt x="651272" y="713308"/>
                  </a:lnTo>
                  <a:lnTo>
                    <a:pt x="683990" y="683977"/>
                  </a:lnTo>
                  <a:lnTo>
                    <a:pt x="713321" y="651259"/>
                  </a:lnTo>
                  <a:lnTo>
                    <a:pt x="738964" y="615455"/>
                  </a:lnTo>
                  <a:lnTo>
                    <a:pt x="760619" y="576864"/>
                  </a:lnTo>
                  <a:lnTo>
                    <a:pt x="777985" y="535789"/>
                  </a:lnTo>
                  <a:lnTo>
                    <a:pt x="790762" y="492529"/>
                  </a:lnTo>
                  <a:lnTo>
                    <a:pt x="798648" y="447386"/>
                  </a:lnTo>
                  <a:lnTo>
                    <a:pt x="801344" y="400659"/>
                  </a:lnTo>
                  <a:lnTo>
                    <a:pt x="798648" y="353935"/>
                  </a:lnTo>
                  <a:lnTo>
                    <a:pt x="790762" y="308793"/>
                  </a:lnTo>
                  <a:lnTo>
                    <a:pt x="777985" y="265536"/>
                  </a:lnTo>
                  <a:lnTo>
                    <a:pt x="760619" y="224462"/>
                  </a:lnTo>
                  <a:lnTo>
                    <a:pt x="738964" y="185873"/>
                  </a:lnTo>
                  <a:lnTo>
                    <a:pt x="713321" y="150070"/>
                  </a:lnTo>
                  <a:lnTo>
                    <a:pt x="683990" y="117352"/>
                  </a:lnTo>
                  <a:lnTo>
                    <a:pt x="651272" y="88022"/>
                  </a:lnTo>
                  <a:lnTo>
                    <a:pt x="615467" y="62379"/>
                  </a:lnTo>
                  <a:lnTo>
                    <a:pt x="576877" y="40724"/>
                  </a:lnTo>
                  <a:lnTo>
                    <a:pt x="535802" y="23358"/>
                  </a:lnTo>
                  <a:lnTo>
                    <a:pt x="492542" y="10582"/>
                  </a:lnTo>
                  <a:lnTo>
                    <a:pt x="447399" y="2695"/>
                  </a:lnTo>
                  <a:lnTo>
                    <a:pt x="400672" y="0"/>
                  </a:lnTo>
                  <a:close/>
                </a:path>
              </a:pathLst>
            </a:custGeom>
            <a:solidFill>
              <a:srgbClr val="0E5C77">
                <a:alpha val="23999"/>
              </a:srgbClr>
            </a:solidFill>
          </p:spPr>
          <p:txBody>
            <a:bodyPr wrap="square" lIns="0" tIns="0" rIns="0" bIns="0" rtlCol="0"/>
            <a:lstStyle/>
            <a:p>
              <a:endParaRPr/>
            </a:p>
          </p:txBody>
        </p:sp>
      </p:grpSp>
      <p:sp>
        <p:nvSpPr>
          <p:cNvPr id="30" name="Footer Placeholder 4">
            <a:extLst>
              <a:ext uri="{FF2B5EF4-FFF2-40B4-BE49-F238E27FC236}">
                <a16:creationId xmlns:a16="http://schemas.microsoft.com/office/drawing/2014/main" id="{02C401B5-B453-3BF0-01CE-3F0F63B03A02}"/>
              </a:ext>
            </a:extLst>
          </p:cNvPr>
          <p:cNvSpPr>
            <a:spLocks noGrp="1"/>
          </p:cNvSpPr>
          <p:nvPr userDrawn="1">
            <p:ph type="ftr" sz="quarter" idx="3"/>
          </p:nvPr>
        </p:nvSpPr>
        <p:spPr>
          <a:xfrm>
            <a:off x="735724" y="6114954"/>
            <a:ext cx="4929352" cy="365125"/>
          </a:xfrm>
          <a:prstGeom prst="rect">
            <a:avLst/>
          </a:prstGeom>
        </p:spPr>
        <p:txBody>
          <a:bodyPr/>
          <a:lstStyle>
            <a:lvl1pPr>
              <a:defRPr sz="1400">
                <a:solidFill>
                  <a:schemeClr val="tx2"/>
                </a:solidFill>
              </a:defRPr>
            </a:lvl1pPr>
          </a:lstStyle>
          <a:p>
            <a:endParaRPr lang="en-GB" dirty="0"/>
          </a:p>
        </p:txBody>
      </p:sp>
      <p:sp>
        <p:nvSpPr>
          <p:cNvPr id="2" name="Picture Placeholder 2">
            <a:extLst>
              <a:ext uri="{FF2B5EF4-FFF2-40B4-BE49-F238E27FC236}">
                <a16:creationId xmlns:a16="http://schemas.microsoft.com/office/drawing/2014/main" id="{40C06F99-8172-DCE1-7EFE-FF4F105EC10F}"/>
              </a:ext>
            </a:extLst>
          </p:cNvPr>
          <p:cNvSpPr>
            <a:spLocks noGrp="1"/>
          </p:cNvSpPr>
          <p:nvPr>
            <p:ph type="pic" idx="10"/>
          </p:nvPr>
        </p:nvSpPr>
        <p:spPr>
          <a:xfrm>
            <a:off x="5937730" y="-624301"/>
            <a:ext cx="8682510" cy="8565938"/>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GB" dirty="0"/>
          </a:p>
        </p:txBody>
      </p:sp>
    </p:spTree>
    <p:extLst>
      <p:ext uri="{BB962C8B-B14F-4D97-AF65-F5344CB8AC3E}">
        <p14:creationId xmlns:p14="http://schemas.microsoft.com/office/powerpoint/2010/main" val="6324677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 White - Green">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2D00DCAC-C40F-C3B9-F022-BCEE66A66A0B}"/>
              </a:ext>
            </a:extLst>
          </p:cNvPr>
          <p:cNvSpPr/>
          <p:nvPr userDrawn="1"/>
        </p:nvSpPr>
        <p:spPr>
          <a:xfrm>
            <a:off x="0" y="-4957"/>
            <a:ext cx="12197847" cy="6908925"/>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chemeClr val="bg1"/>
          </a:solidFill>
          <a:ln>
            <a:solidFill>
              <a:schemeClr val="bg1"/>
            </a:solidFill>
          </a:ln>
        </p:spPr>
        <p:txBody>
          <a:bodyPr wrap="square" lIns="0" tIns="0" rIns="0" bIns="0" rtlCol="0"/>
          <a:lstStyle/>
          <a:p>
            <a:endParaRPr sz="2000" dirty="0"/>
          </a:p>
        </p:txBody>
      </p:sp>
      <p:sp>
        <p:nvSpPr>
          <p:cNvPr id="30" name="Footer Placeholder 4">
            <a:extLst>
              <a:ext uri="{FF2B5EF4-FFF2-40B4-BE49-F238E27FC236}">
                <a16:creationId xmlns:a16="http://schemas.microsoft.com/office/drawing/2014/main" id="{02C401B5-B453-3BF0-01CE-3F0F63B03A02}"/>
              </a:ext>
            </a:extLst>
          </p:cNvPr>
          <p:cNvSpPr>
            <a:spLocks noGrp="1"/>
          </p:cNvSpPr>
          <p:nvPr userDrawn="1">
            <p:ph type="ftr" sz="quarter" idx="3"/>
          </p:nvPr>
        </p:nvSpPr>
        <p:spPr>
          <a:xfrm>
            <a:off x="735724" y="6114954"/>
            <a:ext cx="4929352" cy="365125"/>
          </a:xfrm>
          <a:prstGeom prst="rect">
            <a:avLst/>
          </a:prstGeom>
        </p:spPr>
        <p:txBody>
          <a:bodyPr/>
          <a:lstStyle>
            <a:lvl1pPr>
              <a:defRPr sz="1400">
                <a:solidFill>
                  <a:schemeClr val="bg2"/>
                </a:solidFill>
              </a:defRPr>
            </a:lvl1pPr>
          </a:lstStyle>
          <a:p>
            <a:endParaRPr lang="en-GB" dirty="0"/>
          </a:p>
        </p:txBody>
      </p:sp>
      <p:grpSp>
        <p:nvGrpSpPr>
          <p:cNvPr id="2" name="Group 1">
            <a:extLst>
              <a:ext uri="{FF2B5EF4-FFF2-40B4-BE49-F238E27FC236}">
                <a16:creationId xmlns:a16="http://schemas.microsoft.com/office/drawing/2014/main" id="{19D4B2F3-8059-DBA5-4D44-29894B41DAB0}"/>
              </a:ext>
            </a:extLst>
          </p:cNvPr>
          <p:cNvGrpSpPr/>
          <p:nvPr userDrawn="1"/>
        </p:nvGrpSpPr>
        <p:grpSpPr>
          <a:xfrm>
            <a:off x="9598" y="0"/>
            <a:ext cx="5429576" cy="1714213"/>
            <a:chOff x="9598" y="0"/>
            <a:chExt cx="5429576" cy="1714213"/>
          </a:xfrm>
        </p:grpSpPr>
        <p:sp>
          <p:nvSpPr>
            <p:cNvPr id="4" name="object 3">
              <a:extLst>
                <a:ext uri="{FF2B5EF4-FFF2-40B4-BE49-F238E27FC236}">
                  <a16:creationId xmlns:a16="http://schemas.microsoft.com/office/drawing/2014/main" id="{E252FAA9-4B96-7A6B-6755-5360E5145F52}"/>
                </a:ext>
              </a:extLst>
            </p:cNvPr>
            <p:cNvSpPr/>
            <p:nvPr/>
          </p:nvSpPr>
          <p:spPr>
            <a:xfrm>
              <a:off x="807663" y="1115370"/>
              <a:ext cx="456048" cy="456048"/>
            </a:xfrm>
            <a:custGeom>
              <a:avLst/>
              <a:gdLst/>
              <a:ahLst/>
              <a:cxnLst/>
              <a:rect l="l" t="t" r="r" b="b"/>
              <a:pathLst>
                <a:path w="502919" h="502919">
                  <a:moveTo>
                    <a:pt x="251434" y="0"/>
                  </a:moveTo>
                  <a:lnTo>
                    <a:pt x="206239" y="4050"/>
                  </a:lnTo>
                  <a:lnTo>
                    <a:pt x="163701" y="15730"/>
                  </a:lnTo>
                  <a:lnTo>
                    <a:pt x="124531" y="34328"/>
                  </a:lnTo>
                  <a:lnTo>
                    <a:pt x="89439" y="59133"/>
                  </a:lnTo>
                  <a:lnTo>
                    <a:pt x="59134" y="89437"/>
                  </a:lnTo>
                  <a:lnTo>
                    <a:pt x="34328" y="124527"/>
                  </a:lnTo>
                  <a:lnTo>
                    <a:pt x="15730" y="163695"/>
                  </a:lnTo>
                  <a:lnTo>
                    <a:pt x="4051" y="206230"/>
                  </a:lnTo>
                  <a:lnTo>
                    <a:pt x="0" y="251421"/>
                  </a:lnTo>
                  <a:lnTo>
                    <a:pt x="4051" y="296617"/>
                  </a:lnTo>
                  <a:lnTo>
                    <a:pt x="15730" y="339154"/>
                  </a:lnTo>
                  <a:lnTo>
                    <a:pt x="34328" y="378325"/>
                  </a:lnTo>
                  <a:lnTo>
                    <a:pt x="59134" y="413417"/>
                  </a:lnTo>
                  <a:lnTo>
                    <a:pt x="89439" y="443721"/>
                  </a:lnTo>
                  <a:lnTo>
                    <a:pt x="124531" y="468527"/>
                  </a:lnTo>
                  <a:lnTo>
                    <a:pt x="163701" y="487125"/>
                  </a:lnTo>
                  <a:lnTo>
                    <a:pt x="206239" y="498805"/>
                  </a:lnTo>
                  <a:lnTo>
                    <a:pt x="251434" y="502856"/>
                  </a:lnTo>
                  <a:lnTo>
                    <a:pt x="296629" y="498805"/>
                  </a:lnTo>
                  <a:lnTo>
                    <a:pt x="339167" y="487125"/>
                  </a:lnTo>
                  <a:lnTo>
                    <a:pt x="378337" y="468527"/>
                  </a:lnTo>
                  <a:lnTo>
                    <a:pt x="413430" y="443721"/>
                  </a:lnTo>
                  <a:lnTo>
                    <a:pt x="443734" y="413417"/>
                  </a:lnTo>
                  <a:lnTo>
                    <a:pt x="468540" y="378325"/>
                  </a:lnTo>
                  <a:lnTo>
                    <a:pt x="487138" y="339154"/>
                  </a:lnTo>
                  <a:lnTo>
                    <a:pt x="498818" y="296617"/>
                  </a:lnTo>
                  <a:lnTo>
                    <a:pt x="502869" y="251421"/>
                  </a:lnTo>
                  <a:lnTo>
                    <a:pt x="498818" y="206230"/>
                  </a:lnTo>
                  <a:lnTo>
                    <a:pt x="487138" y="163695"/>
                  </a:lnTo>
                  <a:lnTo>
                    <a:pt x="468540" y="124527"/>
                  </a:lnTo>
                  <a:lnTo>
                    <a:pt x="443734" y="89437"/>
                  </a:lnTo>
                  <a:lnTo>
                    <a:pt x="413430" y="59133"/>
                  </a:lnTo>
                  <a:lnTo>
                    <a:pt x="378337" y="34328"/>
                  </a:lnTo>
                  <a:lnTo>
                    <a:pt x="339167" y="15730"/>
                  </a:lnTo>
                  <a:lnTo>
                    <a:pt x="296629" y="4050"/>
                  </a:lnTo>
                  <a:lnTo>
                    <a:pt x="251434" y="0"/>
                  </a:lnTo>
                  <a:close/>
                </a:path>
              </a:pathLst>
            </a:custGeom>
            <a:solidFill>
              <a:srgbClr val="00A79D">
                <a:alpha val="23999"/>
              </a:srgbClr>
            </a:solidFill>
          </p:spPr>
          <p:txBody>
            <a:bodyPr wrap="square" lIns="0" tIns="0" rIns="0" bIns="0" rtlCol="0"/>
            <a:lstStyle/>
            <a:p>
              <a:endParaRPr/>
            </a:p>
          </p:txBody>
        </p:sp>
        <p:sp>
          <p:nvSpPr>
            <p:cNvPr id="8" name="object 4">
              <a:extLst>
                <a:ext uri="{FF2B5EF4-FFF2-40B4-BE49-F238E27FC236}">
                  <a16:creationId xmlns:a16="http://schemas.microsoft.com/office/drawing/2014/main" id="{56DD7027-7ED1-92CB-BE49-E54EC1CD9B2F}"/>
                </a:ext>
              </a:extLst>
            </p:cNvPr>
            <p:cNvSpPr/>
            <p:nvPr/>
          </p:nvSpPr>
          <p:spPr>
            <a:xfrm>
              <a:off x="1705395" y="393384"/>
              <a:ext cx="456048" cy="456048"/>
            </a:xfrm>
            <a:custGeom>
              <a:avLst/>
              <a:gdLst/>
              <a:ahLst/>
              <a:cxnLst/>
              <a:rect l="l" t="t" r="r" b="b"/>
              <a:pathLst>
                <a:path w="502919" h="502919">
                  <a:moveTo>
                    <a:pt x="251434" y="0"/>
                  </a:moveTo>
                  <a:lnTo>
                    <a:pt x="206239" y="4050"/>
                  </a:lnTo>
                  <a:lnTo>
                    <a:pt x="163701" y="15730"/>
                  </a:lnTo>
                  <a:lnTo>
                    <a:pt x="124531" y="34328"/>
                  </a:lnTo>
                  <a:lnTo>
                    <a:pt x="89439" y="59133"/>
                  </a:lnTo>
                  <a:lnTo>
                    <a:pt x="59134" y="89437"/>
                  </a:lnTo>
                  <a:lnTo>
                    <a:pt x="34328" y="124527"/>
                  </a:lnTo>
                  <a:lnTo>
                    <a:pt x="15730" y="163695"/>
                  </a:lnTo>
                  <a:lnTo>
                    <a:pt x="4051" y="206230"/>
                  </a:lnTo>
                  <a:lnTo>
                    <a:pt x="0" y="251421"/>
                  </a:lnTo>
                  <a:lnTo>
                    <a:pt x="4051" y="296617"/>
                  </a:lnTo>
                  <a:lnTo>
                    <a:pt x="15730" y="339154"/>
                  </a:lnTo>
                  <a:lnTo>
                    <a:pt x="34328" y="378325"/>
                  </a:lnTo>
                  <a:lnTo>
                    <a:pt x="59134" y="413417"/>
                  </a:lnTo>
                  <a:lnTo>
                    <a:pt x="89439" y="443721"/>
                  </a:lnTo>
                  <a:lnTo>
                    <a:pt x="124531" y="468527"/>
                  </a:lnTo>
                  <a:lnTo>
                    <a:pt x="163701" y="487125"/>
                  </a:lnTo>
                  <a:lnTo>
                    <a:pt x="206239" y="498805"/>
                  </a:lnTo>
                  <a:lnTo>
                    <a:pt x="251434" y="502856"/>
                  </a:lnTo>
                  <a:lnTo>
                    <a:pt x="296629" y="498805"/>
                  </a:lnTo>
                  <a:lnTo>
                    <a:pt x="339167" y="487125"/>
                  </a:lnTo>
                  <a:lnTo>
                    <a:pt x="378337" y="468527"/>
                  </a:lnTo>
                  <a:lnTo>
                    <a:pt x="413430" y="443721"/>
                  </a:lnTo>
                  <a:lnTo>
                    <a:pt x="443734" y="413417"/>
                  </a:lnTo>
                  <a:lnTo>
                    <a:pt x="468540" y="378325"/>
                  </a:lnTo>
                  <a:lnTo>
                    <a:pt x="487138" y="339154"/>
                  </a:lnTo>
                  <a:lnTo>
                    <a:pt x="498818" y="296617"/>
                  </a:lnTo>
                  <a:lnTo>
                    <a:pt x="502869" y="251421"/>
                  </a:lnTo>
                  <a:lnTo>
                    <a:pt x="498818" y="206230"/>
                  </a:lnTo>
                  <a:lnTo>
                    <a:pt x="487138" y="163695"/>
                  </a:lnTo>
                  <a:lnTo>
                    <a:pt x="468540" y="124527"/>
                  </a:lnTo>
                  <a:lnTo>
                    <a:pt x="443734" y="89437"/>
                  </a:lnTo>
                  <a:lnTo>
                    <a:pt x="413430" y="59133"/>
                  </a:lnTo>
                  <a:lnTo>
                    <a:pt x="378337" y="34328"/>
                  </a:lnTo>
                  <a:lnTo>
                    <a:pt x="339167" y="15730"/>
                  </a:lnTo>
                  <a:lnTo>
                    <a:pt x="296629" y="4050"/>
                  </a:lnTo>
                  <a:lnTo>
                    <a:pt x="251434" y="0"/>
                  </a:lnTo>
                  <a:close/>
                </a:path>
              </a:pathLst>
            </a:custGeom>
            <a:solidFill>
              <a:srgbClr val="00A79D">
                <a:alpha val="23999"/>
              </a:srgbClr>
            </a:solidFill>
          </p:spPr>
          <p:txBody>
            <a:bodyPr wrap="square" lIns="0" tIns="0" rIns="0" bIns="0" rtlCol="0"/>
            <a:lstStyle/>
            <a:p>
              <a:endParaRPr/>
            </a:p>
          </p:txBody>
        </p:sp>
        <p:sp>
          <p:nvSpPr>
            <p:cNvPr id="9" name="object 5">
              <a:extLst>
                <a:ext uri="{FF2B5EF4-FFF2-40B4-BE49-F238E27FC236}">
                  <a16:creationId xmlns:a16="http://schemas.microsoft.com/office/drawing/2014/main" id="{574E6B3C-9B13-98CF-F82C-2B284F58AF9D}"/>
                </a:ext>
              </a:extLst>
            </p:cNvPr>
            <p:cNvSpPr/>
            <p:nvPr/>
          </p:nvSpPr>
          <p:spPr>
            <a:xfrm>
              <a:off x="3359317" y="1"/>
              <a:ext cx="2079857" cy="1714212"/>
            </a:xfrm>
            <a:custGeom>
              <a:avLst/>
              <a:gdLst/>
              <a:ahLst/>
              <a:cxnLst/>
              <a:rect l="l" t="t" r="r" b="b"/>
              <a:pathLst>
                <a:path w="2293620" h="1890395">
                  <a:moveTo>
                    <a:pt x="2019352" y="0"/>
                  </a:moveTo>
                  <a:lnTo>
                    <a:pt x="273886" y="0"/>
                  </a:lnTo>
                  <a:lnTo>
                    <a:pt x="260037" y="16206"/>
                  </a:lnTo>
                  <a:lnTo>
                    <a:pt x="232042" y="51695"/>
                  </a:lnTo>
                  <a:lnTo>
                    <a:pt x="205436" y="88294"/>
                  </a:lnTo>
                  <a:lnTo>
                    <a:pt x="180257" y="125963"/>
                  </a:lnTo>
                  <a:lnTo>
                    <a:pt x="156547" y="164662"/>
                  </a:lnTo>
                  <a:lnTo>
                    <a:pt x="134344" y="204351"/>
                  </a:lnTo>
                  <a:lnTo>
                    <a:pt x="113689" y="244991"/>
                  </a:lnTo>
                  <a:lnTo>
                    <a:pt x="94621" y="286541"/>
                  </a:lnTo>
                  <a:lnTo>
                    <a:pt x="77180" y="328963"/>
                  </a:lnTo>
                  <a:lnTo>
                    <a:pt x="61406" y="372215"/>
                  </a:lnTo>
                  <a:lnTo>
                    <a:pt x="47339" y="416259"/>
                  </a:lnTo>
                  <a:lnTo>
                    <a:pt x="35018" y="461055"/>
                  </a:lnTo>
                  <a:lnTo>
                    <a:pt x="24484" y="506562"/>
                  </a:lnTo>
                  <a:lnTo>
                    <a:pt x="15776" y="552741"/>
                  </a:lnTo>
                  <a:lnTo>
                    <a:pt x="8933" y="599553"/>
                  </a:lnTo>
                  <a:lnTo>
                    <a:pt x="3997" y="646957"/>
                  </a:lnTo>
                  <a:lnTo>
                    <a:pt x="1005" y="694913"/>
                  </a:lnTo>
                  <a:lnTo>
                    <a:pt x="0" y="743382"/>
                  </a:lnTo>
                  <a:lnTo>
                    <a:pt x="1005" y="791852"/>
                  </a:lnTo>
                  <a:lnTo>
                    <a:pt x="3997" y="839808"/>
                  </a:lnTo>
                  <a:lnTo>
                    <a:pt x="8933" y="887212"/>
                  </a:lnTo>
                  <a:lnTo>
                    <a:pt x="15776" y="934023"/>
                  </a:lnTo>
                  <a:lnTo>
                    <a:pt x="24484" y="980203"/>
                  </a:lnTo>
                  <a:lnTo>
                    <a:pt x="35018" y="1025710"/>
                  </a:lnTo>
                  <a:lnTo>
                    <a:pt x="47339" y="1070505"/>
                  </a:lnTo>
                  <a:lnTo>
                    <a:pt x="61406" y="1114549"/>
                  </a:lnTo>
                  <a:lnTo>
                    <a:pt x="77180" y="1157802"/>
                  </a:lnTo>
                  <a:lnTo>
                    <a:pt x="94621" y="1200224"/>
                  </a:lnTo>
                  <a:lnTo>
                    <a:pt x="113689" y="1241774"/>
                  </a:lnTo>
                  <a:lnTo>
                    <a:pt x="134344" y="1282414"/>
                  </a:lnTo>
                  <a:lnTo>
                    <a:pt x="156547" y="1322103"/>
                  </a:lnTo>
                  <a:lnTo>
                    <a:pt x="180257" y="1360802"/>
                  </a:lnTo>
                  <a:lnTo>
                    <a:pt x="205436" y="1398471"/>
                  </a:lnTo>
                  <a:lnTo>
                    <a:pt x="232042" y="1435069"/>
                  </a:lnTo>
                  <a:lnTo>
                    <a:pt x="260037" y="1470558"/>
                  </a:lnTo>
                  <a:lnTo>
                    <a:pt x="289380" y="1504898"/>
                  </a:lnTo>
                  <a:lnTo>
                    <a:pt x="320032" y="1538048"/>
                  </a:lnTo>
                  <a:lnTo>
                    <a:pt x="351953" y="1569969"/>
                  </a:lnTo>
                  <a:lnTo>
                    <a:pt x="385103" y="1600621"/>
                  </a:lnTo>
                  <a:lnTo>
                    <a:pt x="419443" y="1629964"/>
                  </a:lnTo>
                  <a:lnTo>
                    <a:pt x="454932" y="1657959"/>
                  </a:lnTo>
                  <a:lnTo>
                    <a:pt x="491531" y="1684566"/>
                  </a:lnTo>
                  <a:lnTo>
                    <a:pt x="529199" y="1709744"/>
                  </a:lnTo>
                  <a:lnTo>
                    <a:pt x="567898" y="1733455"/>
                  </a:lnTo>
                  <a:lnTo>
                    <a:pt x="607588" y="1755657"/>
                  </a:lnTo>
                  <a:lnTo>
                    <a:pt x="648227" y="1776313"/>
                  </a:lnTo>
                  <a:lnTo>
                    <a:pt x="689778" y="1795380"/>
                  </a:lnTo>
                  <a:lnTo>
                    <a:pt x="732199" y="1812821"/>
                  </a:lnTo>
                  <a:lnTo>
                    <a:pt x="775452" y="1828595"/>
                  </a:lnTo>
                  <a:lnTo>
                    <a:pt x="819496" y="1842662"/>
                  </a:lnTo>
                  <a:lnTo>
                    <a:pt x="864291" y="1854983"/>
                  </a:lnTo>
                  <a:lnTo>
                    <a:pt x="909799" y="1865517"/>
                  </a:lnTo>
                  <a:lnTo>
                    <a:pt x="955978" y="1874226"/>
                  </a:lnTo>
                  <a:lnTo>
                    <a:pt x="1002790" y="1881068"/>
                  </a:lnTo>
                  <a:lnTo>
                    <a:pt x="1050193" y="1886005"/>
                  </a:lnTo>
                  <a:lnTo>
                    <a:pt x="1098150" y="1888996"/>
                  </a:lnTo>
                  <a:lnTo>
                    <a:pt x="1146619" y="1890002"/>
                  </a:lnTo>
                  <a:lnTo>
                    <a:pt x="1195088" y="1888996"/>
                  </a:lnTo>
                  <a:lnTo>
                    <a:pt x="1243045" y="1886005"/>
                  </a:lnTo>
                  <a:lnTo>
                    <a:pt x="1290448" y="1881068"/>
                  </a:lnTo>
                  <a:lnTo>
                    <a:pt x="1337260" y="1874226"/>
                  </a:lnTo>
                  <a:lnTo>
                    <a:pt x="1383439" y="1865517"/>
                  </a:lnTo>
                  <a:lnTo>
                    <a:pt x="1428947" y="1854983"/>
                  </a:lnTo>
                  <a:lnTo>
                    <a:pt x="1473742" y="1842662"/>
                  </a:lnTo>
                  <a:lnTo>
                    <a:pt x="1517786" y="1828595"/>
                  </a:lnTo>
                  <a:lnTo>
                    <a:pt x="1561039" y="1812821"/>
                  </a:lnTo>
                  <a:lnTo>
                    <a:pt x="1603460" y="1795380"/>
                  </a:lnTo>
                  <a:lnTo>
                    <a:pt x="1645011" y="1776313"/>
                  </a:lnTo>
                  <a:lnTo>
                    <a:pt x="1685650" y="1755657"/>
                  </a:lnTo>
                  <a:lnTo>
                    <a:pt x="1725340" y="1733455"/>
                  </a:lnTo>
                  <a:lnTo>
                    <a:pt x="1764039" y="1709744"/>
                  </a:lnTo>
                  <a:lnTo>
                    <a:pt x="1801707" y="1684566"/>
                  </a:lnTo>
                  <a:lnTo>
                    <a:pt x="1838306" y="1657959"/>
                  </a:lnTo>
                  <a:lnTo>
                    <a:pt x="1873795" y="1629964"/>
                  </a:lnTo>
                  <a:lnTo>
                    <a:pt x="1908135" y="1600621"/>
                  </a:lnTo>
                  <a:lnTo>
                    <a:pt x="1941285" y="1569969"/>
                  </a:lnTo>
                  <a:lnTo>
                    <a:pt x="1973206" y="1538048"/>
                  </a:lnTo>
                  <a:lnTo>
                    <a:pt x="2003858" y="1504898"/>
                  </a:lnTo>
                  <a:lnTo>
                    <a:pt x="2033201" y="1470558"/>
                  </a:lnTo>
                  <a:lnTo>
                    <a:pt x="2061196" y="1435069"/>
                  </a:lnTo>
                  <a:lnTo>
                    <a:pt x="2087802" y="1398471"/>
                  </a:lnTo>
                  <a:lnTo>
                    <a:pt x="2112981" y="1360802"/>
                  </a:lnTo>
                  <a:lnTo>
                    <a:pt x="2136691" y="1322103"/>
                  </a:lnTo>
                  <a:lnTo>
                    <a:pt x="2158894" y="1282414"/>
                  </a:lnTo>
                  <a:lnTo>
                    <a:pt x="2179549" y="1241774"/>
                  </a:lnTo>
                  <a:lnTo>
                    <a:pt x="2198617" y="1200224"/>
                  </a:lnTo>
                  <a:lnTo>
                    <a:pt x="2216058" y="1157802"/>
                  </a:lnTo>
                  <a:lnTo>
                    <a:pt x="2231832" y="1114549"/>
                  </a:lnTo>
                  <a:lnTo>
                    <a:pt x="2245899" y="1070505"/>
                  </a:lnTo>
                  <a:lnTo>
                    <a:pt x="2258220" y="1025710"/>
                  </a:lnTo>
                  <a:lnTo>
                    <a:pt x="2268754" y="980203"/>
                  </a:lnTo>
                  <a:lnTo>
                    <a:pt x="2277462" y="934023"/>
                  </a:lnTo>
                  <a:lnTo>
                    <a:pt x="2284305" y="887212"/>
                  </a:lnTo>
                  <a:lnTo>
                    <a:pt x="2289241" y="839808"/>
                  </a:lnTo>
                  <a:lnTo>
                    <a:pt x="2292233" y="791852"/>
                  </a:lnTo>
                  <a:lnTo>
                    <a:pt x="2293238" y="743382"/>
                  </a:lnTo>
                  <a:lnTo>
                    <a:pt x="2292233" y="694913"/>
                  </a:lnTo>
                  <a:lnTo>
                    <a:pt x="2289241" y="646957"/>
                  </a:lnTo>
                  <a:lnTo>
                    <a:pt x="2284305" y="599553"/>
                  </a:lnTo>
                  <a:lnTo>
                    <a:pt x="2277462" y="552741"/>
                  </a:lnTo>
                  <a:lnTo>
                    <a:pt x="2268754" y="506562"/>
                  </a:lnTo>
                  <a:lnTo>
                    <a:pt x="2258220" y="461055"/>
                  </a:lnTo>
                  <a:lnTo>
                    <a:pt x="2245899" y="416259"/>
                  </a:lnTo>
                  <a:lnTo>
                    <a:pt x="2231832" y="372215"/>
                  </a:lnTo>
                  <a:lnTo>
                    <a:pt x="2216058" y="328963"/>
                  </a:lnTo>
                  <a:lnTo>
                    <a:pt x="2198617" y="286541"/>
                  </a:lnTo>
                  <a:lnTo>
                    <a:pt x="2179549" y="244991"/>
                  </a:lnTo>
                  <a:lnTo>
                    <a:pt x="2158894" y="204351"/>
                  </a:lnTo>
                  <a:lnTo>
                    <a:pt x="2136691" y="164662"/>
                  </a:lnTo>
                  <a:lnTo>
                    <a:pt x="2112981" y="125963"/>
                  </a:lnTo>
                  <a:lnTo>
                    <a:pt x="2087802" y="88294"/>
                  </a:lnTo>
                  <a:lnTo>
                    <a:pt x="2061196" y="51695"/>
                  </a:lnTo>
                  <a:lnTo>
                    <a:pt x="2033201" y="16206"/>
                  </a:lnTo>
                  <a:lnTo>
                    <a:pt x="2019352" y="0"/>
                  </a:lnTo>
                  <a:close/>
                </a:path>
              </a:pathLst>
            </a:custGeom>
            <a:solidFill>
              <a:srgbClr val="00A79D">
                <a:alpha val="23999"/>
              </a:srgbClr>
            </a:solidFill>
          </p:spPr>
          <p:txBody>
            <a:bodyPr wrap="square" lIns="0" tIns="0" rIns="0" bIns="0" rtlCol="0"/>
            <a:lstStyle/>
            <a:p>
              <a:endParaRPr/>
            </a:p>
          </p:txBody>
        </p:sp>
        <p:sp>
          <p:nvSpPr>
            <p:cNvPr id="10" name="object 6">
              <a:extLst>
                <a:ext uri="{FF2B5EF4-FFF2-40B4-BE49-F238E27FC236}">
                  <a16:creationId xmlns:a16="http://schemas.microsoft.com/office/drawing/2014/main" id="{E9FF9299-C740-B26B-8D45-170AAA2348AC}"/>
                </a:ext>
              </a:extLst>
            </p:cNvPr>
            <p:cNvSpPr/>
            <p:nvPr/>
          </p:nvSpPr>
          <p:spPr>
            <a:xfrm>
              <a:off x="9598" y="0"/>
              <a:ext cx="1638204" cy="1011138"/>
            </a:xfrm>
            <a:custGeom>
              <a:avLst/>
              <a:gdLst/>
              <a:ahLst/>
              <a:cxnLst/>
              <a:rect l="l" t="t" r="r" b="b"/>
              <a:pathLst>
                <a:path w="1806575" h="1115060">
                  <a:moveTo>
                    <a:pt x="1806575" y="0"/>
                  </a:moveTo>
                  <a:lnTo>
                    <a:pt x="0" y="0"/>
                  </a:lnTo>
                  <a:lnTo>
                    <a:pt x="0" y="905315"/>
                  </a:lnTo>
                  <a:lnTo>
                    <a:pt x="43197" y="934512"/>
                  </a:lnTo>
                  <a:lnTo>
                    <a:pt x="81896" y="958223"/>
                  </a:lnTo>
                  <a:lnTo>
                    <a:pt x="121585" y="980426"/>
                  </a:lnTo>
                  <a:lnTo>
                    <a:pt x="162225" y="1001081"/>
                  </a:lnTo>
                  <a:lnTo>
                    <a:pt x="203776" y="1020149"/>
                  </a:lnTo>
                  <a:lnTo>
                    <a:pt x="246197" y="1037590"/>
                  </a:lnTo>
                  <a:lnTo>
                    <a:pt x="289450" y="1053363"/>
                  </a:lnTo>
                  <a:lnTo>
                    <a:pt x="333494" y="1067431"/>
                  </a:lnTo>
                  <a:lnTo>
                    <a:pt x="378289" y="1079751"/>
                  </a:lnTo>
                  <a:lnTo>
                    <a:pt x="423796" y="1090286"/>
                  </a:lnTo>
                  <a:lnTo>
                    <a:pt x="469976" y="1098994"/>
                  </a:lnTo>
                  <a:lnTo>
                    <a:pt x="516787" y="1105836"/>
                  </a:lnTo>
                  <a:lnTo>
                    <a:pt x="564191" y="1110773"/>
                  </a:lnTo>
                  <a:lnTo>
                    <a:pt x="612147" y="1113764"/>
                  </a:lnTo>
                  <a:lnTo>
                    <a:pt x="660617" y="1114770"/>
                  </a:lnTo>
                  <a:lnTo>
                    <a:pt x="709086" y="1113764"/>
                  </a:lnTo>
                  <a:lnTo>
                    <a:pt x="757042" y="1110773"/>
                  </a:lnTo>
                  <a:lnTo>
                    <a:pt x="804446" y="1105836"/>
                  </a:lnTo>
                  <a:lnTo>
                    <a:pt x="851258" y="1098994"/>
                  </a:lnTo>
                  <a:lnTo>
                    <a:pt x="897437" y="1090286"/>
                  </a:lnTo>
                  <a:lnTo>
                    <a:pt x="942944" y="1079751"/>
                  </a:lnTo>
                  <a:lnTo>
                    <a:pt x="987740" y="1067431"/>
                  </a:lnTo>
                  <a:lnTo>
                    <a:pt x="1031784" y="1053363"/>
                  </a:lnTo>
                  <a:lnTo>
                    <a:pt x="1075036" y="1037590"/>
                  </a:lnTo>
                  <a:lnTo>
                    <a:pt x="1117458" y="1020149"/>
                  </a:lnTo>
                  <a:lnTo>
                    <a:pt x="1159008" y="1001081"/>
                  </a:lnTo>
                  <a:lnTo>
                    <a:pt x="1199648" y="980426"/>
                  </a:lnTo>
                  <a:lnTo>
                    <a:pt x="1239337" y="958223"/>
                  </a:lnTo>
                  <a:lnTo>
                    <a:pt x="1278036" y="934512"/>
                  </a:lnTo>
                  <a:lnTo>
                    <a:pt x="1315705" y="909334"/>
                  </a:lnTo>
                  <a:lnTo>
                    <a:pt x="1352304" y="882728"/>
                  </a:lnTo>
                  <a:lnTo>
                    <a:pt x="1387793" y="854733"/>
                  </a:lnTo>
                  <a:lnTo>
                    <a:pt x="1422132" y="825389"/>
                  </a:lnTo>
                  <a:lnTo>
                    <a:pt x="1455282" y="794737"/>
                  </a:lnTo>
                  <a:lnTo>
                    <a:pt x="1487203" y="762816"/>
                  </a:lnTo>
                  <a:lnTo>
                    <a:pt x="1517855" y="729666"/>
                  </a:lnTo>
                  <a:lnTo>
                    <a:pt x="1547199" y="695327"/>
                  </a:lnTo>
                  <a:lnTo>
                    <a:pt x="1575194" y="659838"/>
                  </a:lnTo>
                  <a:lnTo>
                    <a:pt x="1601800" y="623239"/>
                  </a:lnTo>
                  <a:lnTo>
                    <a:pt x="1626978" y="585570"/>
                  </a:lnTo>
                  <a:lnTo>
                    <a:pt x="1650689" y="546871"/>
                  </a:lnTo>
                  <a:lnTo>
                    <a:pt x="1672892" y="507182"/>
                  </a:lnTo>
                  <a:lnTo>
                    <a:pt x="1693547" y="466542"/>
                  </a:lnTo>
                  <a:lnTo>
                    <a:pt x="1712615" y="424992"/>
                  </a:lnTo>
                  <a:lnTo>
                    <a:pt x="1730056" y="382570"/>
                  </a:lnTo>
                  <a:lnTo>
                    <a:pt x="1745829" y="339318"/>
                  </a:lnTo>
                  <a:lnTo>
                    <a:pt x="1759897" y="295274"/>
                  </a:lnTo>
                  <a:lnTo>
                    <a:pt x="1772217" y="250478"/>
                  </a:lnTo>
                  <a:lnTo>
                    <a:pt x="1782752" y="204971"/>
                  </a:lnTo>
                  <a:lnTo>
                    <a:pt x="1791460" y="158792"/>
                  </a:lnTo>
                  <a:lnTo>
                    <a:pt x="1798302" y="111980"/>
                  </a:lnTo>
                  <a:lnTo>
                    <a:pt x="1803239" y="64576"/>
                  </a:lnTo>
                  <a:lnTo>
                    <a:pt x="1806230" y="16620"/>
                  </a:lnTo>
                  <a:lnTo>
                    <a:pt x="1806575" y="0"/>
                  </a:lnTo>
                  <a:close/>
                </a:path>
              </a:pathLst>
            </a:custGeom>
            <a:solidFill>
              <a:srgbClr val="00A79D">
                <a:alpha val="23999"/>
              </a:srgbClr>
            </a:solidFill>
          </p:spPr>
          <p:txBody>
            <a:bodyPr wrap="square" lIns="0" tIns="0" rIns="0" bIns="0" rtlCol="0"/>
            <a:lstStyle/>
            <a:p>
              <a:endParaRPr/>
            </a:p>
          </p:txBody>
        </p:sp>
        <p:sp>
          <p:nvSpPr>
            <p:cNvPr id="11" name="object 7">
              <a:extLst>
                <a:ext uri="{FF2B5EF4-FFF2-40B4-BE49-F238E27FC236}">
                  <a16:creationId xmlns:a16="http://schemas.microsoft.com/office/drawing/2014/main" id="{2B962E37-FE51-2FC3-86B1-3D569395D98C}"/>
                </a:ext>
              </a:extLst>
            </p:cNvPr>
            <p:cNvSpPr/>
            <p:nvPr/>
          </p:nvSpPr>
          <p:spPr>
            <a:xfrm>
              <a:off x="1974763" y="1"/>
              <a:ext cx="1240889" cy="301153"/>
            </a:xfrm>
            <a:custGeom>
              <a:avLst/>
              <a:gdLst/>
              <a:ahLst/>
              <a:cxnLst/>
              <a:rect l="l" t="t" r="r" b="b"/>
              <a:pathLst>
                <a:path w="1368425" h="332105">
                  <a:moveTo>
                    <a:pt x="1367940" y="0"/>
                  </a:moveTo>
                  <a:lnTo>
                    <a:pt x="0" y="0"/>
                  </a:lnTo>
                  <a:lnTo>
                    <a:pt x="8314" y="10755"/>
                  </a:lnTo>
                  <a:lnTo>
                    <a:pt x="37356" y="44607"/>
                  </a:lnTo>
                  <a:lnTo>
                    <a:pt x="68067" y="76923"/>
                  </a:lnTo>
                  <a:lnTo>
                    <a:pt x="100383" y="107634"/>
                  </a:lnTo>
                  <a:lnTo>
                    <a:pt x="134235" y="136676"/>
                  </a:lnTo>
                  <a:lnTo>
                    <a:pt x="169558" y="163982"/>
                  </a:lnTo>
                  <a:lnTo>
                    <a:pt x="206285" y="189484"/>
                  </a:lnTo>
                  <a:lnTo>
                    <a:pt x="244350" y="213118"/>
                  </a:lnTo>
                  <a:lnTo>
                    <a:pt x="283687" y="234816"/>
                  </a:lnTo>
                  <a:lnTo>
                    <a:pt x="324228" y="254512"/>
                  </a:lnTo>
                  <a:lnTo>
                    <a:pt x="365908" y="272139"/>
                  </a:lnTo>
                  <a:lnTo>
                    <a:pt x="408661" y="287632"/>
                  </a:lnTo>
                  <a:lnTo>
                    <a:pt x="452418" y="300924"/>
                  </a:lnTo>
                  <a:lnTo>
                    <a:pt x="497116" y="311947"/>
                  </a:lnTo>
                  <a:lnTo>
                    <a:pt x="542686" y="320637"/>
                  </a:lnTo>
                  <a:lnTo>
                    <a:pt x="589063" y="326926"/>
                  </a:lnTo>
                  <a:lnTo>
                    <a:pt x="636179" y="330748"/>
                  </a:lnTo>
                  <a:lnTo>
                    <a:pt x="683970" y="332037"/>
                  </a:lnTo>
                  <a:lnTo>
                    <a:pt x="731760" y="330748"/>
                  </a:lnTo>
                  <a:lnTo>
                    <a:pt x="778877" y="326926"/>
                  </a:lnTo>
                  <a:lnTo>
                    <a:pt x="825253" y="320637"/>
                  </a:lnTo>
                  <a:lnTo>
                    <a:pt x="870824" y="311947"/>
                  </a:lnTo>
                  <a:lnTo>
                    <a:pt x="915521" y="300924"/>
                  </a:lnTo>
                  <a:lnTo>
                    <a:pt x="959279" y="287632"/>
                  </a:lnTo>
                  <a:lnTo>
                    <a:pt x="1002031" y="272139"/>
                  </a:lnTo>
                  <a:lnTo>
                    <a:pt x="1043711" y="254512"/>
                  </a:lnTo>
                  <a:lnTo>
                    <a:pt x="1084253" y="234816"/>
                  </a:lnTo>
                  <a:lnTo>
                    <a:pt x="1123589" y="213118"/>
                  </a:lnTo>
                  <a:lnTo>
                    <a:pt x="1161654" y="189484"/>
                  </a:lnTo>
                  <a:lnTo>
                    <a:pt x="1198381" y="163982"/>
                  </a:lnTo>
                  <a:lnTo>
                    <a:pt x="1233704" y="136676"/>
                  </a:lnTo>
                  <a:lnTo>
                    <a:pt x="1267557" y="107634"/>
                  </a:lnTo>
                  <a:lnTo>
                    <a:pt x="1299872" y="76923"/>
                  </a:lnTo>
                  <a:lnTo>
                    <a:pt x="1330584" y="44607"/>
                  </a:lnTo>
                  <a:lnTo>
                    <a:pt x="1359626" y="10755"/>
                  </a:lnTo>
                  <a:lnTo>
                    <a:pt x="1367940" y="0"/>
                  </a:lnTo>
                  <a:close/>
                </a:path>
              </a:pathLst>
            </a:custGeom>
            <a:solidFill>
              <a:srgbClr val="00A79D">
                <a:alpha val="23999"/>
              </a:srgbClr>
            </a:solidFill>
          </p:spPr>
          <p:txBody>
            <a:bodyPr wrap="square" lIns="0" tIns="0" rIns="0" bIns="0" rtlCol="0"/>
            <a:lstStyle/>
            <a:p>
              <a:endParaRPr/>
            </a:p>
          </p:txBody>
        </p:sp>
        <p:sp>
          <p:nvSpPr>
            <p:cNvPr id="12" name="object 8">
              <a:extLst>
                <a:ext uri="{FF2B5EF4-FFF2-40B4-BE49-F238E27FC236}">
                  <a16:creationId xmlns:a16="http://schemas.microsoft.com/office/drawing/2014/main" id="{9B2A4857-919E-A8C5-E6FC-67973FDB4AF1}"/>
                </a:ext>
              </a:extLst>
            </p:cNvPr>
            <p:cNvSpPr/>
            <p:nvPr/>
          </p:nvSpPr>
          <p:spPr>
            <a:xfrm>
              <a:off x="2346635" y="488381"/>
              <a:ext cx="726683" cy="726683"/>
            </a:xfrm>
            <a:custGeom>
              <a:avLst/>
              <a:gdLst/>
              <a:ahLst/>
              <a:cxnLst/>
              <a:rect l="l" t="t" r="r" b="b"/>
              <a:pathLst>
                <a:path w="801370" h="801369">
                  <a:moveTo>
                    <a:pt x="400672" y="0"/>
                  </a:moveTo>
                  <a:lnTo>
                    <a:pt x="353945" y="2695"/>
                  </a:lnTo>
                  <a:lnTo>
                    <a:pt x="308801" y="10582"/>
                  </a:lnTo>
                  <a:lnTo>
                    <a:pt x="265542" y="23358"/>
                  </a:lnTo>
                  <a:lnTo>
                    <a:pt x="224466" y="40724"/>
                  </a:lnTo>
                  <a:lnTo>
                    <a:pt x="185876" y="62379"/>
                  </a:lnTo>
                  <a:lnTo>
                    <a:pt x="150072" y="88023"/>
                  </a:lnTo>
                  <a:lnTo>
                    <a:pt x="117354" y="117354"/>
                  </a:lnTo>
                  <a:lnTo>
                    <a:pt x="88023" y="150072"/>
                  </a:lnTo>
                  <a:lnTo>
                    <a:pt x="62379" y="185876"/>
                  </a:lnTo>
                  <a:lnTo>
                    <a:pt x="40724" y="224466"/>
                  </a:lnTo>
                  <a:lnTo>
                    <a:pt x="23358" y="265542"/>
                  </a:lnTo>
                  <a:lnTo>
                    <a:pt x="10582" y="308801"/>
                  </a:lnTo>
                  <a:lnTo>
                    <a:pt x="2695" y="353945"/>
                  </a:lnTo>
                  <a:lnTo>
                    <a:pt x="0" y="400672"/>
                  </a:lnTo>
                  <a:lnTo>
                    <a:pt x="2695" y="447396"/>
                  </a:lnTo>
                  <a:lnTo>
                    <a:pt x="10582" y="492537"/>
                  </a:lnTo>
                  <a:lnTo>
                    <a:pt x="23358" y="535795"/>
                  </a:lnTo>
                  <a:lnTo>
                    <a:pt x="40724" y="576869"/>
                  </a:lnTo>
                  <a:lnTo>
                    <a:pt x="62379" y="615458"/>
                  </a:lnTo>
                  <a:lnTo>
                    <a:pt x="88023" y="651261"/>
                  </a:lnTo>
                  <a:lnTo>
                    <a:pt x="117354" y="683979"/>
                  </a:lnTo>
                  <a:lnTo>
                    <a:pt x="150072" y="713309"/>
                  </a:lnTo>
                  <a:lnTo>
                    <a:pt x="185876" y="738952"/>
                  </a:lnTo>
                  <a:lnTo>
                    <a:pt x="224466" y="760607"/>
                  </a:lnTo>
                  <a:lnTo>
                    <a:pt x="265542" y="777973"/>
                  </a:lnTo>
                  <a:lnTo>
                    <a:pt x="308801" y="790749"/>
                  </a:lnTo>
                  <a:lnTo>
                    <a:pt x="353945" y="798636"/>
                  </a:lnTo>
                  <a:lnTo>
                    <a:pt x="400672" y="801331"/>
                  </a:lnTo>
                  <a:lnTo>
                    <a:pt x="447399" y="798636"/>
                  </a:lnTo>
                  <a:lnTo>
                    <a:pt x="492542" y="790749"/>
                  </a:lnTo>
                  <a:lnTo>
                    <a:pt x="535802" y="777973"/>
                  </a:lnTo>
                  <a:lnTo>
                    <a:pt x="576877" y="760607"/>
                  </a:lnTo>
                  <a:lnTo>
                    <a:pt x="615467" y="738952"/>
                  </a:lnTo>
                  <a:lnTo>
                    <a:pt x="651272" y="713309"/>
                  </a:lnTo>
                  <a:lnTo>
                    <a:pt x="683990" y="683979"/>
                  </a:lnTo>
                  <a:lnTo>
                    <a:pt x="713321" y="651261"/>
                  </a:lnTo>
                  <a:lnTo>
                    <a:pt x="738964" y="615458"/>
                  </a:lnTo>
                  <a:lnTo>
                    <a:pt x="760619" y="576869"/>
                  </a:lnTo>
                  <a:lnTo>
                    <a:pt x="777985" y="535795"/>
                  </a:lnTo>
                  <a:lnTo>
                    <a:pt x="790762" y="492537"/>
                  </a:lnTo>
                  <a:lnTo>
                    <a:pt x="798648" y="447396"/>
                  </a:lnTo>
                  <a:lnTo>
                    <a:pt x="801344" y="400672"/>
                  </a:lnTo>
                  <a:lnTo>
                    <a:pt x="798648" y="353945"/>
                  </a:lnTo>
                  <a:lnTo>
                    <a:pt x="790762" y="308801"/>
                  </a:lnTo>
                  <a:lnTo>
                    <a:pt x="777985" y="265542"/>
                  </a:lnTo>
                  <a:lnTo>
                    <a:pt x="760619" y="224466"/>
                  </a:lnTo>
                  <a:lnTo>
                    <a:pt x="738964" y="185876"/>
                  </a:lnTo>
                  <a:lnTo>
                    <a:pt x="713321" y="150072"/>
                  </a:lnTo>
                  <a:lnTo>
                    <a:pt x="683990" y="117354"/>
                  </a:lnTo>
                  <a:lnTo>
                    <a:pt x="651272" y="88023"/>
                  </a:lnTo>
                  <a:lnTo>
                    <a:pt x="615467" y="62379"/>
                  </a:lnTo>
                  <a:lnTo>
                    <a:pt x="576877" y="40724"/>
                  </a:lnTo>
                  <a:lnTo>
                    <a:pt x="535802" y="23358"/>
                  </a:lnTo>
                  <a:lnTo>
                    <a:pt x="492542" y="10582"/>
                  </a:lnTo>
                  <a:lnTo>
                    <a:pt x="447399" y="2695"/>
                  </a:lnTo>
                  <a:lnTo>
                    <a:pt x="400672" y="0"/>
                  </a:lnTo>
                  <a:close/>
                </a:path>
              </a:pathLst>
            </a:custGeom>
            <a:solidFill>
              <a:srgbClr val="00A79D">
                <a:alpha val="23999"/>
              </a:srgbClr>
            </a:solidFill>
          </p:spPr>
          <p:txBody>
            <a:bodyPr wrap="square" lIns="0" tIns="0" rIns="0" bIns="0" rtlCol="0"/>
            <a:lstStyle/>
            <a:p>
              <a:endParaRPr/>
            </a:p>
          </p:txBody>
        </p:sp>
      </p:grpSp>
      <p:sp>
        <p:nvSpPr>
          <p:cNvPr id="3" name="Text Placeholder 2">
            <a:extLst>
              <a:ext uri="{FF2B5EF4-FFF2-40B4-BE49-F238E27FC236}">
                <a16:creationId xmlns:a16="http://schemas.microsoft.com/office/drawing/2014/main" id="{5ADC4885-E653-9F9B-1C72-2AA34FCB44D8}"/>
              </a:ext>
            </a:extLst>
          </p:cNvPr>
          <p:cNvSpPr>
            <a:spLocks noGrp="1"/>
          </p:cNvSpPr>
          <p:nvPr userDrawn="1">
            <p:ph type="body" idx="1"/>
          </p:nvPr>
        </p:nvSpPr>
        <p:spPr>
          <a:xfrm>
            <a:off x="735724" y="1849816"/>
            <a:ext cx="4351283" cy="3364383"/>
          </a:xfrm>
          <a:prstGeom prst="rect">
            <a:avLst/>
          </a:prstGeom>
        </p:spPr>
        <p:txBody>
          <a:bodyPr>
            <a:normAutofit/>
          </a:bodyPr>
          <a:lstStyle>
            <a:lvl1pPr marL="0" indent="0" algn="l">
              <a:buNone/>
              <a:defRPr sz="3200">
                <a:solidFill>
                  <a:schemeClr val="tx1"/>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5" name="Picture Placeholder 2">
            <a:extLst>
              <a:ext uri="{FF2B5EF4-FFF2-40B4-BE49-F238E27FC236}">
                <a16:creationId xmlns:a16="http://schemas.microsoft.com/office/drawing/2014/main" id="{BE02B544-A40A-C2C8-B48C-6F244BD0DFB6}"/>
              </a:ext>
            </a:extLst>
          </p:cNvPr>
          <p:cNvSpPr>
            <a:spLocks noGrp="1"/>
          </p:cNvSpPr>
          <p:nvPr>
            <p:ph type="pic" idx="10"/>
          </p:nvPr>
        </p:nvSpPr>
        <p:spPr>
          <a:xfrm>
            <a:off x="6284881" y="-715900"/>
            <a:ext cx="7293907" cy="7195979"/>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GB" dirty="0"/>
          </a:p>
        </p:txBody>
      </p:sp>
    </p:spTree>
    <p:extLst>
      <p:ext uri="{BB962C8B-B14F-4D97-AF65-F5344CB8AC3E}">
        <p14:creationId xmlns:p14="http://schemas.microsoft.com/office/powerpoint/2010/main" val="10636480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Divider - White Blue">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2D00DCAC-C40F-C3B9-F022-BCEE66A66A0B}"/>
              </a:ext>
            </a:extLst>
          </p:cNvPr>
          <p:cNvSpPr/>
          <p:nvPr userDrawn="1"/>
        </p:nvSpPr>
        <p:spPr>
          <a:xfrm>
            <a:off x="0" y="-4957"/>
            <a:ext cx="12197847" cy="6908925"/>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chemeClr val="bg1"/>
          </a:solidFill>
          <a:ln>
            <a:solidFill>
              <a:schemeClr val="bg1"/>
            </a:solidFill>
          </a:ln>
        </p:spPr>
        <p:txBody>
          <a:bodyPr wrap="square" lIns="0" tIns="0" rIns="0" bIns="0" rtlCol="0"/>
          <a:lstStyle/>
          <a:p>
            <a:endParaRPr sz="2000" dirty="0"/>
          </a:p>
        </p:txBody>
      </p:sp>
      <p:sp>
        <p:nvSpPr>
          <p:cNvPr id="33" name="object 13">
            <a:extLst>
              <a:ext uri="{FF2B5EF4-FFF2-40B4-BE49-F238E27FC236}">
                <a16:creationId xmlns:a16="http://schemas.microsoft.com/office/drawing/2014/main" id="{A0C82D7B-43A0-E7DA-A947-D2D94D26026C}"/>
              </a:ext>
            </a:extLst>
          </p:cNvPr>
          <p:cNvSpPr/>
          <p:nvPr/>
        </p:nvSpPr>
        <p:spPr>
          <a:xfrm rot="10800000">
            <a:off x="11287374" y="7555196"/>
            <a:ext cx="371988" cy="386441"/>
          </a:xfrm>
          <a:custGeom>
            <a:avLst/>
            <a:gdLst/>
            <a:ahLst/>
            <a:cxnLst/>
            <a:rect l="l" t="t" r="r" b="b"/>
            <a:pathLst>
              <a:path w="382905" h="388619">
                <a:moveTo>
                  <a:pt x="191198" y="0"/>
                </a:moveTo>
                <a:lnTo>
                  <a:pt x="147361" y="5131"/>
                </a:lnTo>
                <a:lnTo>
                  <a:pt x="107117" y="19747"/>
                </a:lnTo>
                <a:lnTo>
                  <a:pt x="71617" y="42682"/>
                </a:lnTo>
                <a:lnTo>
                  <a:pt x="42006" y="72771"/>
                </a:lnTo>
                <a:lnTo>
                  <a:pt x="19435" y="108846"/>
                </a:lnTo>
                <a:lnTo>
                  <a:pt x="5050" y="149744"/>
                </a:lnTo>
                <a:lnTo>
                  <a:pt x="0" y="194297"/>
                </a:lnTo>
                <a:lnTo>
                  <a:pt x="5050" y="238850"/>
                </a:lnTo>
                <a:lnTo>
                  <a:pt x="19435" y="279750"/>
                </a:lnTo>
                <a:lnTo>
                  <a:pt x="42006" y="315828"/>
                </a:lnTo>
                <a:lnTo>
                  <a:pt x="71617" y="345919"/>
                </a:lnTo>
                <a:lnTo>
                  <a:pt x="107117" y="368857"/>
                </a:lnTo>
                <a:lnTo>
                  <a:pt x="147361" y="383475"/>
                </a:lnTo>
                <a:lnTo>
                  <a:pt x="191198" y="388607"/>
                </a:lnTo>
                <a:lnTo>
                  <a:pt x="235039" y="383475"/>
                </a:lnTo>
                <a:lnTo>
                  <a:pt x="275284" y="368857"/>
                </a:lnTo>
                <a:lnTo>
                  <a:pt x="310785" y="345919"/>
                </a:lnTo>
                <a:lnTo>
                  <a:pt x="340394" y="315828"/>
                </a:lnTo>
                <a:lnTo>
                  <a:pt x="362964" y="279750"/>
                </a:lnTo>
                <a:lnTo>
                  <a:pt x="377347" y="238850"/>
                </a:lnTo>
                <a:lnTo>
                  <a:pt x="382397" y="194297"/>
                </a:lnTo>
                <a:lnTo>
                  <a:pt x="377347" y="149744"/>
                </a:lnTo>
                <a:lnTo>
                  <a:pt x="362964" y="108846"/>
                </a:lnTo>
                <a:lnTo>
                  <a:pt x="340394" y="72771"/>
                </a:lnTo>
                <a:lnTo>
                  <a:pt x="310785" y="42682"/>
                </a:lnTo>
                <a:lnTo>
                  <a:pt x="275284" y="19747"/>
                </a:lnTo>
                <a:lnTo>
                  <a:pt x="235039" y="5131"/>
                </a:lnTo>
                <a:lnTo>
                  <a:pt x="191198" y="0"/>
                </a:lnTo>
                <a:close/>
              </a:path>
            </a:pathLst>
          </a:custGeom>
          <a:solidFill>
            <a:srgbClr val="0E5C77">
              <a:alpha val="19999"/>
            </a:srgbClr>
          </a:solidFill>
        </p:spPr>
        <p:txBody>
          <a:bodyPr wrap="square" lIns="0" tIns="0" rIns="0" bIns="0" rtlCol="0"/>
          <a:lstStyle/>
          <a:p>
            <a:endParaRPr/>
          </a:p>
        </p:txBody>
      </p:sp>
      <p:sp>
        <p:nvSpPr>
          <p:cNvPr id="34" name="object 14">
            <a:extLst>
              <a:ext uri="{FF2B5EF4-FFF2-40B4-BE49-F238E27FC236}">
                <a16:creationId xmlns:a16="http://schemas.microsoft.com/office/drawing/2014/main" id="{BA238379-38B4-1ED0-2EBC-33F28CE277AE}"/>
              </a:ext>
            </a:extLst>
          </p:cNvPr>
          <p:cNvSpPr/>
          <p:nvPr/>
        </p:nvSpPr>
        <p:spPr>
          <a:xfrm rot="10800000">
            <a:off x="11127502" y="7012374"/>
            <a:ext cx="313382" cy="325822"/>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sp>
        <p:nvSpPr>
          <p:cNvPr id="3" name="Text Placeholder 2">
            <a:extLst>
              <a:ext uri="{FF2B5EF4-FFF2-40B4-BE49-F238E27FC236}">
                <a16:creationId xmlns:a16="http://schemas.microsoft.com/office/drawing/2014/main" id="{5ADC4885-E653-9F9B-1C72-2AA34FCB44D8}"/>
              </a:ext>
            </a:extLst>
          </p:cNvPr>
          <p:cNvSpPr>
            <a:spLocks noGrp="1"/>
          </p:cNvSpPr>
          <p:nvPr userDrawn="1">
            <p:ph type="body" idx="1"/>
          </p:nvPr>
        </p:nvSpPr>
        <p:spPr>
          <a:xfrm>
            <a:off x="6484883" y="2275184"/>
            <a:ext cx="4847307" cy="3266016"/>
          </a:xfrm>
          <a:prstGeom prst="rect">
            <a:avLst/>
          </a:prstGeom>
        </p:spPr>
        <p:txBody>
          <a:bodyPr>
            <a:normAutofit/>
          </a:bodyPr>
          <a:lstStyle>
            <a:lvl1pPr marL="0" indent="0" algn="l">
              <a:buNone/>
              <a:defRPr sz="3200">
                <a:solidFill>
                  <a:schemeClr val="tx1"/>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grpSp>
        <p:nvGrpSpPr>
          <p:cNvPr id="5" name="object 41">
            <a:extLst>
              <a:ext uri="{FF2B5EF4-FFF2-40B4-BE49-F238E27FC236}">
                <a16:creationId xmlns:a16="http://schemas.microsoft.com/office/drawing/2014/main" id="{957BDDD7-B931-B769-D505-43BF2BAE0273}"/>
              </a:ext>
            </a:extLst>
          </p:cNvPr>
          <p:cNvGrpSpPr/>
          <p:nvPr userDrawn="1"/>
        </p:nvGrpSpPr>
        <p:grpSpPr>
          <a:xfrm>
            <a:off x="10681097" y="5820975"/>
            <a:ext cx="651156" cy="708550"/>
            <a:chOff x="5598848" y="1620229"/>
            <a:chExt cx="2190115" cy="2383155"/>
          </a:xfrm>
        </p:grpSpPr>
        <p:pic>
          <p:nvPicPr>
            <p:cNvPr id="6" name="object 42">
              <a:extLst>
                <a:ext uri="{FF2B5EF4-FFF2-40B4-BE49-F238E27FC236}">
                  <a16:creationId xmlns:a16="http://schemas.microsoft.com/office/drawing/2014/main" id="{B0316D10-AB7F-7247-2309-FF6E189194BC}"/>
                </a:ext>
              </a:extLst>
            </p:cNvPr>
            <p:cNvPicPr/>
            <p:nvPr/>
          </p:nvPicPr>
          <p:blipFill>
            <a:blip r:embed="rId2" cstate="print"/>
            <a:stretch>
              <a:fillRect/>
            </a:stretch>
          </p:blipFill>
          <p:spPr>
            <a:xfrm>
              <a:off x="7161630" y="1899091"/>
              <a:ext cx="113817" cy="115671"/>
            </a:xfrm>
            <a:prstGeom prst="rect">
              <a:avLst/>
            </a:prstGeom>
          </p:spPr>
        </p:pic>
        <p:pic>
          <p:nvPicPr>
            <p:cNvPr id="7" name="object 43">
              <a:extLst>
                <a:ext uri="{FF2B5EF4-FFF2-40B4-BE49-F238E27FC236}">
                  <a16:creationId xmlns:a16="http://schemas.microsoft.com/office/drawing/2014/main" id="{74F3DB94-6083-9227-318F-D47A76A048F2}"/>
                </a:ext>
              </a:extLst>
            </p:cNvPr>
            <p:cNvPicPr/>
            <p:nvPr/>
          </p:nvPicPr>
          <p:blipFill>
            <a:blip r:embed="rId3" cstate="print"/>
            <a:stretch>
              <a:fillRect/>
            </a:stretch>
          </p:blipFill>
          <p:spPr>
            <a:xfrm>
              <a:off x="5598848" y="1620229"/>
              <a:ext cx="2189904" cy="2382902"/>
            </a:xfrm>
            <a:prstGeom prst="rect">
              <a:avLst/>
            </a:prstGeom>
          </p:spPr>
        </p:pic>
        <p:pic>
          <p:nvPicPr>
            <p:cNvPr id="13" name="object 44">
              <a:extLst>
                <a:ext uri="{FF2B5EF4-FFF2-40B4-BE49-F238E27FC236}">
                  <a16:creationId xmlns:a16="http://schemas.microsoft.com/office/drawing/2014/main" id="{58167220-AAA0-C719-AE15-32888A8561F8}"/>
                </a:ext>
              </a:extLst>
            </p:cNvPr>
            <p:cNvPicPr/>
            <p:nvPr/>
          </p:nvPicPr>
          <p:blipFill>
            <a:blip r:embed="rId4" cstate="print"/>
            <a:stretch>
              <a:fillRect/>
            </a:stretch>
          </p:blipFill>
          <p:spPr>
            <a:xfrm>
              <a:off x="6871611" y="1669224"/>
              <a:ext cx="175945" cy="178803"/>
            </a:xfrm>
            <a:prstGeom prst="rect">
              <a:avLst/>
            </a:prstGeom>
          </p:spPr>
        </p:pic>
      </p:grpSp>
      <p:grpSp>
        <p:nvGrpSpPr>
          <p:cNvPr id="20" name="Group 19">
            <a:extLst>
              <a:ext uri="{FF2B5EF4-FFF2-40B4-BE49-F238E27FC236}">
                <a16:creationId xmlns:a16="http://schemas.microsoft.com/office/drawing/2014/main" id="{BA38F56F-30C0-B8AE-9A2D-75D458292098}"/>
              </a:ext>
            </a:extLst>
          </p:cNvPr>
          <p:cNvGrpSpPr/>
          <p:nvPr userDrawn="1"/>
        </p:nvGrpSpPr>
        <p:grpSpPr>
          <a:xfrm>
            <a:off x="6109850" y="-1"/>
            <a:ext cx="6097260" cy="1857721"/>
            <a:chOff x="6613002" y="0"/>
            <a:chExt cx="5573326" cy="1698088"/>
          </a:xfrm>
        </p:grpSpPr>
        <p:sp>
          <p:nvSpPr>
            <p:cNvPr id="21" name="object 3">
              <a:extLst>
                <a:ext uri="{FF2B5EF4-FFF2-40B4-BE49-F238E27FC236}">
                  <a16:creationId xmlns:a16="http://schemas.microsoft.com/office/drawing/2014/main" id="{17BFCD84-F3D5-2D67-1EF1-6EA656954F92}"/>
                </a:ext>
              </a:extLst>
            </p:cNvPr>
            <p:cNvSpPr/>
            <p:nvPr/>
          </p:nvSpPr>
          <p:spPr>
            <a:xfrm>
              <a:off x="7850787" y="1099048"/>
              <a:ext cx="456048" cy="456048"/>
            </a:xfrm>
            <a:custGeom>
              <a:avLst/>
              <a:gdLst/>
              <a:ahLst/>
              <a:cxnLst/>
              <a:rect l="l" t="t" r="r" b="b"/>
              <a:pathLst>
                <a:path w="502920" h="502919">
                  <a:moveTo>
                    <a:pt x="251434" y="0"/>
                  </a:moveTo>
                  <a:lnTo>
                    <a:pt x="206239" y="4050"/>
                  </a:lnTo>
                  <a:lnTo>
                    <a:pt x="163701" y="15730"/>
                  </a:lnTo>
                  <a:lnTo>
                    <a:pt x="124531" y="34328"/>
                  </a:lnTo>
                  <a:lnTo>
                    <a:pt x="89439" y="59133"/>
                  </a:lnTo>
                  <a:lnTo>
                    <a:pt x="59134" y="89437"/>
                  </a:lnTo>
                  <a:lnTo>
                    <a:pt x="34328" y="124527"/>
                  </a:lnTo>
                  <a:lnTo>
                    <a:pt x="15730" y="163695"/>
                  </a:lnTo>
                  <a:lnTo>
                    <a:pt x="4051" y="206230"/>
                  </a:lnTo>
                  <a:lnTo>
                    <a:pt x="0" y="251421"/>
                  </a:lnTo>
                  <a:lnTo>
                    <a:pt x="4051" y="296617"/>
                  </a:lnTo>
                  <a:lnTo>
                    <a:pt x="15730" y="339154"/>
                  </a:lnTo>
                  <a:lnTo>
                    <a:pt x="34328" y="378325"/>
                  </a:lnTo>
                  <a:lnTo>
                    <a:pt x="59134" y="413417"/>
                  </a:lnTo>
                  <a:lnTo>
                    <a:pt x="89439" y="443721"/>
                  </a:lnTo>
                  <a:lnTo>
                    <a:pt x="124531" y="468527"/>
                  </a:lnTo>
                  <a:lnTo>
                    <a:pt x="163701" y="487125"/>
                  </a:lnTo>
                  <a:lnTo>
                    <a:pt x="206239" y="498805"/>
                  </a:lnTo>
                  <a:lnTo>
                    <a:pt x="251434" y="502856"/>
                  </a:lnTo>
                  <a:lnTo>
                    <a:pt x="296629" y="498805"/>
                  </a:lnTo>
                  <a:lnTo>
                    <a:pt x="339165" y="487125"/>
                  </a:lnTo>
                  <a:lnTo>
                    <a:pt x="378334" y="468527"/>
                  </a:lnTo>
                  <a:lnTo>
                    <a:pt x="413424" y="443721"/>
                  </a:lnTo>
                  <a:lnTo>
                    <a:pt x="443726" y="413417"/>
                  </a:lnTo>
                  <a:lnTo>
                    <a:pt x="468531" y="378325"/>
                  </a:lnTo>
                  <a:lnTo>
                    <a:pt x="487127" y="339154"/>
                  </a:lnTo>
                  <a:lnTo>
                    <a:pt x="498805" y="296617"/>
                  </a:lnTo>
                  <a:lnTo>
                    <a:pt x="502856" y="251421"/>
                  </a:lnTo>
                  <a:lnTo>
                    <a:pt x="498805" y="206230"/>
                  </a:lnTo>
                  <a:lnTo>
                    <a:pt x="487127" y="163695"/>
                  </a:lnTo>
                  <a:lnTo>
                    <a:pt x="468531" y="124527"/>
                  </a:lnTo>
                  <a:lnTo>
                    <a:pt x="443726" y="89437"/>
                  </a:lnTo>
                  <a:lnTo>
                    <a:pt x="413424" y="59133"/>
                  </a:lnTo>
                  <a:lnTo>
                    <a:pt x="378334" y="34328"/>
                  </a:lnTo>
                  <a:lnTo>
                    <a:pt x="339165" y="15730"/>
                  </a:lnTo>
                  <a:lnTo>
                    <a:pt x="296629" y="4050"/>
                  </a:lnTo>
                  <a:lnTo>
                    <a:pt x="251434" y="0"/>
                  </a:lnTo>
                  <a:close/>
                </a:path>
              </a:pathLst>
            </a:custGeom>
            <a:solidFill>
              <a:srgbClr val="00AFFF">
                <a:alpha val="23999"/>
              </a:srgbClr>
            </a:solidFill>
          </p:spPr>
          <p:txBody>
            <a:bodyPr wrap="square" lIns="0" tIns="0" rIns="0" bIns="0" rtlCol="0"/>
            <a:lstStyle/>
            <a:p>
              <a:endParaRPr/>
            </a:p>
          </p:txBody>
        </p:sp>
        <p:sp>
          <p:nvSpPr>
            <p:cNvPr id="22" name="object 4">
              <a:extLst>
                <a:ext uri="{FF2B5EF4-FFF2-40B4-BE49-F238E27FC236}">
                  <a16:creationId xmlns:a16="http://schemas.microsoft.com/office/drawing/2014/main" id="{DC5B7BD2-C012-045B-C0AE-20165117D00C}"/>
                </a:ext>
              </a:extLst>
            </p:cNvPr>
            <p:cNvSpPr/>
            <p:nvPr/>
          </p:nvSpPr>
          <p:spPr>
            <a:xfrm>
              <a:off x="8748519" y="377061"/>
              <a:ext cx="456048" cy="456048"/>
            </a:xfrm>
            <a:custGeom>
              <a:avLst/>
              <a:gdLst/>
              <a:ahLst/>
              <a:cxnLst/>
              <a:rect l="l" t="t" r="r" b="b"/>
              <a:pathLst>
                <a:path w="502920" h="502919">
                  <a:moveTo>
                    <a:pt x="251434" y="0"/>
                  </a:moveTo>
                  <a:lnTo>
                    <a:pt x="206239" y="4050"/>
                  </a:lnTo>
                  <a:lnTo>
                    <a:pt x="163701" y="15730"/>
                  </a:lnTo>
                  <a:lnTo>
                    <a:pt x="124531" y="34328"/>
                  </a:lnTo>
                  <a:lnTo>
                    <a:pt x="89439" y="59133"/>
                  </a:lnTo>
                  <a:lnTo>
                    <a:pt x="59134" y="89437"/>
                  </a:lnTo>
                  <a:lnTo>
                    <a:pt x="34328" y="124527"/>
                  </a:lnTo>
                  <a:lnTo>
                    <a:pt x="15730" y="163695"/>
                  </a:lnTo>
                  <a:lnTo>
                    <a:pt x="4051" y="206230"/>
                  </a:lnTo>
                  <a:lnTo>
                    <a:pt x="0" y="251421"/>
                  </a:lnTo>
                  <a:lnTo>
                    <a:pt x="4051" y="296617"/>
                  </a:lnTo>
                  <a:lnTo>
                    <a:pt x="15730" y="339154"/>
                  </a:lnTo>
                  <a:lnTo>
                    <a:pt x="34328" y="378325"/>
                  </a:lnTo>
                  <a:lnTo>
                    <a:pt x="59134" y="413417"/>
                  </a:lnTo>
                  <a:lnTo>
                    <a:pt x="89439" y="443721"/>
                  </a:lnTo>
                  <a:lnTo>
                    <a:pt x="124531" y="468527"/>
                  </a:lnTo>
                  <a:lnTo>
                    <a:pt x="163701" y="487125"/>
                  </a:lnTo>
                  <a:lnTo>
                    <a:pt x="206239" y="498805"/>
                  </a:lnTo>
                  <a:lnTo>
                    <a:pt x="251434" y="502856"/>
                  </a:lnTo>
                  <a:lnTo>
                    <a:pt x="296629" y="498805"/>
                  </a:lnTo>
                  <a:lnTo>
                    <a:pt x="339165" y="487125"/>
                  </a:lnTo>
                  <a:lnTo>
                    <a:pt x="378334" y="468527"/>
                  </a:lnTo>
                  <a:lnTo>
                    <a:pt x="413424" y="443721"/>
                  </a:lnTo>
                  <a:lnTo>
                    <a:pt x="443726" y="413417"/>
                  </a:lnTo>
                  <a:lnTo>
                    <a:pt x="468531" y="378325"/>
                  </a:lnTo>
                  <a:lnTo>
                    <a:pt x="487127" y="339154"/>
                  </a:lnTo>
                  <a:lnTo>
                    <a:pt x="498805" y="296617"/>
                  </a:lnTo>
                  <a:lnTo>
                    <a:pt x="502856" y="251421"/>
                  </a:lnTo>
                  <a:lnTo>
                    <a:pt x="498805" y="206230"/>
                  </a:lnTo>
                  <a:lnTo>
                    <a:pt x="487127" y="163695"/>
                  </a:lnTo>
                  <a:lnTo>
                    <a:pt x="468531" y="124527"/>
                  </a:lnTo>
                  <a:lnTo>
                    <a:pt x="443726" y="89437"/>
                  </a:lnTo>
                  <a:lnTo>
                    <a:pt x="413424" y="59133"/>
                  </a:lnTo>
                  <a:lnTo>
                    <a:pt x="378334" y="34328"/>
                  </a:lnTo>
                  <a:lnTo>
                    <a:pt x="339165" y="15730"/>
                  </a:lnTo>
                  <a:lnTo>
                    <a:pt x="296629" y="4050"/>
                  </a:lnTo>
                  <a:lnTo>
                    <a:pt x="251434" y="0"/>
                  </a:lnTo>
                  <a:close/>
                </a:path>
              </a:pathLst>
            </a:custGeom>
            <a:solidFill>
              <a:srgbClr val="00AFFF">
                <a:alpha val="23999"/>
              </a:srgbClr>
            </a:solidFill>
          </p:spPr>
          <p:txBody>
            <a:bodyPr wrap="square" lIns="0" tIns="0" rIns="0" bIns="0" rtlCol="0"/>
            <a:lstStyle/>
            <a:p>
              <a:endParaRPr/>
            </a:p>
          </p:txBody>
        </p:sp>
        <p:sp>
          <p:nvSpPr>
            <p:cNvPr id="23" name="object 5">
              <a:extLst>
                <a:ext uri="{FF2B5EF4-FFF2-40B4-BE49-F238E27FC236}">
                  <a16:creationId xmlns:a16="http://schemas.microsoft.com/office/drawing/2014/main" id="{46C39FBD-DAAB-94DF-35DC-C352F1542076}"/>
                </a:ext>
              </a:extLst>
            </p:cNvPr>
            <p:cNvSpPr/>
            <p:nvPr/>
          </p:nvSpPr>
          <p:spPr>
            <a:xfrm>
              <a:off x="10402442" y="0"/>
              <a:ext cx="1783886" cy="1698088"/>
            </a:xfrm>
            <a:custGeom>
              <a:avLst/>
              <a:gdLst/>
              <a:ahLst/>
              <a:cxnLst/>
              <a:rect l="l" t="t" r="r" b="b"/>
              <a:pathLst>
                <a:path w="1967230" h="1872614">
                  <a:moveTo>
                    <a:pt x="1966964" y="0"/>
                  </a:moveTo>
                  <a:lnTo>
                    <a:pt x="258627" y="0"/>
                  </a:lnTo>
                  <a:lnTo>
                    <a:pt x="232042" y="33701"/>
                  </a:lnTo>
                  <a:lnTo>
                    <a:pt x="205436" y="70300"/>
                  </a:lnTo>
                  <a:lnTo>
                    <a:pt x="180257" y="107969"/>
                  </a:lnTo>
                  <a:lnTo>
                    <a:pt x="156547" y="146667"/>
                  </a:lnTo>
                  <a:lnTo>
                    <a:pt x="134344" y="186357"/>
                  </a:lnTo>
                  <a:lnTo>
                    <a:pt x="113689" y="226996"/>
                  </a:lnTo>
                  <a:lnTo>
                    <a:pt x="94621" y="268547"/>
                  </a:lnTo>
                  <a:lnTo>
                    <a:pt x="77180" y="310968"/>
                  </a:lnTo>
                  <a:lnTo>
                    <a:pt x="61406" y="354221"/>
                  </a:lnTo>
                  <a:lnTo>
                    <a:pt x="47339" y="398265"/>
                  </a:lnTo>
                  <a:lnTo>
                    <a:pt x="35018" y="443061"/>
                  </a:lnTo>
                  <a:lnTo>
                    <a:pt x="24484" y="488568"/>
                  </a:lnTo>
                  <a:lnTo>
                    <a:pt x="15776" y="534747"/>
                  </a:lnTo>
                  <a:lnTo>
                    <a:pt x="8933" y="581559"/>
                  </a:lnTo>
                  <a:lnTo>
                    <a:pt x="3997" y="628963"/>
                  </a:lnTo>
                  <a:lnTo>
                    <a:pt x="1005" y="676919"/>
                  </a:lnTo>
                  <a:lnTo>
                    <a:pt x="0" y="725388"/>
                  </a:lnTo>
                  <a:lnTo>
                    <a:pt x="1005" y="773857"/>
                  </a:lnTo>
                  <a:lnTo>
                    <a:pt x="3997" y="821814"/>
                  </a:lnTo>
                  <a:lnTo>
                    <a:pt x="8933" y="869218"/>
                  </a:lnTo>
                  <a:lnTo>
                    <a:pt x="15776" y="916029"/>
                  </a:lnTo>
                  <a:lnTo>
                    <a:pt x="24484" y="962208"/>
                  </a:lnTo>
                  <a:lnTo>
                    <a:pt x="35018" y="1007716"/>
                  </a:lnTo>
                  <a:lnTo>
                    <a:pt x="47339" y="1052511"/>
                  </a:lnTo>
                  <a:lnTo>
                    <a:pt x="61406" y="1096555"/>
                  </a:lnTo>
                  <a:lnTo>
                    <a:pt x="77180" y="1139808"/>
                  </a:lnTo>
                  <a:lnTo>
                    <a:pt x="94621" y="1182229"/>
                  </a:lnTo>
                  <a:lnTo>
                    <a:pt x="113689" y="1223780"/>
                  </a:lnTo>
                  <a:lnTo>
                    <a:pt x="134344" y="1264420"/>
                  </a:lnTo>
                  <a:lnTo>
                    <a:pt x="156547" y="1304109"/>
                  </a:lnTo>
                  <a:lnTo>
                    <a:pt x="180257" y="1342808"/>
                  </a:lnTo>
                  <a:lnTo>
                    <a:pt x="205436" y="1380476"/>
                  </a:lnTo>
                  <a:lnTo>
                    <a:pt x="232042" y="1417075"/>
                  </a:lnTo>
                  <a:lnTo>
                    <a:pt x="260037" y="1452564"/>
                  </a:lnTo>
                  <a:lnTo>
                    <a:pt x="289380" y="1486904"/>
                  </a:lnTo>
                  <a:lnTo>
                    <a:pt x="320032" y="1520054"/>
                  </a:lnTo>
                  <a:lnTo>
                    <a:pt x="351953" y="1551975"/>
                  </a:lnTo>
                  <a:lnTo>
                    <a:pt x="385103" y="1582627"/>
                  </a:lnTo>
                  <a:lnTo>
                    <a:pt x="419443" y="1611970"/>
                  </a:lnTo>
                  <a:lnTo>
                    <a:pt x="454932" y="1639965"/>
                  </a:lnTo>
                  <a:lnTo>
                    <a:pt x="491531" y="1666572"/>
                  </a:lnTo>
                  <a:lnTo>
                    <a:pt x="529199" y="1691750"/>
                  </a:lnTo>
                  <a:lnTo>
                    <a:pt x="567898" y="1715460"/>
                  </a:lnTo>
                  <a:lnTo>
                    <a:pt x="607588" y="1737663"/>
                  </a:lnTo>
                  <a:lnTo>
                    <a:pt x="648227" y="1758318"/>
                  </a:lnTo>
                  <a:lnTo>
                    <a:pt x="689778" y="1777386"/>
                  </a:lnTo>
                  <a:lnTo>
                    <a:pt x="732199" y="1794827"/>
                  </a:lnTo>
                  <a:lnTo>
                    <a:pt x="775452" y="1810601"/>
                  </a:lnTo>
                  <a:lnTo>
                    <a:pt x="819496" y="1824668"/>
                  </a:lnTo>
                  <a:lnTo>
                    <a:pt x="864291" y="1836989"/>
                  </a:lnTo>
                  <a:lnTo>
                    <a:pt x="909799" y="1847523"/>
                  </a:lnTo>
                  <a:lnTo>
                    <a:pt x="955978" y="1856231"/>
                  </a:lnTo>
                  <a:lnTo>
                    <a:pt x="1002790" y="1863074"/>
                  </a:lnTo>
                  <a:lnTo>
                    <a:pt x="1050193" y="1868011"/>
                  </a:lnTo>
                  <a:lnTo>
                    <a:pt x="1098150" y="1871002"/>
                  </a:lnTo>
                  <a:lnTo>
                    <a:pt x="1146619" y="1872008"/>
                  </a:lnTo>
                  <a:lnTo>
                    <a:pt x="1195088" y="1871002"/>
                  </a:lnTo>
                  <a:lnTo>
                    <a:pt x="1243045" y="1868011"/>
                  </a:lnTo>
                  <a:lnTo>
                    <a:pt x="1290448" y="1863074"/>
                  </a:lnTo>
                  <a:lnTo>
                    <a:pt x="1337260" y="1856231"/>
                  </a:lnTo>
                  <a:lnTo>
                    <a:pt x="1383439" y="1847523"/>
                  </a:lnTo>
                  <a:lnTo>
                    <a:pt x="1428947" y="1836989"/>
                  </a:lnTo>
                  <a:lnTo>
                    <a:pt x="1473742" y="1824668"/>
                  </a:lnTo>
                  <a:lnTo>
                    <a:pt x="1517786" y="1810601"/>
                  </a:lnTo>
                  <a:lnTo>
                    <a:pt x="1561039" y="1794827"/>
                  </a:lnTo>
                  <a:lnTo>
                    <a:pt x="1603460" y="1777386"/>
                  </a:lnTo>
                  <a:lnTo>
                    <a:pt x="1645011" y="1758318"/>
                  </a:lnTo>
                  <a:lnTo>
                    <a:pt x="1685650" y="1737663"/>
                  </a:lnTo>
                  <a:lnTo>
                    <a:pt x="1725340" y="1715460"/>
                  </a:lnTo>
                  <a:lnTo>
                    <a:pt x="1764039" y="1691750"/>
                  </a:lnTo>
                  <a:lnTo>
                    <a:pt x="1801707" y="1666572"/>
                  </a:lnTo>
                  <a:lnTo>
                    <a:pt x="1838306" y="1639965"/>
                  </a:lnTo>
                  <a:lnTo>
                    <a:pt x="1873795" y="1611970"/>
                  </a:lnTo>
                  <a:lnTo>
                    <a:pt x="1908135" y="1582627"/>
                  </a:lnTo>
                  <a:lnTo>
                    <a:pt x="1941285" y="1551975"/>
                  </a:lnTo>
                  <a:lnTo>
                    <a:pt x="1966964" y="1526295"/>
                  </a:lnTo>
                  <a:lnTo>
                    <a:pt x="1966964" y="0"/>
                  </a:lnTo>
                  <a:close/>
                </a:path>
              </a:pathLst>
            </a:custGeom>
            <a:solidFill>
              <a:srgbClr val="00AFFF">
                <a:alpha val="23999"/>
              </a:srgbClr>
            </a:solidFill>
          </p:spPr>
          <p:txBody>
            <a:bodyPr wrap="square" lIns="0" tIns="0" rIns="0" bIns="0" rtlCol="0"/>
            <a:lstStyle/>
            <a:p>
              <a:endParaRPr/>
            </a:p>
          </p:txBody>
        </p:sp>
        <p:sp>
          <p:nvSpPr>
            <p:cNvPr id="24" name="object 6">
              <a:extLst>
                <a:ext uri="{FF2B5EF4-FFF2-40B4-BE49-F238E27FC236}">
                  <a16:creationId xmlns:a16="http://schemas.microsoft.com/office/drawing/2014/main" id="{5658E3DE-4D80-E3F3-9EBE-7C75B09AA30F}"/>
                </a:ext>
              </a:extLst>
            </p:cNvPr>
            <p:cNvSpPr/>
            <p:nvPr/>
          </p:nvSpPr>
          <p:spPr>
            <a:xfrm>
              <a:off x="6613002" y="0"/>
              <a:ext cx="2077554" cy="995015"/>
            </a:xfrm>
            <a:custGeom>
              <a:avLst/>
              <a:gdLst/>
              <a:ahLst/>
              <a:cxnLst/>
              <a:rect l="l" t="t" r="r" b="b"/>
              <a:pathLst>
                <a:path w="2291079" h="1097280">
                  <a:moveTo>
                    <a:pt x="2291054" y="0"/>
                  </a:moveTo>
                  <a:lnTo>
                    <a:pt x="0" y="0"/>
                  </a:lnTo>
                  <a:lnTo>
                    <a:pt x="2904" y="46573"/>
                  </a:lnTo>
                  <a:lnTo>
                    <a:pt x="7841" y="93977"/>
                  </a:lnTo>
                  <a:lnTo>
                    <a:pt x="14684" y="140789"/>
                  </a:lnTo>
                  <a:lnTo>
                    <a:pt x="23392" y="186968"/>
                  </a:lnTo>
                  <a:lnTo>
                    <a:pt x="33926" y="232475"/>
                  </a:lnTo>
                  <a:lnTo>
                    <a:pt x="46247" y="277271"/>
                  </a:lnTo>
                  <a:lnTo>
                    <a:pt x="60314" y="321315"/>
                  </a:lnTo>
                  <a:lnTo>
                    <a:pt x="76088" y="364568"/>
                  </a:lnTo>
                  <a:lnTo>
                    <a:pt x="93529" y="406989"/>
                  </a:lnTo>
                  <a:lnTo>
                    <a:pt x="112597" y="448540"/>
                  </a:lnTo>
                  <a:lnTo>
                    <a:pt x="133252" y="489179"/>
                  </a:lnTo>
                  <a:lnTo>
                    <a:pt x="155455" y="528868"/>
                  </a:lnTo>
                  <a:lnTo>
                    <a:pt x="179165" y="567567"/>
                  </a:lnTo>
                  <a:lnTo>
                    <a:pt x="204343" y="605236"/>
                  </a:lnTo>
                  <a:lnTo>
                    <a:pt x="230950" y="641835"/>
                  </a:lnTo>
                  <a:lnTo>
                    <a:pt x="258945" y="677324"/>
                  </a:lnTo>
                  <a:lnTo>
                    <a:pt x="288288" y="711663"/>
                  </a:lnTo>
                  <a:lnTo>
                    <a:pt x="318940" y="744813"/>
                  </a:lnTo>
                  <a:lnTo>
                    <a:pt x="350861" y="776734"/>
                  </a:lnTo>
                  <a:lnTo>
                    <a:pt x="384011" y="807387"/>
                  </a:lnTo>
                  <a:lnTo>
                    <a:pt x="418351" y="836730"/>
                  </a:lnTo>
                  <a:lnTo>
                    <a:pt x="453840" y="864725"/>
                  </a:lnTo>
                  <a:lnTo>
                    <a:pt x="490439" y="891331"/>
                  </a:lnTo>
                  <a:lnTo>
                    <a:pt x="528107" y="916510"/>
                  </a:lnTo>
                  <a:lnTo>
                    <a:pt x="566806" y="940220"/>
                  </a:lnTo>
                  <a:lnTo>
                    <a:pt x="606495" y="962423"/>
                  </a:lnTo>
                  <a:lnTo>
                    <a:pt x="647135" y="983078"/>
                  </a:lnTo>
                  <a:lnTo>
                    <a:pt x="688686" y="1002146"/>
                  </a:lnTo>
                  <a:lnTo>
                    <a:pt x="731107" y="1019587"/>
                  </a:lnTo>
                  <a:lnTo>
                    <a:pt x="774360" y="1035361"/>
                  </a:lnTo>
                  <a:lnTo>
                    <a:pt x="818404" y="1049428"/>
                  </a:lnTo>
                  <a:lnTo>
                    <a:pt x="863199" y="1061748"/>
                  </a:lnTo>
                  <a:lnTo>
                    <a:pt x="908707" y="1072283"/>
                  </a:lnTo>
                  <a:lnTo>
                    <a:pt x="954886" y="1080991"/>
                  </a:lnTo>
                  <a:lnTo>
                    <a:pt x="1001697" y="1087834"/>
                  </a:lnTo>
                  <a:lnTo>
                    <a:pt x="1049101" y="1092770"/>
                  </a:lnTo>
                  <a:lnTo>
                    <a:pt x="1097058" y="1095761"/>
                  </a:lnTo>
                  <a:lnTo>
                    <a:pt x="1145527" y="1096767"/>
                  </a:lnTo>
                  <a:lnTo>
                    <a:pt x="1193996" y="1095761"/>
                  </a:lnTo>
                  <a:lnTo>
                    <a:pt x="1241952" y="1092770"/>
                  </a:lnTo>
                  <a:lnTo>
                    <a:pt x="1289356" y="1087834"/>
                  </a:lnTo>
                  <a:lnTo>
                    <a:pt x="1336168" y="1080991"/>
                  </a:lnTo>
                  <a:lnTo>
                    <a:pt x="1382347" y="1072283"/>
                  </a:lnTo>
                  <a:lnTo>
                    <a:pt x="1427854" y="1061748"/>
                  </a:lnTo>
                  <a:lnTo>
                    <a:pt x="1472650" y="1049428"/>
                  </a:lnTo>
                  <a:lnTo>
                    <a:pt x="1516694" y="1035361"/>
                  </a:lnTo>
                  <a:lnTo>
                    <a:pt x="1559947" y="1019587"/>
                  </a:lnTo>
                  <a:lnTo>
                    <a:pt x="1602368" y="1002146"/>
                  </a:lnTo>
                  <a:lnTo>
                    <a:pt x="1643919" y="983078"/>
                  </a:lnTo>
                  <a:lnTo>
                    <a:pt x="1684558" y="962423"/>
                  </a:lnTo>
                  <a:lnTo>
                    <a:pt x="1724248" y="940220"/>
                  </a:lnTo>
                  <a:lnTo>
                    <a:pt x="1762946" y="916510"/>
                  </a:lnTo>
                  <a:lnTo>
                    <a:pt x="1800615" y="891331"/>
                  </a:lnTo>
                  <a:lnTo>
                    <a:pt x="1837214" y="864725"/>
                  </a:lnTo>
                  <a:lnTo>
                    <a:pt x="1872703" y="836730"/>
                  </a:lnTo>
                  <a:lnTo>
                    <a:pt x="1907042" y="807387"/>
                  </a:lnTo>
                  <a:lnTo>
                    <a:pt x="1940193" y="776734"/>
                  </a:lnTo>
                  <a:lnTo>
                    <a:pt x="1972114" y="744813"/>
                  </a:lnTo>
                  <a:lnTo>
                    <a:pt x="2002766" y="711663"/>
                  </a:lnTo>
                  <a:lnTo>
                    <a:pt x="2032109" y="677324"/>
                  </a:lnTo>
                  <a:lnTo>
                    <a:pt x="2060104" y="641835"/>
                  </a:lnTo>
                  <a:lnTo>
                    <a:pt x="2086710" y="605236"/>
                  </a:lnTo>
                  <a:lnTo>
                    <a:pt x="2111889" y="567567"/>
                  </a:lnTo>
                  <a:lnTo>
                    <a:pt x="2135599" y="528868"/>
                  </a:lnTo>
                  <a:lnTo>
                    <a:pt x="2157802" y="489179"/>
                  </a:lnTo>
                  <a:lnTo>
                    <a:pt x="2178457" y="448540"/>
                  </a:lnTo>
                  <a:lnTo>
                    <a:pt x="2197525" y="406989"/>
                  </a:lnTo>
                  <a:lnTo>
                    <a:pt x="2214966" y="364568"/>
                  </a:lnTo>
                  <a:lnTo>
                    <a:pt x="2230740" y="321315"/>
                  </a:lnTo>
                  <a:lnTo>
                    <a:pt x="2244807" y="277271"/>
                  </a:lnTo>
                  <a:lnTo>
                    <a:pt x="2257128" y="232475"/>
                  </a:lnTo>
                  <a:lnTo>
                    <a:pt x="2267662" y="186968"/>
                  </a:lnTo>
                  <a:lnTo>
                    <a:pt x="2276370" y="140789"/>
                  </a:lnTo>
                  <a:lnTo>
                    <a:pt x="2283213" y="93977"/>
                  </a:lnTo>
                  <a:lnTo>
                    <a:pt x="2288149" y="46573"/>
                  </a:lnTo>
                  <a:lnTo>
                    <a:pt x="2291054" y="0"/>
                  </a:lnTo>
                  <a:close/>
                </a:path>
              </a:pathLst>
            </a:custGeom>
            <a:solidFill>
              <a:srgbClr val="00AFFF">
                <a:alpha val="23999"/>
              </a:srgbClr>
            </a:solidFill>
          </p:spPr>
          <p:txBody>
            <a:bodyPr wrap="square" lIns="0" tIns="0" rIns="0" bIns="0" rtlCol="0"/>
            <a:lstStyle/>
            <a:p>
              <a:endParaRPr/>
            </a:p>
          </p:txBody>
        </p:sp>
        <p:sp>
          <p:nvSpPr>
            <p:cNvPr id="25" name="object 7">
              <a:extLst>
                <a:ext uri="{FF2B5EF4-FFF2-40B4-BE49-F238E27FC236}">
                  <a16:creationId xmlns:a16="http://schemas.microsoft.com/office/drawing/2014/main" id="{591B4FBF-72FE-5A76-77F5-9B370934F24C}"/>
                </a:ext>
              </a:extLst>
            </p:cNvPr>
            <p:cNvSpPr/>
            <p:nvPr/>
          </p:nvSpPr>
          <p:spPr>
            <a:xfrm>
              <a:off x="9031060" y="1"/>
              <a:ext cx="1214402" cy="285030"/>
            </a:xfrm>
            <a:custGeom>
              <a:avLst/>
              <a:gdLst/>
              <a:ahLst/>
              <a:cxnLst/>
              <a:rect l="l" t="t" r="r" b="b"/>
              <a:pathLst>
                <a:path w="1339215" h="314325">
                  <a:moveTo>
                    <a:pt x="1338888" y="0"/>
                  </a:moveTo>
                  <a:lnTo>
                    <a:pt x="0" y="0"/>
                  </a:lnTo>
                  <a:lnTo>
                    <a:pt x="22830" y="26611"/>
                  </a:lnTo>
                  <a:lnTo>
                    <a:pt x="53542" y="58927"/>
                  </a:lnTo>
                  <a:lnTo>
                    <a:pt x="85857" y="89639"/>
                  </a:lnTo>
                  <a:lnTo>
                    <a:pt x="119709" y="118680"/>
                  </a:lnTo>
                  <a:lnTo>
                    <a:pt x="155032" y="145986"/>
                  </a:lnTo>
                  <a:lnTo>
                    <a:pt x="191759" y="171489"/>
                  </a:lnTo>
                  <a:lnTo>
                    <a:pt x="229825" y="195122"/>
                  </a:lnTo>
                  <a:lnTo>
                    <a:pt x="269161" y="216820"/>
                  </a:lnTo>
                  <a:lnTo>
                    <a:pt x="309703" y="236516"/>
                  </a:lnTo>
                  <a:lnTo>
                    <a:pt x="351383" y="254144"/>
                  </a:lnTo>
                  <a:lnTo>
                    <a:pt x="394135" y="269636"/>
                  </a:lnTo>
                  <a:lnTo>
                    <a:pt x="437893" y="282928"/>
                  </a:lnTo>
                  <a:lnTo>
                    <a:pt x="482590" y="293951"/>
                  </a:lnTo>
                  <a:lnTo>
                    <a:pt x="528160" y="302641"/>
                  </a:lnTo>
                  <a:lnTo>
                    <a:pt x="574537" y="308930"/>
                  </a:lnTo>
                  <a:lnTo>
                    <a:pt x="621654" y="312752"/>
                  </a:lnTo>
                  <a:lnTo>
                    <a:pt x="669444" y="314041"/>
                  </a:lnTo>
                  <a:lnTo>
                    <a:pt x="717234" y="312752"/>
                  </a:lnTo>
                  <a:lnTo>
                    <a:pt x="764351" y="308930"/>
                  </a:lnTo>
                  <a:lnTo>
                    <a:pt x="810728" y="302641"/>
                  </a:lnTo>
                  <a:lnTo>
                    <a:pt x="856298" y="293951"/>
                  </a:lnTo>
                  <a:lnTo>
                    <a:pt x="900995" y="282928"/>
                  </a:lnTo>
                  <a:lnTo>
                    <a:pt x="944753" y="269636"/>
                  </a:lnTo>
                  <a:lnTo>
                    <a:pt x="987505" y="254144"/>
                  </a:lnTo>
                  <a:lnTo>
                    <a:pt x="1029185" y="236516"/>
                  </a:lnTo>
                  <a:lnTo>
                    <a:pt x="1069727" y="216820"/>
                  </a:lnTo>
                  <a:lnTo>
                    <a:pt x="1109063" y="195122"/>
                  </a:lnTo>
                  <a:lnTo>
                    <a:pt x="1147129" y="171489"/>
                  </a:lnTo>
                  <a:lnTo>
                    <a:pt x="1183856" y="145986"/>
                  </a:lnTo>
                  <a:lnTo>
                    <a:pt x="1219179" y="118680"/>
                  </a:lnTo>
                  <a:lnTo>
                    <a:pt x="1253031" y="89639"/>
                  </a:lnTo>
                  <a:lnTo>
                    <a:pt x="1285346" y="58927"/>
                  </a:lnTo>
                  <a:lnTo>
                    <a:pt x="1316058" y="26611"/>
                  </a:lnTo>
                  <a:lnTo>
                    <a:pt x="1338888" y="0"/>
                  </a:lnTo>
                  <a:close/>
                </a:path>
              </a:pathLst>
            </a:custGeom>
            <a:solidFill>
              <a:srgbClr val="00AFFF">
                <a:alpha val="23999"/>
              </a:srgbClr>
            </a:solidFill>
          </p:spPr>
          <p:txBody>
            <a:bodyPr wrap="square" lIns="0" tIns="0" rIns="0" bIns="0" rtlCol="0"/>
            <a:lstStyle/>
            <a:p>
              <a:endParaRPr/>
            </a:p>
          </p:txBody>
        </p:sp>
        <p:sp>
          <p:nvSpPr>
            <p:cNvPr id="26" name="object 8">
              <a:extLst>
                <a:ext uri="{FF2B5EF4-FFF2-40B4-BE49-F238E27FC236}">
                  <a16:creationId xmlns:a16="http://schemas.microsoft.com/office/drawing/2014/main" id="{A151A684-DA1D-804F-5426-4B4A7A6B4C86}"/>
                </a:ext>
              </a:extLst>
            </p:cNvPr>
            <p:cNvSpPr/>
            <p:nvPr/>
          </p:nvSpPr>
          <p:spPr>
            <a:xfrm>
              <a:off x="9389760" y="472058"/>
              <a:ext cx="726683" cy="726683"/>
            </a:xfrm>
            <a:custGeom>
              <a:avLst/>
              <a:gdLst/>
              <a:ahLst/>
              <a:cxnLst/>
              <a:rect l="l" t="t" r="r" b="b"/>
              <a:pathLst>
                <a:path w="801370" h="801369">
                  <a:moveTo>
                    <a:pt x="400672" y="0"/>
                  </a:moveTo>
                  <a:lnTo>
                    <a:pt x="353945" y="2695"/>
                  </a:lnTo>
                  <a:lnTo>
                    <a:pt x="308801" y="10582"/>
                  </a:lnTo>
                  <a:lnTo>
                    <a:pt x="265542" y="23358"/>
                  </a:lnTo>
                  <a:lnTo>
                    <a:pt x="224466" y="40724"/>
                  </a:lnTo>
                  <a:lnTo>
                    <a:pt x="185876" y="62379"/>
                  </a:lnTo>
                  <a:lnTo>
                    <a:pt x="150072" y="88023"/>
                  </a:lnTo>
                  <a:lnTo>
                    <a:pt x="117354" y="117354"/>
                  </a:lnTo>
                  <a:lnTo>
                    <a:pt x="88023" y="150072"/>
                  </a:lnTo>
                  <a:lnTo>
                    <a:pt x="62379" y="185876"/>
                  </a:lnTo>
                  <a:lnTo>
                    <a:pt x="40724" y="224466"/>
                  </a:lnTo>
                  <a:lnTo>
                    <a:pt x="23358" y="265542"/>
                  </a:lnTo>
                  <a:lnTo>
                    <a:pt x="10582" y="308801"/>
                  </a:lnTo>
                  <a:lnTo>
                    <a:pt x="2695" y="353945"/>
                  </a:lnTo>
                  <a:lnTo>
                    <a:pt x="0" y="400672"/>
                  </a:lnTo>
                  <a:lnTo>
                    <a:pt x="2695" y="447396"/>
                  </a:lnTo>
                  <a:lnTo>
                    <a:pt x="10582" y="492537"/>
                  </a:lnTo>
                  <a:lnTo>
                    <a:pt x="23358" y="535795"/>
                  </a:lnTo>
                  <a:lnTo>
                    <a:pt x="40724" y="576869"/>
                  </a:lnTo>
                  <a:lnTo>
                    <a:pt x="62379" y="615458"/>
                  </a:lnTo>
                  <a:lnTo>
                    <a:pt x="88023" y="651261"/>
                  </a:lnTo>
                  <a:lnTo>
                    <a:pt x="117354" y="683979"/>
                  </a:lnTo>
                  <a:lnTo>
                    <a:pt x="150072" y="713309"/>
                  </a:lnTo>
                  <a:lnTo>
                    <a:pt x="185876" y="738952"/>
                  </a:lnTo>
                  <a:lnTo>
                    <a:pt x="224466" y="760607"/>
                  </a:lnTo>
                  <a:lnTo>
                    <a:pt x="265542" y="777973"/>
                  </a:lnTo>
                  <a:lnTo>
                    <a:pt x="308801" y="790749"/>
                  </a:lnTo>
                  <a:lnTo>
                    <a:pt x="353945" y="798636"/>
                  </a:lnTo>
                  <a:lnTo>
                    <a:pt x="400672" y="801331"/>
                  </a:lnTo>
                  <a:lnTo>
                    <a:pt x="447399" y="798636"/>
                  </a:lnTo>
                  <a:lnTo>
                    <a:pt x="492542" y="790749"/>
                  </a:lnTo>
                  <a:lnTo>
                    <a:pt x="535802" y="777973"/>
                  </a:lnTo>
                  <a:lnTo>
                    <a:pt x="576877" y="760607"/>
                  </a:lnTo>
                  <a:lnTo>
                    <a:pt x="615467" y="738952"/>
                  </a:lnTo>
                  <a:lnTo>
                    <a:pt x="651272" y="713309"/>
                  </a:lnTo>
                  <a:lnTo>
                    <a:pt x="683990" y="683979"/>
                  </a:lnTo>
                  <a:lnTo>
                    <a:pt x="713321" y="651261"/>
                  </a:lnTo>
                  <a:lnTo>
                    <a:pt x="738964" y="615458"/>
                  </a:lnTo>
                  <a:lnTo>
                    <a:pt x="760619" y="576869"/>
                  </a:lnTo>
                  <a:lnTo>
                    <a:pt x="777985" y="535795"/>
                  </a:lnTo>
                  <a:lnTo>
                    <a:pt x="790762" y="492537"/>
                  </a:lnTo>
                  <a:lnTo>
                    <a:pt x="798648" y="447396"/>
                  </a:lnTo>
                  <a:lnTo>
                    <a:pt x="801344" y="400672"/>
                  </a:lnTo>
                  <a:lnTo>
                    <a:pt x="798648" y="353945"/>
                  </a:lnTo>
                  <a:lnTo>
                    <a:pt x="790762" y="308801"/>
                  </a:lnTo>
                  <a:lnTo>
                    <a:pt x="777985" y="265542"/>
                  </a:lnTo>
                  <a:lnTo>
                    <a:pt x="760619" y="224466"/>
                  </a:lnTo>
                  <a:lnTo>
                    <a:pt x="738964" y="185876"/>
                  </a:lnTo>
                  <a:lnTo>
                    <a:pt x="713321" y="150072"/>
                  </a:lnTo>
                  <a:lnTo>
                    <a:pt x="683990" y="117354"/>
                  </a:lnTo>
                  <a:lnTo>
                    <a:pt x="651272" y="88023"/>
                  </a:lnTo>
                  <a:lnTo>
                    <a:pt x="615467" y="62379"/>
                  </a:lnTo>
                  <a:lnTo>
                    <a:pt x="576877" y="40724"/>
                  </a:lnTo>
                  <a:lnTo>
                    <a:pt x="535802" y="23358"/>
                  </a:lnTo>
                  <a:lnTo>
                    <a:pt x="492542" y="10582"/>
                  </a:lnTo>
                  <a:lnTo>
                    <a:pt x="447399" y="2695"/>
                  </a:lnTo>
                  <a:lnTo>
                    <a:pt x="400672" y="0"/>
                  </a:lnTo>
                  <a:close/>
                </a:path>
              </a:pathLst>
            </a:custGeom>
            <a:solidFill>
              <a:srgbClr val="00AFFF">
                <a:alpha val="23999"/>
              </a:srgbClr>
            </a:solidFill>
          </p:spPr>
          <p:txBody>
            <a:bodyPr wrap="square" lIns="0" tIns="0" rIns="0" bIns="0" rtlCol="0"/>
            <a:lstStyle/>
            <a:p>
              <a:endParaRPr/>
            </a:p>
          </p:txBody>
        </p:sp>
      </p:grpSp>
      <p:sp>
        <p:nvSpPr>
          <p:cNvPr id="2" name="Picture Placeholder 2">
            <a:extLst>
              <a:ext uri="{FF2B5EF4-FFF2-40B4-BE49-F238E27FC236}">
                <a16:creationId xmlns:a16="http://schemas.microsoft.com/office/drawing/2014/main" id="{F7467FD7-B03A-A783-6DAD-BFE1F429ED74}"/>
              </a:ext>
            </a:extLst>
          </p:cNvPr>
          <p:cNvSpPr>
            <a:spLocks noGrp="1"/>
          </p:cNvSpPr>
          <p:nvPr>
            <p:ph type="pic" idx="10"/>
          </p:nvPr>
        </p:nvSpPr>
        <p:spPr>
          <a:xfrm>
            <a:off x="-1249137" y="-881221"/>
            <a:ext cx="7293907" cy="7195979"/>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GB" dirty="0"/>
          </a:p>
        </p:txBody>
      </p:sp>
    </p:spTree>
    <p:extLst>
      <p:ext uri="{BB962C8B-B14F-4D97-AF65-F5344CB8AC3E}">
        <p14:creationId xmlns:p14="http://schemas.microsoft.com/office/powerpoint/2010/main" val="9553204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Divider - Purple">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2D00DCAC-C40F-C3B9-F022-BCEE66A66A0B}"/>
              </a:ext>
            </a:extLst>
          </p:cNvPr>
          <p:cNvSpPr/>
          <p:nvPr userDrawn="1"/>
        </p:nvSpPr>
        <p:spPr>
          <a:xfrm>
            <a:off x="-121920" y="-4957"/>
            <a:ext cx="12319767" cy="6908925"/>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chemeClr val="accent2"/>
          </a:solidFill>
          <a:ln>
            <a:solidFill>
              <a:schemeClr val="accent2"/>
            </a:solidFill>
          </a:ln>
        </p:spPr>
        <p:txBody>
          <a:bodyPr wrap="square" lIns="0" tIns="0" rIns="0" bIns="0" rtlCol="0"/>
          <a:lstStyle/>
          <a:p>
            <a:endParaRPr sz="2000" dirty="0"/>
          </a:p>
        </p:txBody>
      </p:sp>
      <p:sp>
        <p:nvSpPr>
          <p:cNvPr id="33" name="object 13">
            <a:extLst>
              <a:ext uri="{FF2B5EF4-FFF2-40B4-BE49-F238E27FC236}">
                <a16:creationId xmlns:a16="http://schemas.microsoft.com/office/drawing/2014/main" id="{A0C82D7B-43A0-E7DA-A947-D2D94D26026C}"/>
              </a:ext>
            </a:extLst>
          </p:cNvPr>
          <p:cNvSpPr/>
          <p:nvPr/>
        </p:nvSpPr>
        <p:spPr>
          <a:xfrm rot="10800000">
            <a:off x="11287374" y="7555196"/>
            <a:ext cx="371988" cy="386441"/>
          </a:xfrm>
          <a:custGeom>
            <a:avLst/>
            <a:gdLst/>
            <a:ahLst/>
            <a:cxnLst/>
            <a:rect l="l" t="t" r="r" b="b"/>
            <a:pathLst>
              <a:path w="382905" h="388619">
                <a:moveTo>
                  <a:pt x="191198" y="0"/>
                </a:moveTo>
                <a:lnTo>
                  <a:pt x="147361" y="5131"/>
                </a:lnTo>
                <a:lnTo>
                  <a:pt x="107117" y="19747"/>
                </a:lnTo>
                <a:lnTo>
                  <a:pt x="71617" y="42682"/>
                </a:lnTo>
                <a:lnTo>
                  <a:pt x="42006" y="72771"/>
                </a:lnTo>
                <a:lnTo>
                  <a:pt x="19435" y="108846"/>
                </a:lnTo>
                <a:lnTo>
                  <a:pt x="5050" y="149744"/>
                </a:lnTo>
                <a:lnTo>
                  <a:pt x="0" y="194297"/>
                </a:lnTo>
                <a:lnTo>
                  <a:pt x="5050" y="238850"/>
                </a:lnTo>
                <a:lnTo>
                  <a:pt x="19435" y="279750"/>
                </a:lnTo>
                <a:lnTo>
                  <a:pt x="42006" y="315828"/>
                </a:lnTo>
                <a:lnTo>
                  <a:pt x="71617" y="345919"/>
                </a:lnTo>
                <a:lnTo>
                  <a:pt x="107117" y="368857"/>
                </a:lnTo>
                <a:lnTo>
                  <a:pt x="147361" y="383475"/>
                </a:lnTo>
                <a:lnTo>
                  <a:pt x="191198" y="388607"/>
                </a:lnTo>
                <a:lnTo>
                  <a:pt x="235039" y="383475"/>
                </a:lnTo>
                <a:lnTo>
                  <a:pt x="275284" y="368857"/>
                </a:lnTo>
                <a:lnTo>
                  <a:pt x="310785" y="345919"/>
                </a:lnTo>
                <a:lnTo>
                  <a:pt x="340394" y="315828"/>
                </a:lnTo>
                <a:lnTo>
                  <a:pt x="362964" y="279750"/>
                </a:lnTo>
                <a:lnTo>
                  <a:pt x="377347" y="238850"/>
                </a:lnTo>
                <a:lnTo>
                  <a:pt x="382397" y="194297"/>
                </a:lnTo>
                <a:lnTo>
                  <a:pt x="377347" y="149744"/>
                </a:lnTo>
                <a:lnTo>
                  <a:pt x="362964" y="108846"/>
                </a:lnTo>
                <a:lnTo>
                  <a:pt x="340394" y="72771"/>
                </a:lnTo>
                <a:lnTo>
                  <a:pt x="310785" y="42682"/>
                </a:lnTo>
                <a:lnTo>
                  <a:pt x="275284" y="19747"/>
                </a:lnTo>
                <a:lnTo>
                  <a:pt x="235039" y="5131"/>
                </a:lnTo>
                <a:lnTo>
                  <a:pt x="191198" y="0"/>
                </a:lnTo>
                <a:close/>
              </a:path>
            </a:pathLst>
          </a:custGeom>
          <a:solidFill>
            <a:srgbClr val="0E5C77">
              <a:alpha val="19999"/>
            </a:srgbClr>
          </a:solidFill>
        </p:spPr>
        <p:txBody>
          <a:bodyPr wrap="square" lIns="0" tIns="0" rIns="0" bIns="0" rtlCol="0"/>
          <a:lstStyle/>
          <a:p>
            <a:endParaRPr/>
          </a:p>
        </p:txBody>
      </p:sp>
      <p:sp>
        <p:nvSpPr>
          <p:cNvPr id="34" name="object 14">
            <a:extLst>
              <a:ext uri="{FF2B5EF4-FFF2-40B4-BE49-F238E27FC236}">
                <a16:creationId xmlns:a16="http://schemas.microsoft.com/office/drawing/2014/main" id="{BA238379-38B4-1ED0-2EBC-33F28CE277AE}"/>
              </a:ext>
            </a:extLst>
          </p:cNvPr>
          <p:cNvSpPr/>
          <p:nvPr/>
        </p:nvSpPr>
        <p:spPr>
          <a:xfrm rot="10800000">
            <a:off x="11127502" y="7012374"/>
            <a:ext cx="313382" cy="325822"/>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sp>
        <p:nvSpPr>
          <p:cNvPr id="30" name="Footer Placeholder 4">
            <a:extLst>
              <a:ext uri="{FF2B5EF4-FFF2-40B4-BE49-F238E27FC236}">
                <a16:creationId xmlns:a16="http://schemas.microsoft.com/office/drawing/2014/main" id="{02C401B5-B453-3BF0-01CE-3F0F63B03A02}"/>
              </a:ext>
            </a:extLst>
          </p:cNvPr>
          <p:cNvSpPr>
            <a:spLocks noGrp="1"/>
          </p:cNvSpPr>
          <p:nvPr userDrawn="1">
            <p:ph type="ftr" sz="quarter" idx="3"/>
          </p:nvPr>
        </p:nvSpPr>
        <p:spPr>
          <a:xfrm>
            <a:off x="735724" y="6114954"/>
            <a:ext cx="4929352" cy="365125"/>
          </a:xfrm>
          <a:prstGeom prst="rect">
            <a:avLst/>
          </a:prstGeom>
        </p:spPr>
        <p:txBody>
          <a:bodyPr/>
          <a:lstStyle>
            <a:lvl1pPr>
              <a:defRPr sz="1400">
                <a:solidFill>
                  <a:schemeClr val="tx2"/>
                </a:solidFill>
              </a:defRPr>
            </a:lvl1pPr>
          </a:lstStyle>
          <a:p>
            <a:endParaRPr lang="en-GB" dirty="0"/>
          </a:p>
        </p:txBody>
      </p:sp>
      <p:grpSp>
        <p:nvGrpSpPr>
          <p:cNvPr id="2" name="Group 1">
            <a:extLst>
              <a:ext uri="{FF2B5EF4-FFF2-40B4-BE49-F238E27FC236}">
                <a16:creationId xmlns:a16="http://schemas.microsoft.com/office/drawing/2014/main" id="{19D4B2F3-8059-DBA5-4D44-29894B41DAB0}"/>
              </a:ext>
            </a:extLst>
          </p:cNvPr>
          <p:cNvGrpSpPr/>
          <p:nvPr userDrawn="1"/>
        </p:nvGrpSpPr>
        <p:grpSpPr>
          <a:xfrm>
            <a:off x="-121920" y="-389572"/>
            <a:ext cx="5429576" cy="1714213"/>
            <a:chOff x="9598" y="0"/>
            <a:chExt cx="5429576" cy="1714213"/>
          </a:xfrm>
        </p:grpSpPr>
        <p:sp>
          <p:nvSpPr>
            <p:cNvPr id="4" name="object 3">
              <a:extLst>
                <a:ext uri="{FF2B5EF4-FFF2-40B4-BE49-F238E27FC236}">
                  <a16:creationId xmlns:a16="http://schemas.microsoft.com/office/drawing/2014/main" id="{E252FAA9-4B96-7A6B-6755-5360E5145F52}"/>
                </a:ext>
              </a:extLst>
            </p:cNvPr>
            <p:cNvSpPr/>
            <p:nvPr/>
          </p:nvSpPr>
          <p:spPr>
            <a:xfrm>
              <a:off x="807663" y="1115370"/>
              <a:ext cx="456048" cy="456048"/>
            </a:xfrm>
            <a:custGeom>
              <a:avLst/>
              <a:gdLst/>
              <a:ahLst/>
              <a:cxnLst/>
              <a:rect l="l" t="t" r="r" b="b"/>
              <a:pathLst>
                <a:path w="502919" h="502919">
                  <a:moveTo>
                    <a:pt x="251434" y="0"/>
                  </a:moveTo>
                  <a:lnTo>
                    <a:pt x="206239" y="4050"/>
                  </a:lnTo>
                  <a:lnTo>
                    <a:pt x="163701" y="15730"/>
                  </a:lnTo>
                  <a:lnTo>
                    <a:pt x="124531" y="34328"/>
                  </a:lnTo>
                  <a:lnTo>
                    <a:pt x="89439" y="59133"/>
                  </a:lnTo>
                  <a:lnTo>
                    <a:pt x="59134" y="89437"/>
                  </a:lnTo>
                  <a:lnTo>
                    <a:pt x="34328" y="124527"/>
                  </a:lnTo>
                  <a:lnTo>
                    <a:pt x="15730" y="163695"/>
                  </a:lnTo>
                  <a:lnTo>
                    <a:pt x="4051" y="206230"/>
                  </a:lnTo>
                  <a:lnTo>
                    <a:pt x="0" y="251421"/>
                  </a:lnTo>
                  <a:lnTo>
                    <a:pt x="4051" y="296617"/>
                  </a:lnTo>
                  <a:lnTo>
                    <a:pt x="15730" y="339154"/>
                  </a:lnTo>
                  <a:lnTo>
                    <a:pt x="34328" y="378325"/>
                  </a:lnTo>
                  <a:lnTo>
                    <a:pt x="59134" y="413417"/>
                  </a:lnTo>
                  <a:lnTo>
                    <a:pt x="89439" y="443721"/>
                  </a:lnTo>
                  <a:lnTo>
                    <a:pt x="124531" y="468527"/>
                  </a:lnTo>
                  <a:lnTo>
                    <a:pt x="163701" y="487125"/>
                  </a:lnTo>
                  <a:lnTo>
                    <a:pt x="206239" y="498805"/>
                  </a:lnTo>
                  <a:lnTo>
                    <a:pt x="251434" y="502856"/>
                  </a:lnTo>
                  <a:lnTo>
                    <a:pt x="296629" y="498805"/>
                  </a:lnTo>
                  <a:lnTo>
                    <a:pt x="339167" y="487125"/>
                  </a:lnTo>
                  <a:lnTo>
                    <a:pt x="378337" y="468527"/>
                  </a:lnTo>
                  <a:lnTo>
                    <a:pt x="413430" y="443721"/>
                  </a:lnTo>
                  <a:lnTo>
                    <a:pt x="443734" y="413417"/>
                  </a:lnTo>
                  <a:lnTo>
                    <a:pt x="468540" y="378325"/>
                  </a:lnTo>
                  <a:lnTo>
                    <a:pt x="487138" y="339154"/>
                  </a:lnTo>
                  <a:lnTo>
                    <a:pt x="498818" y="296617"/>
                  </a:lnTo>
                  <a:lnTo>
                    <a:pt x="502869" y="251421"/>
                  </a:lnTo>
                  <a:lnTo>
                    <a:pt x="498818" y="206230"/>
                  </a:lnTo>
                  <a:lnTo>
                    <a:pt x="487138" y="163695"/>
                  </a:lnTo>
                  <a:lnTo>
                    <a:pt x="468540" y="124527"/>
                  </a:lnTo>
                  <a:lnTo>
                    <a:pt x="443734" y="89437"/>
                  </a:lnTo>
                  <a:lnTo>
                    <a:pt x="413430" y="59133"/>
                  </a:lnTo>
                  <a:lnTo>
                    <a:pt x="378337" y="34328"/>
                  </a:lnTo>
                  <a:lnTo>
                    <a:pt x="339167" y="15730"/>
                  </a:lnTo>
                  <a:lnTo>
                    <a:pt x="296629" y="4050"/>
                  </a:lnTo>
                  <a:lnTo>
                    <a:pt x="251434" y="0"/>
                  </a:lnTo>
                  <a:close/>
                </a:path>
              </a:pathLst>
            </a:custGeom>
            <a:solidFill>
              <a:srgbClr val="00A79D">
                <a:alpha val="23999"/>
              </a:srgbClr>
            </a:solidFill>
          </p:spPr>
          <p:txBody>
            <a:bodyPr wrap="square" lIns="0" tIns="0" rIns="0" bIns="0" rtlCol="0"/>
            <a:lstStyle/>
            <a:p>
              <a:endParaRPr/>
            </a:p>
          </p:txBody>
        </p:sp>
        <p:sp>
          <p:nvSpPr>
            <p:cNvPr id="8" name="object 4">
              <a:extLst>
                <a:ext uri="{FF2B5EF4-FFF2-40B4-BE49-F238E27FC236}">
                  <a16:creationId xmlns:a16="http://schemas.microsoft.com/office/drawing/2014/main" id="{56DD7027-7ED1-92CB-BE49-E54EC1CD9B2F}"/>
                </a:ext>
              </a:extLst>
            </p:cNvPr>
            <p:cNvSpPr/>
            <p:nvPr/>
          </p:nvSpPr>
          <p:spPr>
            <a:xfrm>
              <a:off x="1705395" y="393384"/>
              <a:ext cx="456048" cy="456048"/>
            </a:xfrm>
            <a:custGeom>
              <a:avLst/>
              <a:gdLst/>
              <a:ahLst/>
              <a:cxnLst/>
              <a:rect l="l" t="t" r="r" b="b"/>
              <a:pathLst>
                <a:path w="502919" h="502919">
                  <a:moveTo>
                    <a:pt x="251434" y="0"/>
                  </a:moveTo>
                  <a:lnTo>
                    <a:pt x="206239" y="4050"/>
                  </a:lnTo>
                  <a:lnTo>
                    <a:pt x="163701" y="15730"/>
                  </a:lnTo>
                  <a:lnTo>
                    <a:pt x="124531" y="34328"/>
                  </a:lnTo>
                  <a:lnTo>
                    <a:pt x="89439" y="59133"/>
                  </a:lnTo>
                  <a:lnTo>
                    <a:pt x="59134" y="89437"/>
                  </a:lnTo>
                  <a:lnTo>
                    <a:pt x="34328" y="124527"/>
                  </a:lnTo>
                  <a:lnTo>
                    <a:pt x="15730" y="163695"/>
                  </a:lnTo>
                  <a:lnTo>
                    <a:pt x="4051" y="206230"/>
                  </a:lnTo>
                  <a:lnTo>
                    <a:pt x="0" y="251421"/>
                  </a:lnTo>
                  <a:lnTo>
                    <a:pt x="4051" y="296617"/>
                  </a:lnTo>
                  <a:lnTo>
                    <a:pt x="15730" y="339154"/>
                  </a:lnTo>
                  <a:lnTo>
                    <a:pt x="34328" y="378325"/>
                  </a:lnTo>
                  <a:lnTo>
                    <a:pt x="59134" y="413417"/>
                  </a:lnTo>
                  <a:lnTo>
                    <a:pt x="89439" y="443721"/>
                  </a:lnTo>
                  <a:lnTo>
                    <a:pt x="124531" y="468527"/>
                  </a:lnTo>
                  <a:lnTo>
                    <a:pt x="163701" y="487125"/>
                  </a:lnTo>
                  <a:lnTo>
                    <a:pt x="206239" y="498805"/>
                  </a:lnTo>
                  <a:lnTo>
                    <a:pt x="251434" y="502856"/>
                  </a:lnTo>
                  <a:lnTo>
                    <a:pt x="296629" y="498805"/>
                  </a:lnTo>
                  <a:lnTo>
                    <a:pt x="339167" y="487125"/>
                  </a:lnTo>
                  <a:lnTo>
                    <a:pt x="378337" y="468527"/>
                  </a:lnTo>
                  <a:lnTo>
                    <a:pt x="413430" y="443721"/>
                  </a:lnTo>
                  <a:lnTo>
                    <a:pt x="443734" y="413417"/>
                  </a:lnTo>
                  <a:lnTo>
                    <a:pt x="468540" y="378325"/>
                  </a:lnTo>
                  <a:lnTo>
                    <a:pt x="487138" y="339154"/>
                  </a:lnTo>
                  <a:lnTo>
                    <a:pt x="498818" y="296617"/>
                  </a:lnTo>
                  <a:lnTo>
                    <a:pt x="502869" y="251421"/>
                  </a:lnTo>
                  <a:lnTo>
                    <a:pt x="498818" y="206230"/>
                  </a:lnTo>
                  <a:lnTo>
                    <a:pt x="487138" y="163695"/>
                  </a:lnTo>
                  <a:lnTo>
                    <a:pt x="468540" y="124527"/>
                  </a:lnTo>
                  <a:lnTo>
                    <a:pt x="443734" y="89437"/>
                  </a:lnTo>
                  <a:lnTo>
                    <a:pt x="413430" y="59133"/>
                  </a:lnTo>
                  <a:lnTo>
                    <a:pt x="378337" y="34328"/>
                  </a:lnTo>
                  <a:lnTo>
                    <a:pt x="339167" y="15730"/>
                  </a:lnTo>
                  <a:lnTo>
                    <a:pt x="296629" y="4050"/>
                  </a:lnTo>
                  <a:lnTo>
                    <a:pt x="251434" y="0"/>
                  </a:lnTo>
                  <a:close/>
                </a:path>
              </a:pathLst>
            </a:custGeom>
            <a:solidFill>
              <a:srgbClr val="00A79D">
                <a:alpha val="23999"/>
              </a:srgbClr>
            </a:solidFill>
          </p:spPr>
          <p:txBody>
            <a:bodyPr wrap="square" lIns="0" tIns="0" rIns="0" bIns="0" rtlCol="0"/>
            <a:lstStyle/>
            <a:p>
              <a:endParaRPr/>
            </a:p>
          </p:txBody>
        </p:sp>
        <p:sp>
          <p:nvSpPr>
            <p:cNvPr id="9" name="object 5">
              <a:extLst>
                <a:ext uri="{FF2B5EF4-FFF2-40B4-BE49-F238E27FC236}">
                  <a16:creationId xmlns:a16="http://schemas.microsoft.com/office/drawing/2014/main" id="{574E6B3C-9B13-98CF-F82C-2B284F58AF9D}"/>
                </a:ext>
              </a:extLst>
            </p:cNvPr>
            <p:cNvSpPr/>
            <p:nvPr/>
          </p:nvSpPr>
          <p:spPr>
            <a:xfrm>
              <a:off x="3359317" y="1"/>
              <a:ext cx="2079857" cy="1714212"/>
            </a:xfrm>
            <a:custGeom>
              <a:avLst/>
              <a:gdLst/>
              <a:ahLst/>
              <a:cxnLst/>
              <a:rect l="l" t="t" r="r" b="b"/>
              <a:pathLst>
                <a:path w="2293620" h="1890395">
                  <a:moveTo>
                    <a:pt x="2019352" y="0"/>
                  </a:moveTo>
                  <a:lnTo>
                    <a:pt x="273886" y="0"/>
                  </a:lnTo>
                  <a:lnTo>
                    <a:pt x="260037" y="16206"/>
                  </a:lnTo>
                  <a:lnTo>
                    <a:pt x="232042" y="51695"/>
                  </a:lnTo>
                  <a:lnTo>
                    <a:pt x="205436" y="88294"/>
                  </a:lnTo>
                  <a:lnTo>
                    <a:pt x="180257" y="125963"/>
                  </a:lnTo>
                  <a:lnTo>
                    <a:pt x="156547" y="164662"/>
                  </a:lnTo>
                  <a:lnTo>
                    <a:pt x="134344" y="204351"/>
                  </a:lnTo>
                  <a:lnTo>
                    <a:pt x="113689" y="244991"/>
                  </a:lnTo>
                  <a:lnTo>
                    <a:pt x="94621" y="286541"/>
                  </a:lnTo>
                  <a:lnTo>
                    <a:pt x="77180" y="328963"/>
                  </a:lnTo>
                  <a:lnTo>
                    <a:pt x="61406" y="372215"/>
                  </a:lnTo>
                  <a:lnTo>
                    <a:pt x="47339" y="416259"/>
                  </a:lnTo>
                  <a:lnTo>
                    <a:pt x="35018" y="461055"/>
                  </a:lnTo>
                  <a:lnTo>
                    <a:pt x="24484" y="506562"/>
                  </a:lnTo>
                  <a:lnTo>
                    <a:pt x="15776" y="552741"/>
                  </a:lnTo>
                  <a:lnTo>
                    <a:pt x="8933" y="599553"/>
                  </a:lnTo>
                  <a:lnTo>
                    <a:pt x="3997" y="646957"/>
                  </a:lnTo>
                  <a:lnTo>
                    <a:pt x="1005" y="694913"/>
                  </a:lnTo>
                  <a:lnTo>
                    <a:pt x="0" y="743382"/>
                  </a:lnTo>
                  <a:lnTo>
                    <a:pt x="1005" y="791852"/>
                  </a:lnTo>
                  <a:lnTo>
                    <a:pt x="3997" y="839808"/>
                  </a:lnTo>
                  <a:lnTo>
                    <a:pt x="8933" y="887212"/>
                  </a:lnTo>
                  <a:lnTo>
                    <a:pt x="15776" y="934023"/>
                  </a:lnTo>
                  <a:lnTo>
                    <a:pt x="24484" y="980203"/>
                  </a:lnTo>
                  <a:lnTo>
                    <a:pt x="35018" y="1025710"/>
                  </a:lnTo>
                  <a:lnTo>
                    <a:pt x="47339" y="1070505"/>
                  </a:lnTo>
                  <a:lnTo>
                    <a:pt x="61406" y="1114549"/>
                  </a:lnTo>
                  <a:lnTo>
                    <a:pt x="77180" y="1157802"/>
                  </a:lnTo>
                  <a:lnTo>
                    <a:pt x="94621" y="1200224"/>
                  </a:lnTo>
                  <a:lnTo>
                    <a:pt x="113689" y="1241774"/>
                  </a:lnTo>
                  <a:lnTo>
                    <a:pt x="134344" y="1282414"/>
                  </a:lnTo>
                  <a:lnTo>
                    <a:pt x="156547" y="1322103"/>
                  </a:lnTo>
                  <a:lnTo>
                    <a:pt x="180257" y="1360802"/>
                  </a:lnTo>
                  <a:lnTo>
                    <a:pt x="205436" y="1398471"/>
                  </a:lnTo>
                  <a:lnTo>
                    <a:pt x="232042" y="1435069"/>
                  </a:lnTo>
                  <a:lnTo>
                    <a:pt x="260037" y="1470558"/>
                  </a:lnTo>
                  <a:lnTo>
                    <a:pt x="289380" y="1504898"/>
                  </a:lnTo>
                  <a:lnTo>
                    <a:pt x="320032" y="1538048"/>
                  </a:lnTo>
                  <a:lnTo>
                    <a:pt x="351953" y="1569969"/>
                  </a:lnTo>
                  <a:lnTo>
                    <a:pt x="385103" y="1600621"/>
                  </a:lnTo>
                  <a:lnTo>
                    <a:pt x="419443" y="1629964"/>
                  </a:lnTo>
                  <a:lnTo>
                    <a:pt x="454932" y="1657959"/>
                  </a:lnTo>
                  <a:lnTo>
                    <a:pt x="491531" y="1684566"/>
                  </a:lnTo>
                  <a:lnTo>
                    <a:pt x="529199" y="1709744"/>
                  </a:lnTo>
                  <a:lnTo>
                    <a:pt x="567898" y="1733455"/>
                  </a:lnTo>
                  <a:lnTo>
                    <a:pt x="607588" y="1755657"/>
                  </a:lnTo>
                  <a:lnTo>
                    <a:pt x="648227" y="1776313"/>
                  </a:lnTo>
                  <a:lnTo>
                    <a:pt x="689778" y="1795380"/>
                  </a:lnTo>
                  <a:lnTo>
                    <a:pt x="732199" y="1812821"/>
                  </a:lnTo>
                  <a:lnTo>
                    <a:pt x="775452" y="1828595"/>
                  </a:lnTo>
                  <a:lnTo>
                    <a:pt x="819496" y="1842662"/>
                  </a:lnTo>
                  <a:lnTo>
                    <a:pt x="864291" y="1854983"/>
                  </a:lnTo>
                  <a:lnTo>
                    <a:pt x="909799" y="1865517"/>
                  </a:lnTo>
                  <a:lnTo>
                    <a:pt x="955978" y="1874226"/>
                  </a:lnTo>
                  <a:lnTo>
                    <a:pt x="1002790" y="1881068"/>
                  </a:lnTo>
                  <a:lnTo>
                    <a:pt x="1050193" y="1886005"/>
                  </a:lnTo>
                  <a:lnTo>
                    <a:pt x="1098150" y="1888996"/>
                  </a:lnTo>
                  <a:lnTo>
                    <a:pt x="1146619" y="1890002"/>
                  </a:lnTo>
                  <a:lnTo>
                    <a:pt x="1195088" y="1888996"/>
                  </a:lnTo>
                  <a:lnTo>
                    <a:pt x="1243045" y="1886005"/>
                  </a:lnTo>
                  <a:lnTo>
                    <a:pt x="1290448" y="1881068"/>
                  </a:lnTo>
                  <a:lnTo>
                    <a:pt x="1337260" y="1874226"/>
                  </a:lnTo>
                  <a:lnTo>
                    <a:pt x="1383439" y="1865517"/>
                  </a:lnTo>
                  <a:lnTo>
                    <a:pt x="1428947" y="1854983"/>
                  </a:lnTo>
                  <a:lnTo>
                    <a:pt x="1473742" y="1842662"/>
                  </a:lnTo>
                  <a:lnTo>
                    <a:pt x="1517786" y="1828595"/>
                  </a:lnTo>
                  <a:lnTo>
                    <a:pt x="1561039" y="1812821"/>
                  </a:lnTo>
                  <a:lnTo>
                    <a:pt x="1603460" y="1795380"/>
                  </a:lnTo>
                  <a:lnTo>
                    <a:pt x="1645011" y="1776313"/>
                  </a:lnTo>
                  <a:lnTo>
                    <a:pt x="1685650" y="1755657"/>
                  </a:lnTo>
                  <a:lnTo>
                    <a:pt x="1725340" y="1733455"/>
                  </a:lnTo>
                  <a:lnTo>
                    <a:pt x="1764039" y="1709744"/>
                  </a:lnTo>
                  <a:lnTo>
                    <a:pt x="1801707" y="1684566"/>
                  </a:lnTo>
                  <a:lnTo>
                    <a:pt x="1838306" y="1657959"/>
                  </a:lnTo>
                  <a:lnTo>
                    <a:pt x="1873795" y="1629964"/>
                  </a:lnTo>
                  <a:lnTo>
                    <a:pt x="1908135" y="1600621"/>
                  </a:lnTo>
                  <a:lnTo>
                    <a:pt x="1941285" y="1569969"/>
                  </a:lnTo>
                  <a:lnTo>
                    <a:pt x="1973206" y="1538048"/>
                  </a:lnTo>
                  <a:lnTo>
                    <a:pt x="2003858" y="1504898"/>
                  </a:lnTo>
                  <a:lnTo>
                    <a:pt x="2033201" y="1470558"/>
                  </a:lnTo>
                  <a:lnTo>
                    <a:pt x="2061196" y="1435069"/>
                  </a:lnTo>
                  <a:lnTo>
                    <a:pt x="2087802" y="1398471"/>
                  </a:lnTo>
                  <a:lnTo>
                    <a:pt x="2112981" y="1360802"/>
                  </a:lnTo>
                  <a:lnTo>
                    <a:pt x="2136691" y="1322103"/>
                  </a:lnTo>
                  <a:lnTo>
                    <a:pt x="2158894" y="1282414"/>
                  </a:lnTo>
                  <a:lnTo>
                    <a:pt x="2179549" y="1241774"/>
                  </a:lnTo>
                  <a:lnTo>
                    <a:pt x="2198617" y="1200224"/>
                  </a:lnTo>
                  <a:lnTo>
                    <a:pt x="2216058" y="1157802"/>
                  </a:lnTo>
                  <a:lnTo>
                    <a:pt x="2231832" y="1114549"/>
                  </a:lnTo>
                  <a:lnTo>
                    <a:pt x="2245899" y="1070505"/>
                  </a:lnTo>
                  <a:lnTo>
                    <a:pt x="2258220" y="1025710"/>
                  </a:lnTo>
                  <a:lnTo>
                    <a:pt x="2268754" y="980203"/>
                  </a:lnTo>
                  <a:lnTo>
                    <a:pt x="2277462" y="934023"/>
                  </a:lnTo>
                  <a:lnTo>
                    <a:pt x="2284305" y="887212"/>
                  </a:lnTo>
                  <a:lnTo>
                    <a:pt x="2289241" y="839808"/>
                  </a:lnTo>
                  <a:lnTo>
                    <a:pt x="2292233" y="791852"/>
                  </a:lnTo>
                  <a:lnTo>
                    <a:pt x="2293238" y="743382"/>
                  </a:lnTo>
                  <a:lnTo>
                    <a:pt x="2292233" y="694913"/>
                  </a:lnTo>
                  <a:lnTo>
                    <a:pt x="2289241" y="646957"/>
                  </a:lnTo>
                  <a:lnTo>
                    <a:pt x="2284305" y="599553"/>
                  </a:lnTo>
                  <a:lnTo>
                    <a:pt x="2277462" y="552741"/>
                  </a:lnTo>
                  <a:lnTo>
                    <a:pt x="2268754" y="506562"/>
                  </a:lnTo>
                  <a:lnTo>
                    <a:pt x="2258220" y="461055"/>
                  </a:lnTo>
                  <a:lnTo>
                    <a:pt x="2245899" y="416259"/>
                  </a:lnTo>
                  <a:lnTo>
                    <a:pt x="2231832" y="372215"/>
                  </a:lnTo>
                  <a:lnTo>
                    <a:pt x="2216058" y="328963"/>
                  </a:lnTo>
                  <a:lnTo>
                    <a:pt x="2198617" y="286541"/>
                  </a:lnTo>
                  <a:lnTo>
                    <a:pt x="2179549" y="244991"/>
                  </a:lnTo>
                  <a:lnTo>
                    <a:pt x="2158894" y="204351"/>
                  </a:lnTo>
                  <a:lnTo>
                    <a:pt x="2136691" y="164662"/>
                  </a:lnTo>
                  <a:lnTo>
                    <a:pt x="2112981" y="125963"/>
                  </a:lnTo>
                  <a:lnTo>
                    <a:pt x="2087802" y="88294"/>
                  </a:lnTo>
                  <a:lnTo>
                    <a:pt x="2061196" y="51695"/>
                  </a:lnTo>
                  <a:lnTo>
                    <a:pt x="2033201" y="16206"/>
                  </a:lnTo>
                  <a:lnTo>
                    <a:pt x="2019352" y="0"/>
                  </a:lnTo>
                  <a:close/>
                </a:path>
              </a:pathLst>
            </a:custGeom>
            <a:solidFill>
              <a:srgbClr val="00A79D">
                <a:alpha val="23999"/>
              </a:srgbClr>
            </a:solidFill>
          </p:spPr>
          <p:txBody>
            <a:bodyPr wrap="square" lIns="0" tIns="0" rIns="0" bIns="0" rtlCol="0"/>
            <a:lstStyle/>
            <a:p>
              <a:endParaRPr/>
            </a:p>
          </p:txBody>
        </p:sp>
        <p:sp>
          <p:nvSpPr>
            <p:cNvPr id="10" name="object 6">
              <a:extLst>
                <a:ext uri="{FF2B5EF4-FFF2-40B4-BE49-F238E27FC236}">
                  <a16:creationId xmlns:a16="http://schemas.microsoft.com/office/drawing/2014/main" id="{E9FF9299-C740-B26B-8D45-170AAA2348AC}"/>
                </a:ext>
              </a:extLst>
            </p:cNvPr>
            <p:cNvSpPr/>
            <p:nvPr/>
          </p:nvSpPr>
          <p:spPr>
            <a:xfrm>
              <a:off x="9598" y="0"/>
              <a:ext cx="1638204" cy="1011138"/>
            </a:xfrm>
            <a:custGeom>
              <a:avLst/>
              <a:gdLst/>
              <a:ahLst/>
              <a:cxnLst/>
              <a:rect l="l" t="t" r="r" b="b"/>
              <a:pathLst>
                <a:path w="1806575" h="1115060">
                  <a:moveTo>
                    <a:pt x="1806575" y="0"/>
                  </a:moveTo>
                  <a:lnTo>
                    <a:pt x="0" y="0"/>
                  </a:lnTo>
                  <a:lnTo>
                    <a:pt x="0" y="905315"/>
                  </a:lnTo>
                  <a:lnTo>
                    <a:pt x="43197" y="934512"/>
                  </a:lnTo>
                  <a:lnTo>
                    <a:pt x="81896" y="958223"/>
                  </a:lnTo>
                  <a:lnTo>
                    <a:pt x="121585" y="980426"/>
                  </a:lnTo>
                  <a:lnTo>
                    <a:pt x="162225" y="1001081"/>
                  </a:lnTo>
                  <a:lnTo>
                    <a:pt x="203776" y="1020149"/>
                  </a:lnTo>
                  <a:lnTo>
                    <a:pt x="246197" y="1037590"/>
                  </a:lnTo>
                  <a:lnTo>
                    <a:pt x="289450" y="1053363"/>
                  </a:lnTo>
                  <a:lnTo>
                    <a:pt x="333494" y="1067431"/>
                  </a:lnTo>
                  <a:lnTo>
                    <a:pt x="378289" y="1079751"/>
                  </a:lnTo>
                  <a:lnTo>
                    <a:pt x="423796" y="1090286"/>
                  </a:lnTo>
                  <a:lnTo>
                    <a:pt x="469976" y="1098994"/>
                  </a:lnTo>
                  <a:lnTo>
                    <a:pt x="516787" y="1105836"/>
                  </a:lnTo>
                  <a:lnTo>
                    <a:pt x="564191" y="1110773"/>
                  </a:lnTo>
                  <a:lnTo>
                    <a:pt x="612147" y="1113764"/>
                  </a:lnTo>
                  <a:lnTo>
                    <a:pt x="660617" y="1114770"/>
                  </a:lnTo>
                  <a:lnTo>
                    <a:pt x="709086" y="1113764"/>
                  </a:lnTo>
                  <a:lnTo>
                    <a:pt x="757042" y="1110773"/>
                  </a:lnTo>
                  <a:lnTo>
                    <a:pt x="804446" y="1105836"/>
                  </a:lnTo>
                  <a:lnTo>
                    <a:pt x="851258" y="1098994"/>
                  </a:lnTo>
                  <a:lnTo>
                    <a:pt x="897437" y="1090286"/>
                  </a:lnTo>
                  <a:lnTo>
                    <a:pt x="942944" y="1079751"/>
                  </a:lnTo>
                  <a:lnTo>
                    <a:pt x="987740" y="1067431"/>
                  </a:lnTo>
                  <a:lnTo>
                    <a:pt x="1031784" y="1053363"/>
                  </a:lnTo>
                  <a:lnTo>
                    <a:pt x="1075036" y="1037590"/>
                  </a:lnTo>
                  <a:lnTo>
                    <a:pt x="1117458" y="1020149"/>
                  </a:lnTo>
                  <a:lnTo>
                    <a:pt x="1159008" y="1001081"/>
                  </a:lnTo>
                  <a:lnTo>
                    <a:pt x="1199648" y="980426"/>
                  </a:lnTo>
                  <a:lnTo>
                    <a:pt x="1239337" y="958223"/>
                  </a:lnTo>
                  <a:lnTo>
                    <a:pt x="1278036" y="934512"/>
                  </a:lnTo>
                  <a:lnTo>
                    <a:pt x="1315705" y="909334"/>
                  </a:lnTo>
                  <a:lnTo>
                    <a:pt x="1352304" y="882728"/>
                  </a:lnTo>
                  <a:lnTo>
                    <a:pt x="1387793" y="854733"/>
                  </a:lnTo>
                  <a:lnTo>
                    <a:pt x="1422132" y="825389"/>
                  </a:lnTo>
                  <a:lnTo>
                    <a:pt x="1455282" y="794737"/>
                  </a:lnTo>
                  <a:lnTo>
                    <a:pt x="1487203" y="762816"/>
                  </a:lnTo>
                  <a:lnTo>
                    <a:pt x="1517855" y="729666"/>
                  </a:lnTo>
                  <a:lnTo>
                    <a:pt x="1547199" y="695327"/>
                  </a:lnTo>
                  <a:lnTo>
                    <a:pt x="1575194" y="659838"/>
                  </a:lnTo>
                  <a:lnTo>
                    <a:pt x="1601800" y="623239"/>
                  </a:lnTo>
                  <a:lnTo>
                    <a:pt x="1626978" y="585570"/>
                  </a:lnTo>
                  <a:lnTo>
                    <a:pt x="1650689" y="546871"/>
                  </a:lnTo>
                  <a:lnTo>
                    <a:pt x="1672892" y="507182"/>
                  </a:lnTo>
                  <a:lnTo>
                    <a:pt x="1693547" y="466542"/>
                  </a:lnTo>
                  <a:lnTo>
                    <a:pt x="1712615" y="424992"/>
                  </a:lnTo>
                  <a:lnTo>
                    <a:pt x="1730056" y="382570"/>
                  </a:lnTo>
                  <a:lnTo>
                    <a:pt x="1745829" y="339318"/>
                  </a:lnTo>
                  <a:lnTo>
                    <a:pt x="1759897" y="295274"/>
                  </a:lnTo>
                  <a:lnTo>
                    <a:pt x="1772217" y="250478"/>
                  </a:lnTo>
                  <a:lnTo>
                    <a:pt x="1782752" y="204971"/>
                  </a:lnTo>
                  <a:lnTo>
                    <a:pt x="1791460" y="158792"/>
                  </a:lnTo>
                  <a:lnTo>
                    <a:pt x="1798302" y="111980"/>
                  </a:lnTo>
                  <a:lnTo>
                    <a:pt x="1803239" y="64576"/>
                  </a:lnTo>
                  <a:lnTo>
                    <a:pt x="1806230" y="16620"/>
                  </a:lnTo>
                  <a:lnTo>
                    <a:pt x="1806575" y="0"/>
                  </a:lnTo>
                  <a:close/>
                </a:path>
              </a:pathLst>
            </a:custGeom>
            <a:solidFill>
              <a:srgbClr val="00A79D">
                <a:alpha val="23999"/>
              </a:srgbClr>
            </a:solidFill>
          </p:spPr>
          <p:txBody>
            <a:bodyPr wrap="square" lIns="0" tIns="0" rIns="0" bIns="0" rtlCol="0"/>
            <a:lstStyle/>
            <a:p>
              <a:endParaRPr/>
            </a:p>
          </p:txBody>
        </p:sp>
        <p:sp>
          <p:nvSpPr>
            <p:cNvPr id="11" name="object 7">
              <a:extLst>
                <a:ext uri="{FF2B5EF4-FFF2-40B4-BE49-F238E27FC236}">
                  <a16:creationId xmlns:a16="http://schemas.microsoft.com/office/drawing/2014/main" id="{2B962E37-FE51-2FC3-86B1-3D569395D98C}"/>
                </a:ext>
              </a:extLst>
            </p:cNvPr>
            <p:cNvSpPr/>
            <p:nvPr/>
          </p:nvSpPr>
          <p:spPr>
            <a:xfrm>
              <a:off x="1974763" y="1"/>
              <a:ext cx="1240889" cy="301153"/>
            </a:xfrm>
            <a:custGeom>
              <a:avLst/>
              <a:gdLst/>
              <a:ahLst/>
              <a:cxnLst/>
              <a:rect l="l" t="t" r="r" b="b"/>
              <a:pathLst>
                <a:path w="1368425" h="332105">
                  <a:moveTo>
                    <a:pt x="1367940" y="0"/>
                  </a:moveTo>
                  <a:lnTo>
                    <a:pt x="0" y="0"/>
                  </a:lnTo>
                  <a:lnTo>
                    <a:pt x="8314" y="10755"/>
                  </a:lnTo>
                  <a:lnTo>
                    <a:pt x="37356" y="44607"/>
                  </a:lnTo>
                  <a:lnTo>
                    <a:pt x="68067" y="76923"/>
                  </a:lnTo>
                  <a:lnTo>
                    <a:pt x="100383" y="107634"/>
                  </a:lnTo>
                  <a:lnTo>
                    <a:pt x="134235" y="136676"/>
                  </a:lnTo>
                  <a:lnTo>
                    <a:pt x="169558" y="163982"/>
                  </a:lnTo>
                  <a:lnTo>
                    <a:pt x="206285" y="189484"/>
                  </a:lnTo>
                  <a:lnTo>
                    <a:pt x="244350" y="213118"/>
                  </a:lnTo>
                  <a:lnTo>
                    <a:pt x="283687" y="234816"/>
                  </a:lnTo>
                  <a:lnTo>
                    <a:pt x="324228" y="254512"/>
                  </a:lnTo>
                  <a:lnTo>
                    <a:pt x="365908" y="272139"/>
                  </a:lnTo>
                  <a:lnTo>
                    <a:pt x="408661" y="287632"/>
                  </a:lnTo>
                  <a:lnTo>
                    <a:pt x="452418" y="300924"/>
                  </a:lnTo>
                  <a:lnTo>
                    <a:pt x="497116" y="311947"/>
                  </a:lnTo>
                  <a:lnTo>
                    <a:pt x="542686" y="320637"/>
                  </a:lnTo>
                  <a:lnTo>
                    <a:pt x="589063" y="326926"/>
                  </a:lnTo>
                  <a:lnTo>
                    <a:pt x="636179" y="330748"/>
                  </a:lnTo>
                  <a:lnTo>
                    <a:pt x="683970" y="332037"/>
                  </a:lnTo>
                  <a:lnTo>
                    <a:pt x="731760" y="330748"/>
                  </a:lnTo>
                  <a:lnTo>
                    <a:pt x="778877" y="326926"/>
                  </a:lnTo>
                  <a:lnTo>
                    <a:pt x="825253" y="320637"/>
                  </a:lnTo>
                  <a:lnTo>
                    <a:pt x="870824" y="311947"/>
                  </a:lnTo>
                  <a:lnTo>
                    <a:pt x="915521" y="300924"/>
                  </a:lnTo>
                  <a:lnTo>
                    <a:pt x="959279" y="287632"/>
                  </a:lnTo>
                  <a:lnTo>
                    <a:pt x="1002031" y="272139"/>
                  </a:lnTo>
                  <a:lnTo>
                    <a:pt x="1043711" y="254512"/>
                  </a:lnTo>
                  <a:lnTo>
                    <a:pt x="1084253" y="234816"/>
                  </a:lnTo>
                  <a:lnTo>
                    <a:pt x="1123589" y="213118"/>
                  </a:lnTo>
                  <a:lnTo>
                    <a:pt x="1161654" y="189484"/>
                  </a:lnTo>
                  <a:lnTo>
                    <a:pt x="1198381" y="163982"/>
                  </a:lnTo>
                  <a:lnTo>
                    <a:pt x="1233704" y="136676"/>
                  </a:lnTo>
                  <a:lnTo>
                    <a:pt x="1267557" y="107634"/>
                  </a:lnTo>
                  <a:lnTo>
                    <a:pt x="1299872" y="76923"/>
                  </a:lnTo>
                  <a:lnTo>
                    <a:pt x="1330584" y="44607"/>
                  </a:lnTo>
                  <a:lnTo>
                    <a:pt x="1359626" y="10755"/>
                  </a:lnTo>
                  <a:lnTo>
                    <a:pt x="1367940" y="0"/>
                  </a:lnTo>
                  <a:close/>
                </a:path>
              </a:pathLst>
            </a:custGeom>
            <a:solidFill>
              <a:srgbClr val="00A79D">
                <a:alpha val="23999"/>
              </a:srgbClr>
            </a:solidFill>
          </p:spPr>
          <p:txBody>
            <a:bodyPr wrap="square" lIns="0" tIns="0" rIns="0" bIns="0" rtlCol="0"/>
            <a:lstStyle/>
            <a:p>
              <a:endParaRPr/>
            </a:p>
          </p:txBody>
        </p:sp>
        <p:sp>
          <p:nvSpPr>
            <p:cNvPr id="12" name="object 8">
              <a:extLst>
                <a:ext uri="{FF2B5EF4-FFF2-40B4-BE49-F238E27FC236}">
                  <a16:creationId xmlns:a16="http://schemas.microsoft.com/office/drawing/2014/main" id="{9B2A4857-919E-A8C5-E6FC-67973FDB4AF1}"/>
                </a:ext>
              </a:extLst>
            </p:cNvPr>
            <p:cNvSpPr/>
            <p:nvPr/>
          </p:nvSpPr>
          <p:spPr>
            <a:xfrm>
              <a:off x="2346635" y="488381"/>
              <a:ext cx="726683" cy="726683"/>
            </a:xfrm>
            <a:custGeom>
              <a:avLst/>
              <a:gdLst/>
              <a:ahLst/>
              <a:cxnLst/>
              <a:rect l="l" t="t" r="r" b="b"/>
              <a:pathLst>
                <a:path w="801370" h="801369">
                  <a:moveTo>
                    <a:pt x="400672" y="0"/>
                  </a:moveTo>
                  <a:lnTo>
                    <a:pt x="353945" y="2695"/>
                  </a:lnTo>
                  <a:lnTo>
                    <a:pt x="308801" y="10582"/>
                  </a:lnTo>
                  <a:lnTo>
                    <a:pt x="265542" y="23358"/>
                  </a:lnTo>
                  <a:lnTo>
                    <a:pt x="224466" y="40724"/>
                  </a:lnTo>
                  <a:lnTo>
                    <a:pt x="185876" y="62379"/>
                  </a:lnTo>
                  <a:lnTo>
                    <a:pt x="150072" y="88023"/>
                  </a:lnTo>
                  <a:lnTo>
                    <a:pt x="117354" y="117354"/>
                  </a:lnTo>
                  <a:lnTo>
                    <a:pt x="88023" y="150072"/>
                  </a:lnTo>
                  <a:lnTo>
                    <a:pt x="62379" y="185876"/>
                  </a:lnTo>
                  <a:lnTo>
                    <a:pt x="40724" y="224466"/>
                  </a:lnTo>
                  <a:lnTo>
                    <a:pt x="23358" y="265542"/>
                  </a:lnTo>
                  <a:lnTo>
                    <a:pt x="10582" y="308801"/>
                  </a:lnTo>
                  <a:lnTo>
                    <a:pt x="2695" y="353945"/>
                  </a:lnTo>
                  <a:lnTo>
                    <a:pt x="0" y="400672"/>
                  </a:lnTo>
                  <a:lnTo>
                    <a:pt x="2695" y="447396"/>
                  </a:lnTo>
                  <a:lnTo>
                    <a:pt x="10582" y="492537"/>
                  </a:lnTo>
                  <a:lnTo>
                    <a:pt x="23358" y="535795"/>
                  </a:lnTo>
                  <a:lnTo>
                    <a:pt x="40724" y="576869"/>
                  </a:lnTo>
                  <a:lnTo>
                    <a:pt x="62379" y="615458"/>
                  </a:lnTo>
                  <a:lnTo>
                    <a:pt x="88023" y="651261"/>
                  </a:lnTo>
                  <a:lnTo>
                    <a:pt x="117354" y="683979"/>
                  </a:lnTo>
                  <a:lnTo>
                    <a:pt x="150072" y="713309"/>
                  </a:lnTo>
                  <a:lnTo>
                    <a:pt x="185876" y="738952"/>
                  </a:lnTo>
                  <a:lnTo>
                    <a:pt x="224466" y="760607"/>
                  </a:lnTo>
                  <a:lnTo>
                    <a:pt x="265542" y="777973"/>
                  </a:lnTo>
                  <a:lnTo>
                    <a:pt x="308801" y="790749"/>
                  </a:lnTo>
                  <a:lnTo>
                    <a:pt x="353945" y="798636"/>
                  </a:lnTo>
                  <a:lnTo>
                    <a:pt x="400672" y="801331"/>
                  </a:lnTo>
                  <a:lnTo>
                    <a:pt x="447399" y="798636"/>
                  </a:lnTo>
                  <a:lnTo>
                    <a:pt x="492542" y="790749"/>
                  </a:lnTo>
                  <a:lnTo>
                    <a:pt x="535802" y="777973"/>
                  </a:lnTo>
                  <a:lnTo>
                    <a:pt x="576877" y="760607"/>
                  </a:lnTo>
                  <a:lnTo>
                    <a:pt x="615467" y="738952"/>
                  </a:lnTo>
                  <a:lnTo>
                    <a:pt x="651272" y="713309"/>
                  </a:lnTo>
                  <a:lnTo>
                    <a:pt x="683990" y="683979"/>
                  </a:lnTo>
                  <a:lnTo>
                    <a:pt x="713321" y="651261"/>
                  </a:lnTo>
                  <a:lnTo>
                    <a:pt x="738964" y="615458"/>
                  </a:lnTo>
                  <a:lnTo>
                    <a:pt x="760619" y="576869"/>
                  </a:lnTo>
                  <a:lnTo>
                    <a:pt x="777985" y="535795"/>
                  </a:lnTo>
                  <a:lnTo>
                    <a:pt x="790762" y="492537"/>
                  </a:lnTo>
                  <a:lnTo>
                    <a:pt x="798648" y="447396"/>
                  </a:lnTo>
                  <a:lnTo>
                    <a:pt x="801344" y="400672"/>
                  </a:lnTo>
                  <a:lnTo>
                    <a:pt x="798648" y="353945"/>
                  </a:lnTo>
                  <a:lnTo>
                    <a:pt x="790762" y="308801"/>
                  </a:lnTo>
                  <a:lnTo>
                    <a:pt x="777985" y="265542"/>
                  </a:lnTo>
                  <a:lnTo>
                    <a:pt x="760619" y="224466"/>
                  </a:lnTo>
                  <a:lnTo>
                    <a:pt x="738964" y="185876"/>
                  </a:lnTo>
                  <a:lnTo>
                    <a:pt x="713321" y="150072"/>
                  </a:lnTo>
                  <a:lnTo>
                    <a:pt x="683990" y="117354"/>
                  </a:lnTo>
                  <a:lnTo>
                    <a:pt x="651272" y="88023"/>
                  </a:lnTo>
                  <a:lnTo>
                    <a:pt x="615467" y="62379"/>
                  </a:lnTo>
                  <a:lnTo>
                    <a:pt x="576877" y="40724"/>
                  </a:lnTo>
                  <a:lnTo>
                    <a:pt x="535802" y="23358"/>
                  </a:lnTo>
                  <a:lnTo>
                    <a:pt x="492542" y="10582"/>
                  </a:lnTo>
                  <a:lnTo>
                    <a:pt x="447399" y="2695"/>
                  </a:lnTo>
                  <a:lnTo>
                    <a:pt x="400672" y="0"/>
                  </a:lnTo>
                  <a:close/>
                </a:path>
              </a:pathLst>
            </a:custGeom>
            <a:solidFill>
              <a:srgbClr val="00A79D">
                <a:alpha val="23999"/>
              </a:srgbClr>
            </a:solidFill>
          </p:spPr>
          <p:txBody>
            <a:bodyPr wrap="square" lIns="0" tIns="0" rIns="0" bIns="0" rtlCol="0"/>
            <a:lstStyle/>
            <a:p>
              <a:endParaRPr/>
            </a:p>
          </p:txBody>
        </p:sp>
      </p:grpSp>
      <p:sp>
        <p:nvSpPr>
          <p:cNvPr id="3" name="Text Placeholder 2">
            <a:extLst>
              <a:ext uri="{FF2B5EF4-FFF2-40B4-BE49-F238E27FC236}">
                <a16:creationId xmlns:a16="http://schemas.microsoft.com/office/drawing/2014/main" id="{5ADC4885-E653-9F9B-1C72-2AA34FCB44D8}"/>
              </a:ext>
            </a:extLst>
          </p:cNvPr>
          <p:cNvSpPr>
            <a:spLocks noGrp="1"/>
          </p:cNvSpPr>
          <p:nvPr userDrawn="1">
            <p:ph type="body" idx="1"/>
          </p:nvPr>
        </p:nvSpPr>
        <p:spPr>
          <a:xfrm>
            <a:off x="735724" y="1521898"/>
            <a:ext cx="4351283" cy="3692301"/>
          </a:xfrm>
          <a:prstGeom prst="rect">
            <a:avLst/>
          </a:prstGeom>
        </p:spPr>
        <p:txBody>
          <a:bodyPr>
            <a:normAutofit/>
          </a:bodyPr>
          <a:lstStyle>
            <a:lvl1pPr marL="0" indent="0" algn="l">
              <a:buNone/>
              <a:defRPr sz="3200">
                <a:solidFill>
                  <a:schemeClr val="bg1"/>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5" name="Picture Placeholder 2">
            <a:extLst>
              <a:ext uri="{FF2B5EF4-FFF2-40B4-BE49-F238E27FC236}">
                <a16:creationId xmlns:a16="http://schemas.microsoft.com/office/drawing/2014/main" id="{E6294C19-5D10-1A71-B204-31C0C2A5477A}"/>
              </a:ext>
            </a:extLst>
          </p:cNvPr>
          <p:cNvSpPr>
            <a:spLocks noGrp="1"/>
          </p:cNvSpPr>
          <p:nvPr>
            <p:ph type="pic" idx="10"/>
          </p:nvPr>
        </p:nvSpPr>
        <p:spPr>
          <a:xfrm>
            <a:off x="6169931" y="-897413"/>
            <a:ext cx="7293907" cy="7195979"/>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GB" dirty="0"/>
          </a:p>
        </p:txBody>
      </p:sp>
    </p:spTree>
    <p:extLst>
      <p:ext uri="{BB962C8B-B14F-4D97-AF65-F5344CB8AC3E}">
        <p14:creationId xmlns:p14="http://schemas.microsoft.com/office/powerpoint/2010/main" val="23026789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Divider - Neon">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2D00DCAC-C40F-C3B9-F022-BCEE66A66A0B}"/>
              </a:ext>
            </a:extLst>
          </p:cNvPr>
          <p:cNvSpPr/>
          <p:nvPr userDrawn="1"/>
        </p:nvSpPr>
        <p:spPr>
          <a:xfrm>
            <a:off x="0" y="-4957"/>
            <a:ext cx="12197847" cy="6908925"/>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chemeClr val="tx2"/>
          </a:solidFill>
          <a:ln>
            <a:solidFill>
              <a:schemeClr val="tx2"/>
            </a:solidFill>
          </a:ln>
        </p:spPr>
        <p:txBody>
          <a:bodyPr wrap="square" lIns="0" tIns="0" rIns="0" bIns="0" rtlCol="0"/>
          <a:lstStyle/>
          <a:p>
            <a:endParaRPr sz="2000" dirty="0"/>
          </a:p>
        </p:txBody>
      </p:sp>
      <p:sp>
        <p:nvSpPr>
          <p:cNvPr id="33" name="object 13">
            <a:extLst>
              <a:ext uri="{FF2B5EF4-FFF2-40B4-BE49-F238E27FC236}">
                <a16:creationId xmlns:a16="http://schemas.microsoft.com/office/drawing/2014/main" id="{A0C82D7B-43A0-E7DA-A947-D2D94D26026C}"/>
              </a:ext>
            </a:extLst>
          </p:cNvPr>
          <p:cNvSpPr/>
          <p:nvPr/>
        </p:nvSpPr>
        <p:spPr>
          <a:xfrm rot="10800000">
            <a:off x="11287374" y="7555196"/>
            <a:ext cx="371988" cy="386441"/>
          </a:xfrm>
          <a:custGeom>
            <a:avLst/>
            <a:gdLst/>
            <a:ahLst/>
            <a:cxnLst/>
            <a:rect l="l" t="t" r="r" b="b"/>
            <a:pathLst>
              <a:path w="382905" h="388619">
                <a:moveTo>
                  <a:pt x="191198" y="0"/>
                </a:moveTo>
                <a:lnTo>
                  <a:pt x="147361" y="5131"/>
                </a:lnTo>
                <a:lnTo>
                  <a:pt x="107117" y="19747"/>
                </a:lnTo>
                <a:lnTo>
                  <a:pt x="71617" y="42682"/>
                </a:lnTo>
                <a:lnTo>
                  <a:pt x="42006" y="72771"/>
                </a:lnTo>
                <a:lnTo>
                  <a:pt x="19435" y="108846"/>
                </a:lnTo>
                <a:lnTo>
                  <a:pt x="5050" y="149744"/>
                </a:lnTo>
                <a:lnTo>
                  <a:pt x="0" y="194297"/>
                </a:lnTo>
                <a:lnTo>
                  <a:pt x="5050" y="238850"/>
                </a:lnTo>
                <a:lnTo>
                  <a:pt x="19435" y="279750"/>
                </a:lnTo>
                <a:lnTo>
                  <a:pt x="42006" y="315828"/>
                </a:lnTo>
                <a:lnTo>
                  <a:pt x="71617" y="345919"/>
                </a:lnTo>
                <a:lnTo>
                  <a:pt x="107117" y="368857"/>
                </a:lnTo>
                <a:lnTo>
                  <a:pt x="147361" y="383475"/>
                </a:lnTo>
                <a:lnTo>
                  <a:pt x="191198" y="388607"/>
                </a:lnTo>
                <a:lnTo>
                  <a:pt x="235039" y="383475"/>
                </a:lnTo>
                <a:lnTo>
                  <a:pt x="275284" y="368857"/>
                </a:lnTo>
                <a:lnTo>
                  <a:pt x="310785" y="345919"/>
                </a:lnTo>
                <a:lnTo>
                  <a:pt x="340394" y="315828"/>
                </a:lnTo>
                <a:lnTo>
                  <a:pt x="362964" y="279750"/>
                </a:lnTo>
                <a:lnTo>
                  <a:pt x="377347" y="238850"/>
                </a:lnTo>
                <a:lnTo>
                  <a:pt x="382397" y="194297"/>
                </a:lnTo>
                <a:lnTo>
                  <a:pt x="377347" y="149744"/>
                </a:lnTo>
                <a:lnTo>
                  <a:pt x="362964" y="108846"/>
                </a:lnTo>
                <a:lnTo>
                  <a:pt x="340394" y="72771"/>
                </a:lnTo>
                <a:lnTo>
                  <a:pt x="310785" y="42682"/>
                </a:lnTo>
                <a:lnTo>
                  <a:pt x="275284" y="19747"/>
                </a:lnTo>
                <a:lnTo>
                  <a:pt x="235039" y="5131"/>
                </a:lnTo>
                <a:lnTo>
                  <a:pt x="191198" y="0"/>
                </a:lnTo>
                <a:close/>
              </a:path>
            </a:pathLst>
          </a:custGeom>
          <a:solidFill>
            <a:srgbClr val="0E5C77">
              <a:alpha val="19999"/>
            </a:srgbClr>
          </a:solidFill>
        </p:spPr>
        <p:txBody>
          <a:bodyPr wrap="square" lIns="0" tIns="0" rIns="0" bIns="0" rtlCol="0"/>
          <a:lstStyle/>
          <a:p>
            <a:endParaRPr/>
          </a:p>
        </p:txBody>
      </p:sp>
      <p:sp>
        <p:nvSpPr>
          <p:cNvPr id="34" name="object 14">
            <a:extLst>
              <a:ext uri="{FF2B5EF4-FFF2-40B4-BE49-F238E27FC236}">
                <a16:creationId xmlns:a16="http://schemas.microsoft.com/office/drawing/2014/main" id="{BA238379-38B4-1ED0-2EBC-33F28CE277AE}"/>
              </a:ext>
            </a:extLst>
          </p:cNvPr>
          <p:cNvSpPr/>
          <p:nvPr/>
        </p:nvSpPr>
        <p:spPr>
          <a:xfrm rot="10800000">
            <a:off x="11127502" y="7012374"/>
            <a:ext cx="313382" cy="325822"/>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grpSp>
        <p:nvGrpSpPr>
          <p:cNvPr id="5" name="object 41">
            <a:extLst>
              <a:ext uri="{FF2B5EF4-FFF2-40B4-BE49-F238E27FC236}">
                <a16:creationId xmlns:a16="http://schemas.microsoft.com/office/drawing/2014/main" id="{957BDDD7-B931-B769-D505-43BF2BAE0273}"/>
              </a:ext>
            </a:extLst>
          </p:cNvPr>
          <p:cNvGrpSpPr/>
          <p:nvPr userDrawn="1"/>
        </p:nvGrpSpPr>
        <p:grpSpPr>
          <a:xfrm>
            <a:off x="10681097" y="5820975"/>
            <a:ext cx="651156" cy="708550"/>
            <a:chOff x="5598848" y="1620229"/>
            <a:chExt cx="2190115" cy="2383155"/>
          </a:xfrm>
        </p:grpSpPr>
        <p:pic>
          <p:nvPicPr>
            <p:cNvPr id="6" name="object 42">
              <a:extLst>
                <a:ext uri="{FF2B5EF4-FFF2-40B4-BE49-F238E27FC236}">
                  <a16:creationId xmlns:a16="http://schemas.microsoft.com/office/drawing/2014/main" id="{B0316D10-AB7F-7247-2309-FF6E189194BC}"/>
                </a:ext>
              </a:extLst>
            </p:cNvPr>
            <p:cNvPicPr/>
            <p:nvPr/>
          </p:nvPicPr>
          <p:blipFill>
            <a:blip r:embed="rId2" cstate="print"/>
            <a:stretch>
              <a:fillRect/>
            </a:stretch>
          </p:blipFill>
          <p:spPr>
            <a:xfrm>
              <a:off x="7161630" y="1899091"/>
              <a:ext cx="113817" cy="115671"/>
            </a:xfrm>
            <a:prstGeom prst="rect">
              <a:avLst/>
            </a:prstGeom>
          </p:spPr>
        </p:pic>
        <p:pic>
          <p:nvPicPr>
            <p:cNvPr id="7" name="object 43">
              <a:extLst>
                <a:ext uri="{FF2B5EF4-FFF2-40B4-BE49-F238E27FC236}">
                  <a16:creationId xmlns:a16="http://schemas.microsoft.com/office/drawing/2014/main" id="{74F3DB94-6083-9227-318F-D47A76A048F2}"/>
                </a:ext>
              </a:extLst>
            </p:cNvPr>
            <p:cNvPicPr/>
            <p:nvPr/>
          </p:nvPicPr>
          <p:blipFill>
            <a:blip r:embed="rId3" cstate="print"/>
            <a:stretch>
              <a:fillRect/>
            </a:stretch>
          </p:blipFill>
          <p:spPr>
            <a:xfrm>
              <a:off x="5598848" y="1620229"/>
              <a:ext cx="2189904" cy="2382902"/>
            </a:xfrm>
            <a:prstGeom prst="rect">
              <a:avLst/>
            </a:prstGeom>
          </p:spPr>
        </p:pic>
        <p:pic>
          <p:nvPicPr>
            <p:cNvPr id="13" name="object 44">
              <a:extLst>
                <a:ext uri="{FF2B5EF4-FFF2-40B4-BE49-F238E27FC236}">
                  <a16:creationId xmlns:a16="http://schemas.microsoft.com/office/drawing/2014/main" id="{58167220-AAA0-C719-AE15-32888A8561F8}"/>
                </a:ext>
              </a:extLst>
            </p:cNvPr>
            <p:cNvPicPr/>
            <p:nvPr/>
          </p:nvPicPr>
          <p:blipFill>
            <a:blip r:embed="rId4" cstate="print"/>
            <a:stretch>
              <a:fillRect/>
            </a:stretch>
          </p:blipFill>
          <p:spPr>
            <a:xfrm>
              <a:off x="6871611" y="1669224"/>
              <a:ext cx="175945" cy="178803"/>
            </a:xfrm>
            <a:prstGeom prst="rect">
              <a:avLst/>
            </a:prstGeom>
          </p:spPr>
        </p:pic>
      </p:grpSp>
      <p:grpSp>
        <p:nvGrpSpPr>
          <p:cNvPr id="20" name="Group 19">
            <a:extLst>
              <a:ext uri="{FF2B5EF4-FFF2-40B4-BE49-F238E27FC236}">
                <a16:creationId xmlns:a16="http://schemas.microsoft.com/office/drawing/2014/main" id="{BA38F56F-30C0-B8AE-9A2D-75D458292098}"/>
              </a:ext>
            </a:extLst>
          </p:cNvPr>
          <p:cNvGrpSpPr/>
          <p:nvPr userDrawn="1"/>
        </p:nvGrpSpPr>
        <p:grpSpPr>
          <a:xfrm>
            <a:off x="6109850" y="-1"/>
            <a:ext cx="6097260" cy="1857721"/>
            <a:chOff x="6613002" y="0"/>
            <a:chExt cx="5573326" cy="1698088"/>
          </a:xfrm>
        </p:grpSpPr>
        <p:sp>
          <p:nvSpPr>
            <p:cNvPr id="21" name="object 3">
              <a:extLst>
                <a:ext uri="{FF2B5EF4-FFF2-40B4-BE49-F238E27FC236}">
                  <a16:creationId xmlns:a16="http://schemas.microsoft.com/office/drawing/2014/main" id="{17BFCD84-F3D5-2D67-1EF1-6EA656954F92}"/>
                </a:ext>
              </a:extLst>
            </p:cNvPr>
            <p:cNvSpPr/>
            <p:nvPr/>
          </p:nvSpPr>
          <p:spPr>
            <a:xfrm>
              <a:off x="7850787" y="1099048"/>
              <a:ext cx="456048" cy="456048"/>
            </a:xfrm>
            <a:custGeom>
              <a:avLst/>
              <a:gdLst/>
              <a:ahLst/>
              <a:cxnLst/>
              <a:rect l="l" t="t" r="r" b="b"/>
              <a:pathLst>
                <a:path w="502920" h="502919">
                  <a:moveTo>
                    <a:pt x="251434" y="0"/>
                  </a:moveTo>
                  <a:lnTo>
                    <a:pt x="206239" y="4050"/>
                  </a:lnTo>
                  <a:lnTo>
                    <a:pt x="163701" y="15730"/>
                  </a:lnTo>
                  <a:lnTo>
                    <a:pt x="124531" y="34328"/>
                  </a:lnTo>
                  <a:lnTo>
                    <a:pt x="89439" y="59133"/>
                  </a:lnTo>
                  <a:lnTo>
                    <a:pt x="59134" y="89437"/>
                  </a:lnTo>
                  <a:lnTo>
                    <a:pt x="34328" y="124527"/>
                  </a:lnTo>
                  <a:lnTo>
                    <a:pt x="15730" y="163695"/>
                  </a:lnTo>
                  <a:lnTo>
                    <a:pt x="4051" y="206230"/>
                  </a:lnTo>
                  <a:lnTo>
                    <a:pt x="0" y="251421"/>
                  </a:lnTo>
                  <a:lnTo>
                    <a:pt x="4051" y="296617"/>
                  </a:lnTo>
                  <a:lnTo>
                    <a:pt x="15730" y="339154"/>
                  </a:lnTo>
                  <a:lnTo>
                    <a:pt x="34328" y="378325"/>
                  </a:lnTo>
                  <a:lnTo>
                    <a:pt x="59134" y="413417"/>
                  </a:lnTo>
                  <a:lnTo>
                    <a:pt x="89439" y="443721"/>
                  </a:lnTo>
                  <a:lnTo>
                    <a:pt x="124531" y="468527"/>
                  </a:lnTo>
                  <a:lnTo>
                    <a:pt x="163701" y="487125"/>
                  </a:lnTo>
                  <a:lnTo>
                    <a:pt x="206239" y="498805"/>
                  </a:lnTo>
                  <a:lnTo>
                    <a:pt x="251434" y="502856"/>
                  </a:lnTo>
                  <a:lnTo>
                    <a:pt x="296629" y="498805"/>
                  </a:lnTo>
                  <a:lnTo>
                    <a:pt x="339165" y="487125"/>
                  </a:lnTo>
                  <a:lnTo>
                    <a:pt x="378334" y="468527"/>
                  </a:lnTo>
                  <a:lnTo>
                    <a:pt x="413424" y="443721"/>
                  </a:lnTo>
                  <a:lnTo>
                    <a:pt x="443726" y="413417"/>
                  </a:lnTo>
                  <a:lnTo>
                    <a:pt x="468531" y="378325"/>
                  </a:lnTo>
                  <a:lnTo>
                    <a:pt x="487127" y="339154"/>
                  </a:lnTo>
                  <a:lnTo>
                    <a:pt x="498805" y="296617"/>
                  </a:lnTo>
                  <a:lnTo>
                    <a:pt x="502856" y="251421"/>
                  </a:lnTo>
                  <a:lnTo>
                    <a:pt x="498805" y="206230"/>
                  </a:lnTo>
                  <a:lnTo>
                    <a:pt x="487127" y="163695"/>
                  </a:lnTo>
                  <a:lnTo>
                    <a:pt x="468531" y="124527"/>
                  </a:lnTo>
                  <a:lnTo>
                    <a:pt x="443726" y="89437"/>
                  </a:lnTo>
                  <a:lnTo>
                    <a:pt x="413424" y="59133"/>
                  </a:lnTo>
                  <a:lnTo>
                    <a:pt x="378334" y="34328"/>
                  </a:lnTo>
                  <a:lnTo>
                    <a:pt x="339165" y="15730"/>
                  </a:lnTo>
                  <a:lnTo>
                    <a:pt x="296629" y="4050"/>
                  </a:lnTo>
                  <a:lnTo>
                    <a:pt x="251434" y="0"/>
                  </a:lnTo>
                  <a:close/>
                </a:path>
              </a:pathLst>
            </a:custGeom>
            <a:solidFill>
              <a:srgbClr val="00AFFF">
                <a:alpha val="23999"/>
              </a:srgbClr>
            </a:solidFill>
          </p:spPr>
          <p:txBody>
            <a:bodyPr wrap="square" lIns="0" tIns="0" rIns="0" bIns="0" rtlCol="0"/>
            <a:lstStyle/>
            <a:p>
              <a:endParaRPr/>
            </a:p>
          </p:txBody>
        </p:sp>
        <p:sp>
          <p:nvSpPr>
            <p:cNvPr id="22" name="object 4">
              <a:extLst>
                <a:ext uri="{FF2B5EF4-FFF2-40B4-BE49-F238E27FC236}">
                  <a16:creationId xmlns:a16="http://schemas.microsoft.com/office/drawing/2014/main" id="{DC5B7BD2-C012-045B-C0AE-20165117D00C}"/>
                </a:ext>
              </a:extLst>
            </p:cNvPr>
            <p:cNvSpPr/>
            <p:nvPr/>
          </p:nvSpPr>
          <p:spPr>
            <a:xfrm>
              <a:off x="8748519" y="377061"/>
              <a:ext cx="456048" cy="456048"/>
            </a:xfrm>
            <a:custGeom>
              <a:avLst/>
              <a:gdLst/>
              <a:ahLst/>
              <a:cxnLst/>
              <a:rect l="l" t="t" r="r" b="b"/>
              <a:pathLst>
                <a:path w="502920" h="502919">
                  <a:moveTo>
                    <a:pt x="251434" y="0"/>
                  </a:moveTo>
                  <a:lnTo>
                    <a:pt x="206239" y="4050"/>
                  </a:lnTo>
                  <a:lnTo>
                    <a:pt x="163701" y="15730"/>
                  </a:lnTo>
                  <a:lnTo>
                    <a:pt x="124531" y="34328"/>
                  </a:lnTo>
                  <a:lnTo>
                    <a:pt x="89439" y="59133"/>
                  </a:lnTo>
                  <a:lnTo>
                    <a:pt x="59134" y="89437"/>
                  </a:lnTo>
                  <a:lnTo>
                    <a:pt x="34328" y="124527"/>
                  </a:lnTo>
                  <a:lnTo>
                    <a:pt x="15730" y="163695"/>
                  </a:lnTo>
                  <a:lnTo>
                    <a:pt x="4051" y="206230"/>
                  </a:lnTo>
                  <a:lnTo>
                    <a:pt x="0" y="251421"/>
                  </a:lnTo>
                  <a:lnTo>
                    <a:pt x="4051" y="296617"/>
                  </a:lnTo>
                  <a:lnTo>
                    <a:pt x="15730" y="339154"/>
                  </a:lnTo>
                  <a:lnTo>
                    <a:pt x="34328" y="378325"/>
                  </a:lnTo>
                  <a:lnTo>
                    <a:pt x="59134" y="413417"/>
                  </a:lnTo>
                  <a:lnTo>
                    <a:pt x="89439" y="443721"/>
                  </a:lnTo>
                  <a:lnTo>
                    <a:pt x="124531" y="468527"/>
                  </a:lnTo>
                  <a:lnTo>
                    <a:pt x="163701" y="487125"/>
                  </a:lnTo>
                  <a:lnTo>
                    <a:pt x="206239" y="498805"/>
                  </a:lnTo>
                  <a:lnTo>
                    <a:pt x="251434" y="502856"/>
                  </a:lnTo>
                  <a:lnTo>
                    <a:pt x="296629" y="498805"/>
                  </a:lnTo>
                  <a:lnTo>
                    <a:pt x="339165" y="487125"/>
                  </a:lnTo>
                  <a:lnTo>
                    <a:pt x="378334" y="468527"/>
                  </a:lnTo>
                  <a:lnTo>
                    <a:pt x="413424" y="443721"/>
                  </a:lnTo>
                  <a:lnTo>
                    <a:pt x="443726" y="413417"/>
                  </a:lnTo>
                  <a:lnTo>
                    <a:pt x="468531" y="378325"/>
                  </a:lnTo>
                  <a:lnTo>
                    <a:pt x="487127" y="339154"/>
                  </a:lnTo>
                  <a:lnTo>
                    <a:pt x="498805" y="296617"/>
                  </a:lnTo>
                  <a:lnTo>
                    <a:pt x="502856" y="251421"/>
                  </a:lnTo>
                  <a:lnTo>
                    <a:pt x="498805" y="206230"/>
                  </a:lnTo>
                  <a:lnTo>
                    <a:pt x="487127" y="163695"/>
                  </a:lnTo>
                  <a:lnTo>
                    <a:pt x="468531" y="124527"/>
                  </a:lnTo>
                  <a:lnTo>
                    <a:pt x="443726" y="89437"/>
                  </a:lnTo>
                  <a:lnTo>
                    <a:pt x="413424" y="59133"/>
                  </a:lnTo>
                  <a:lnTo>
                    <a:pt x="378334" y="34328"/>
                  </a:lnTo>
                  <a:lnTo>
                    <a:pt x="339165" y="15730"/>
                  </a:lnTo>
                  <a:lnTo>
                    <a:pt x="296629" y="4050"/>
                  </a:lnTo>
                  <a:lnTo>
                    <a:pt x="251434" y="0"/>
                  </a:lnTo>
                  <a:close/>
                </a:path>
              </a:pathLst>
            </a:custGeom>
            <a:solidFill>
              <a:srgbClr val="00AFFF">
                <a:alpha val="23999"/>
              </a:srgbClr>
            </a:solidFill>
          </p:spPr>
          <p:txBody>
            <a:bodyPr wrap="square" lIns="0" tIns="0" rIns="0" bIns="0" rtlCol="0"/>
            <a:lstStyle/>
            <a:p>
              <a:endParaRPr/>
            </a:p>
          </p:txBody>
        </p:sp>
        <p:sp>
          <p:nvSpPr>
            <p:cNvPr id="23" name="object 5">
              <a:extLst>
                <a:ext uri="{FF2B5EF4-FFF2-40B4-BE49-F238E27FC236}">
                  <a16:creationId xmlns:a16="http://schemas.microsoft.com/office/drawing/2014/main" id="{46C39FBD-DAAB-94DF-35DC-C352F1542076}"/>
                </a:ext>
              </a:extLst>
            </p:cNvPr>
            <p:cNvSpPr/>
            <p:nvPr/>
          </p:nvSpPr>
          <p:spPr>
            <a:xfrm>
              <a:off x="10402442" y="0"/>
              <a:ext cx="1783886" cy="1698088"/>
            </a:xfrm>
            <a:custGeom>
              <a:avLst/>
              <a:gdLst/>
              <a:ahLst/>
              <a:cxnLst/>
              <a:rect l="l" t="t" r="r" b="b"/>
              <a:pathLst>
                <a:path w="1967230" h="1872614">
                  <a:moveTo>
                    <a:pt x="1966964" y="0"/>
                  </a:moveTo>
                  <a:lnTo>
                    <a:pt x="258627" y="0"/>
                  </a:lnTo>
                  <a:lnTo>
                    <a:pt x="232042" y="33701"/>
                  </a:lnTo>
                  <a:lnTo>
                    <a:pt x="205436" y="70300"/>
                  </a:lnTo>
                  <a:lnTo>
                    <a:pt x="180257" y="107969"/>
                  </a:lnTo>
                  <a:lnTo>
                    <a:pt x="156547" y="146667"/>
                  </a:lnTo>
                  <a:lnTo>
                    <a:pt x="134344" y="186357"/>
                  </a:lnTo>
                  <a:lnTo>
                    <a:pt x="113689" y="226996"/>
                  </a:lnTo>
                  <a:lnTo>
                    <a:pt x="94621" y="268547"/>
                  </a:lnTo>
                  <a:lnTo>
                    <a:pt x="77180" y="310968"/>
                  </a:lnTo>
                  <a:lnTo>
                    <a:pt x="61406" y="354221"/>
                  </a:lnTo>
                  <a:lnTo>
                    <a:pt x="47339" y="398265"/>
                  </a:lnTo>
                  <a:lnTo>
                    <a:pt x="35018" y="443061"/>
                  </a:lnTo>
                  <a:lnTo>
                    <a:pt x="24484" y="488568"/>
                  </a:lnTo>
                  <a:lnTo>
                    <a:pt x="15776" y="534747"/>
                  </a:lnTo>
                  <a:lnTo>
                    <a:pt x="8933" y="581559"/>
                  </a:lnTo>
                  <a:lnTo>
                    <a:pt x="3997" y="628963"/>
                  </a:lnTo>
                  <a:lnTo>
                    <a:pt x="1005" y="676919"/>
                  </a:lnTo>
                  <a:lnTo>
                    <a:pt x="0" y="725388"/>
                  </a:lnTo>
                  <a:lnTo>
                    <a:pt x="1005" y="773857"/>
                  </a:lnTo>
                  <a:lnTo>
                    <a:pt x="3997" y="821814"/>
                  </a:lnTo>
                  <a:lnTo>
                    <a:pt x="8933" y="869218"/>
                  </a:lnTo>
                  <a:lnTo>
                    <a:pt x="15776" y="916029"/>
                  </a:lnTo>
                  <a:lnTo>
                    <a:pt x="24484" y="962208"/>
                  </a:lnTo>
                  <a:lnTo>
                    <a:pt x="35018" y="1007716"/>
                  </a:lnTo>
                  <a:lnTo>
                    <a:pt x="47339" y="1052511"/>
                  </a:lnTo>
                  <a:lnTo>
                    <a:pt x="61406" y="1096555"/>
                  </a:lnTo>
                  <a:lnTo>
                    <a:pt x="77180" y="1139808"/>
                  </a:lnTo>
                  <a:lnTo>
                    <a:pt x="94621" y="1182229"/>
                  </a:lnTo>
                  <a:lnTo>
                    <a:pt x="113689" y="1223780"/>
                  </a:lnTo>
                  <a:lnTo>
                    <a:pt x="134344" y="1264420"/>
                  </a:lnTo>
                  <a:lnTo>
                    <a:pt x="156547" y="1304109"/>
                  </a:lnTo>
                  <a:lnTo>
                    <a:pt x="180257" y="1342808"/>
                  </a:lnTo>
                  <a:lnTo>
                    <a:pt x="205436" y="1380476"/>
                  </a:lnTo>
                  <a:lnTo>
                    <a:pt x="232042" y="1417075"/>
                  </a:lnTo>
                  <a:lnTo>
                    <a:pt x="260037" y="1452564"/>
                  </a:lnTo>
                  <a:lnTo>
                    <a:pt x="289380" y="1486904"/>
                  </a:lnTo>
                  <a:lnTo>
                    <a:pt x="320032" y="1520054"/>
                  </a:lnTo>
                  <a:lnTo>
                    <a:pt x="351953" y="1551975"/>
                  </a:lnTo>
                  <a:lnTo>
                    <a:pt x="385103" y="1582627"/>
                  </a:lnTo>
                  <a:lnTo>
                    <a:pt x="419443" y="1611970"/>
                  </a:lnTo>
                  <a:lnTo>
                    <a:pt x="454932" y="1639965"/>
                  </a:lnTo>
                  <a:lnTo>
                    <a:pt x="491531" y="1666572"/>
                  </a:lnTo>
                  <a:lnTo>
                    <a:pt x="529199" y="1691750"/>
                  </a:lnTo>
                  <a:lnTo>
                    <a:pt x="567898" y="1715460"/>
                  </a:lnTo>
                  <a:lnTo>
                    <a:pt x="607588" y="1737663"/>
                  </a:lnTo>
                  <a:lnTo>
                    <a:pt x="648227" y="1758318"/>
                  </a:lnTo>
                  <a:lnTo>
                    <a:pt x="689778" y="1777386"/>
                  </a:lnTo>
                  <a:lnTo>
                    <a:pt x="732199" y="1794827"/>
                  </a:lnTo>
                  <a:lnTo>
                    <a:pt x="775452" y="1810601"/>
                  </a:lnTo>
                  <a:lnTo>
                    <a:pt x="819496" y="1824668"/>
                  </a:lnTo>
                  <a:lnTo>
                    <a:pt x="864291" y="1836989"/>
                  </a:lnTo>
                  <a:lnTo>
                    <a:pt x="909799" y="1847523"/>
                  </a:lnTo>
                  <a:lnTo>
                    <a:pt x="955978" y="1856231"/>
                  </a:lnTo>
                  <a:lnTo>
                    <a:pt x="1002790" y="1863074"/>
                  </a:lnTo>
                  <a:lnTo>
                    <a:pt x="1050193" y="1868011"/>
                  </a:lnTo>
                  <a:lnTo>
                    <a:pt x="1098150" y="1871002"/>
                  </a:lnTo>
                  <a:lnTo>
                    <a:pt x="1146619" y="1872008"/>
                  </a:lnTo>
                  <a:lnTo>
                    <a:pt x="1195088" y="1871002"/>
                  </a:lnTo>
                  <a:lnTo>
                    <a:pt x="1243045" y="1868011"/>
                  </a:lnTo>
                  <a:lnTo>
                    <a:pt x="1290448" y="1863074"/>
                  </a:lnTo>
                  <a:lnTo>
                    <a:pt x="1337260" y="1856231"/>
                  </a:lnTo>
                  <a:lnTo>
                    <a:pt x="1383439" y="1847523"/>
                  </a:lnTo>
                  <a:lnTo>
                    <a:pt x="1428947" y="1836989"/>
                  </a:lnTo>
                  <a:lnTo>
                    <a:pt x="1473742" y="1824668"/>
                  </a:lnTo>
                  <a:lnTo>
                    <a:pt x="1517786" y="1810601"/>
                  </a:lnTo>
                  <a:lnTo>
                    <a:pt x="1561039" y="1794827"/>
                  </a:lnTo>
                  <a:lnTo>
                    <a:pt x="1603460" y="1777386"/>
                  </a:lnTo>
                  <a:lnTo>
                    <a:pt x="1645011" y="1758318"/>
                  </a:lnTo>
                  <a:lnTo>
                    <a:pt x="1685650" y="1737663"/>
                  </a:lnTo>
                  <a:lnTo>
                    <a:pt x="1725340" y="1715460"/>
                  </a:lnTo>
                  <a:lnTo>
                    <a:pt x="1764039" y="1691750"/>
                  </a:lnTo>
                  <a:lnTo>
                    <a:pt x="1801707" y="1666572"/>
                  </a:lnTo>
                  <a:lnTo>
                    <a:pt x="1838306" y="1639965"/>
                  </a:lnTo>
                  <a:lnTo>
                    <a:pt x="1873795" y="1611970"/>
                  </a:lnTo>
                  <a:lnTo>
                    <a:pt x="1908135" y="1582627"/>
                  </a:lnTo>
                  <a:lnTo>
                    <a:pt x="1941285" y="1551975"/>
                  </a:lnTo>
                  <a:lnTo>
                    <a:pt x="1966964" y="1526295"/>
                  </a:lnTo>
                  <a:lnTo>
                    <a:pt x="1966964" y="0"/>
                  </a:lnTo>
                  <a:close/>
                </a:path>
              </a:pathLst>
            </a:custGeom>
            <a:solidFill>
              <a:srgbClr val="00AFFF">
                <a:alpha val="23999"/>
              </a:srgbClr>
            </a:solidFill>
          </p:spPr>
          <p:txBody>
            <a:bodyPr wrap="square" lIns="0" tIns="0" rIns="0" bIns="0" rtlCol="0"/>
            <a:lstStyle/>
            <a:p>
              <a:endParaRPr/>
            </a:p>
          </p:txBody>
        </p:sp>
        <p:sp>
          <p:nvSpPr>
            <p:cNvPr id="24" name="object 6">
              <a:extLst>
                <a:ext uri="{FF2B5EF4-FFF2-40B4-BE49-F238E27FC236}">
                  <a16:creationId xmlns:a16="http://schemas.microsoft.com/office/drawing/2014/main" id="{5658E3DE-4D80-E3F3-9EBE-7C75B09AA30F}"/>
                </a:ext>
              </a:extLst>
            </p:cNvPr>
            <p:cNvSpPr/>
            <p:nvPr/>
          </p:nvSpPr>
          <p:spPr>
            <a:xfrm>
              <a:off x="6613002" y="0"/>
              <a:ext cx="2077554" cy="995015"/>
            </a:xfrm>
            <a:custGeom>
              <a:avLst/>
              <a:gdLst/>
              <a:ahLst/>
              <a:cxnLst/>
              <a:rect l="l" t="t" r="r" b="b"/>
              <a:pathLst>
                <a:path w="2291079" h="1097280">
                  <a:moveTo>
                    <a:pt x="2291054" y="0"/>
                  </a:moveTo>
                  <a:lnTo>
                    <a:pt x="0" y="0"/>
                  </a:lnTo>
                  <a:lnTo>
                    <a:pt x="2904" y="46573"/>
                  </a:lnTo>
                  <a:lnTo>
                    <a:pt x="7841" y="93977"/>
                  </a:lnTo>
                  <a:lnTo>
                    <a:pt x="14684" y="140789"/>
                  </a:lnTo>
                  <a:lnTo>
                    <a:pt x="23392" y="186968"/>
                  </a:lnTo>
                  <a:lnTo>
                    <a:pt x="33926" y="232475"/>
                  </a:lnTo>
                  <a:lnTo>
                    <a:pt x="46247" y="277271"/>
                  </a:lnTo>
                  <a:lnTo>
                    <a:pt x="60314" y="321315"/>
                  </a:lnTo>
                  <a:lnTo>
                    <a:pt x="76088" y="364568"/>
                  </a:lnTo>
                  <a:lnTo>
                    <a:pt x="93529" y="406989"/>
                  </a:lnTo>
                  <a:lnTo>
                    <a:pt x="112597" y="448540"/>
                  </a:lnTo>
                  <a:lnTo>
                    <a:pt x="133252" y="489179"/>
                  </a:lnTo>
                  <a:lnTo>
                    <a:pt x="155455" y="528868"/>
                  </a:lnTo>
                  <a:lnTo>
                    <a:pt x="179165" y="567567"/>
                  </a:lnTo>
                  <a:lnTo>
                    <a:pt x="204343" y="605236"/>
                  </a:lnTo>
                  <a:lnTo>
                    <a:pt x="230950" y="641835"/>
                  </a:lnTo>
                  <a:lnTo>
                    <a:pt x="258945" y="677324"/>
                  </a:lnTo>
                  <a:lnTo>
                    <a:pt x="288288" y="711663"/>
                  </a:lnTo>
                  <a:lnTo>
                    <a:pt x="318940" y="744813"/>
                  </a:lnTo>
                  <a:lnTo>
                    <a:pt x="350861" y="776734"/>
                  </a:lnTo>
                  <a:lnTo>
                    <a:pt x="384011" y="807387"/>
                  </a:lnTo>
                  <a:lnTo>
                    <a:pt x="418351" y="836730"/>
                  </a:lnTo>
                  <a:lnTo>
                    <a:pt x="453840" y="864725"/>
                  </a:lnTo>
                  <a:lnTo>
                    <a:pt x="490439" y="891331"/>
                  </a:lnTo>
                  <a:lnTo>
                    <a:pt x="528107" y="916510"/>
                  </a:lnTo>
                  <a:lnTo>
                    <a:pt x="566806" y="940220"/>
                  </a:lnTo>
                  <a:lnTo>
                    <a:pt x="606495" y="962423"/>
                  </a:lnTo>
                  <a:lnTo>
                    <a:pt x="647135" y="983078"/>
                  </a:lnTo>
                  <a:lnTo>
                    <a:pt x="688686" y="1002146"/>
                  </a:lnTo>
                  <a:lnTo>
                    <a:pt x="731107" y="1019587"/>
                  </a:lnTo>
                  <a:lnTo>
                    <a:pt x="774360" y="1035361"/>
                  </a:lnTo>
                  <a:lnTo>
                    <a:pt x="818404" y="1049428"/>
                  </a:lnTo>
                  <a:lnTo>
                    <a:pt x="863199" y="1061748"/>
                  </a:lnTo>
                  <a:lnTo>
                    <a:pt x="908707" y="1072283"/>
                  </a:lnTo>
                  <a:lnTo>
                    <a:pt x="954886" y="1080991"/>
                  </a:lnTo>
                  <a:lnTo>
                    <a:pt x="1001697" y="1087834"/>
                  </a:lnTo>
                  <a:lnTo>
                    <a:pt x="1049101" y="1092770"/>
                  </a:lnTo>
                  <a:lnTo>
                    <a:pt x="1097058" y="1095761"/>
                  </a:lnTo>
                  <a:lnTo>
                    <a:pt x="1145527" y="1096767"/>
                  </a:lnTo>
                  <a:lnTo>
                    <a:pt x="1193996" y="1095761"/>
                  </a:lnTo>
                  <a:lnTo>
                    <a:pt x="1241952" y="1092770"/>
                  </a:lnTo>
                  <a:lnTo>
                    <a:pt x="1289356" y="1087834"/>
                  </a:lnTo>
                  <a:lnTo>
                    <a:pt x="1336168" y="1080991"/>
                  </a:lnTo>
                  <a:lnTo>
                    <a:pt x="1382347" y="1072283"/>
                  </a:lnTo>
                  <a:lnTo>
                    <a:pt x="1427854" y="1061748"/>
                  </a:lnTo>
                  <a:lnTo>
                    <a:pt x="1472650" y="1049428"/>
                  </a:lnTo>
                  <a:lnTo>
                    <a:pt x="1516694" y="1035361"/>
                  </a:lnTo>
                  <a:lnTo>
                    <a:pt x="1559947" y="1019587"/>
                  </a:lnTo>
                  <a:lnTo>
                    <a:pt x="1602368" y="1002146"/>
                  </a:lnTo>
                  <a:lnTo>
                    <a:pt x="1643919" y="983078"/>
                  </a:lnTo>
                  <a:lnTo>
                    <a:pt x="1684558" y="962423"/>
                  </a:lnTo>
                  <a:lnTo>
                    <a:pt x="1724248" y="940220"/>
                  </a:lnTo>
                  <a:lnTo>
                    <a:pt x="1762946" y="916510"/>
                  </a:lnTo>
                  <a:lnTo>
                    <a:pt x="1800615" y="891331"/>
                  </a:lnTo>
                  <a:lnTo>
                    <a:pt x="1837214" y="864725"/>
                  </a:lnTo>
                  <a:lnTo>
                    <a:pt x="1872703" y="836730"/>
                  </a:lnTo>
                  <a:lnTo>
                    <a:pt x="1907042" y="807387"/>
                  </a:lnTo>
                  <a:lnTo>
                    <a:pt x="1940193" y="776734"/>
                  </a:lnTo>
                  <a:lnTo>
                    <a:pt x="1972114" y="744813"/>
                  </a:lnTo>
                  <a:lnTo>
                    <a:pt x="2002766" y="711663"/>
                  </a:lnTo>
                  <a:lnTo>
                    <a:pt x="2032109" y="677324"/>
                  </a:lnTo>
                  <a:lnTo>
                    <a:pt x="2060104" y="641835"/>
                  </a:lnTo>
                  <a:lnTo>
                    <a:pt x="2086710" y="605236"/>
                  </a:lnTo>
                  <a:lnTo>
                    <a:pt x="2111889" y="567567"/>
                  </a:lnTo>
                  <a:lnTo>
                    <a:pt x="2135599" y="528868"/>
                  </a:lnTo>
                  <a:lnTo>
                    <a:pt x="2157802" y="489179"/>
                  </a:lnTo>
                  <a:lnTo>
                    <a:pt x="2178457" y="448540"/>
                  </a:lnTo>
                  <a:lnTo>
                    <a:pt x="2197525" y="406989"/>
                  </a:lnTo>
                  <a:lnTo>
                    <a:pt x="2214966" y="364568"/>
                  </a:lnTo>
                  <a:lnTo>
                    <a:pt x="2230740" y="321315"/>
                  </a:lnTo>
                  <a:lnTo>
                    <a:pt x="2244807" y="277271"/>
                  </a:lnTo>
                  <a:lnTo>
                    <a:pt x="2257128" y="232475"/>
                  </a:lnTo>
                  <a:lnTo>
                    <a:pt x="2267662" y="186968"/>
                  </a:lnTo>
                  <a:lnTo>
                    <a:pt x="2276370" y="140789"/>
                  </a:lnTo>
                  <a:lnTo>
                    <a:pt x="2283213" y="93977"/>
                  </a:lnTo>
                  <a:lnTo>
                    <a:pt x="2288149" y="46573"/>
                  </a:lnTo>
                  <a:lnTo>
                    <a:pt x="2291054" y="0"/>
                  </a:lnTo>
                  <a:close/>
                </a:path>
              </a:pathLst>
            </a:custGeom>
            <a:solidFill>
              <a:srgbClr val="00AFFF">
                <a:alpha val="23999"/>
              </a:srgbClr>
            </a:solidFill>
          </p:spPr>
          <p:txBody>
            <a:bodyPr wrap="square" lIns="0" tIns="0" rIns="0" bIns="0" rtlCol="0"/>
            <a:lstStyle/>
            <a:p>
              <a:endParaRPr/>
            </a:p>
          </p:txBody>
        </p:sp>
        <p:sp>
          <p:nvSpPr>
            <p:cNvPr id="25" name="object 7">
              <a:extLst>
                <a:ext uri="{FF2B5EF4-FFF2-40B4-BE49-F238E27FC236}">
                  <a16:creationId xmlns:a16="http://schemas.microsoft.com/office/drawing/2014/main" id="{591B4FBF-72FE-5A76-77F5-9B370934F24C}"/>
                </a:ext>
              </a:extLst>
            </p:cNvPr>
            <p:cNvSpPr/>
            <p:nvPr/>
          </p:nvSpPr>
          <p:spPr>
            <a:xfrm>
              <a:off x="9031060" y="1"/>
              <a:ext cx="1214402" cy="285030"/>
            </a:xfrm>
            <a:custGeom>
              <a:avLst/>
              <a:gdLst/>
              <a:ahLst/>
              <a:cxnLst/>
              <a:rect l="l" t="t" r="r" b="b"/>
              <a:pathLst>
                <a:path w="1339215" h="314325">
                  <a:moveTo>
                    <a:pt x="1338888" y="0"/>
                  </a:moveTo>
                  <a:lnTo>
                    <a:pt x="0" y="0"/>
                  </a:lnTo>
                  <a:lnTo>
                    <a:pt x="22830" y="26611"/>
                  </a:lnTo>
                  <a:lnTo>
                    <a:pt x="53542" y="58927"/>
                  </a:lnTo>
                  <a:lnTo>
                    <a:pt x="85857" y="89639"/>
                  </a:lnTo>
                  <a:lnTo>
                    <a:pt x="119709" y="118680"/>
                  </a:lnTo>
                  <a:lnTo>
                    <a:pt x="155032" y="145986"/>
                  </a:lnTo>
                  <a:lnTo>
                    <a:pt x="191759" y="171489"/>
                  </a:lnTo>
                  <a:lnTo>
                    <a:pt x="229825" y="195122"/>
                  </a:lnTo>
                  <a:lnTo>
                    <a:pt x="269161" y="216820"/>
                  </a:lnTo>
                  <a:lnTo>
                    <a:pt x="309703" y="236516"/>
                  </a:lnTo>
                  <a:lnTo>
                    <a:pt x="351383" y="254144"/>
                  </a:lnTo>
                  <a:lnTo>
                    <a:pt x="394135" y="269636"/>
                  </a:lnTo>
                  <a:lnTo>
                    <a:pt x="437893" y="282928"/>
                  </a:lnTo>
                  <a:lnTo>
                    <a:pt x="482590" y="293951"/>
                  </a:lnTo>
                  <a:lnTo>
                    <a:pt x="528160" y="302641"/>
                  </a:lnTo>
                  <a:lnTo>
                    <a:pt x="574537" y="308930"/>
                  </a:lnTo>
                  <a:lnTo>
                    <a:pt x="621654" y="312752"/>
                  </a:lnTo>
                  <a:lnTo>
                    <a:pt x="669444" y="314041"/>
                  </a:lnTo>
                  <a:lnTo>
                    <a:pt x="717234" y="312752"/>
                  </a:lnTo>
                  <a:lnTo>
                    <a:pt x="764351" y="308930"/>
                  </a:lnTo>
                  <a:lnTo>
                    <a:pt x="810728" y="302641"/>
                  </a:lnTo>
                  <a:lnTo>
                    <a:pt x="856298" y="293951"/>
                  </a:lnTo>
                  <a:lnTo>
                    <a:pt x="900995" y="282928"/>
                  </a:lnTo>
                  <a:lnTo>
                    <a:pt x="944753" y="269636"/>
                  </a:lnTo>
                  <a:lnTo>
                    <a:pt x="987505" y="254144"/>
                  </a:lnTo>
                  <a:lnTo>
                    <a:pt x="1029185" y="236516"/>
                  </a:lnTo>
                  <a:lnTo>
                    <a:pt x="1069727" y="216820"/>
                  </a:lnTo>
                  <a:lnTo>
                    <a:pt x="1109063" y="195122"/>
                  </a:lnTo>
                  <a:lnTo>
                    <a:pt x="1147129" y="171489"/>
                  </a:lnTo>
                  <a:lnTo>
                    <a:pt x="1183856" y="145986"/>
                  </a:lnTo>
                  <a:lnTo>
                    <a:pt x="1219179" y="118680"/>
                  </a:lnTo>
                  <a:lnTo>
                    <a:pt x="1253031" y="89639"/>
                  </a:lnTo>
                  <a:lnTo>
                    <a:pt x="1285346" y="58927"/>
                  </a:lnTo>
                  <a:lnTo>
                    <a:pt x="1316058" y="26611"/>
                  </a:lnTo>
                  <a:lnTo>
                    <a:pt x="1338888" y="0"/>
                  </a:lnTo>
                  <a:close/>
                </a:path>
              </a:pathLst>
            </a:custGeom>
            <a:solidFill>
              <a:srgbClr val="00AFFF">
                <a:alpha val="23999"/>
              </a:srgbClr>
            </a:solidFill>
          </p:spPr>
          <p:txBody>
            <a:bodyPr wrap="square" lIns="0" tIns="0" rIns="0" bIns="0" rtlCol="0"/>
            <a:lstStyle/>
            <a:p>
              <a:endParaRPr/>
            </a:p>
          </p:txBody>
        </p:sp>
        <p:sp>
          <p:nvSpPr>
            <p:cNvPr id="26" name="object 8">
              <a:extLst>
                <a:ext uri="{FF2B5EF4-FFF2-40B4-BE49-F238E27FC236}">
                  <a16:creationId xmlns:a16="http://schemas.microsoft.com/office/drawing/2014/main" id="{A151A684-DA1D-804F-5426-4B4A7A6B4C86}"/>
                </a:ext>
              </a:extLst>
            </p:cNvPr>
            <p:cNvSpPr/>
            <p:nvPr/>
          </p:nvSpPr>
          <p:spPr>
            <a:xfrm>
              <a:off x="9389760" y="472058"/>
              <a:ext cx="726683" cy="726683"/>
            </a:xfrm>
            <a:custGeom>
              <a:avLst/>
              <a:gdLst/>
              <a:ahLst/>
              <a:cxnLst/>
              <a:rect l="l" t="t" r="r" b="b"/>
              <a:pathLst>
                <a:path w="801370" h="801369">
                  <a:moveTo>
                    <a:pt x="400672" y="0"/>
                  </a:moveTo>
                  <a:lnTo>
                    <a:pt x="353945" y="2695"/>
                  </a:lnTo>
                  <a:lnTo>
                    <a:pt x="308801" y="10582"/>
                  </a:lnTo>
                  <a:lnTo>
                    <a:pt x="265542" y="23358"/>
                  </a:lnTo>
                  <a:lnTo>
                    <a:pt x="224466" y="40724"/>
                  </a:lnTo>
                  <a:lnTo>
                    <a:pt x="185876" y="62379"/>
                  </a:lnTo>
                  <a:lnTo>
                    <a:pt x="150072" y="88023"/>
                  </a:lnTo>
                  <a:lnTo>
                    <a:pt x="117354" y="117354"/>
                  </a:lnTo>
                  <a:lnTo>
                    <a:pt x="88023" y="150072"/>
                  </a:lnTo>
                  <a:lnTo>
                    <a:pt x="62379" y="185876"/>
                  </a:lnTo>
                  <a:lnTo>
                    <a:pt x="40724" y="224466"/>
                  </a:lnTo>
                  <a:lnTo>
                    <a:pt x="23358" y="265542"/>
                  </a:lnTo>
                  <a:lnTo>
                    <a:pt x="10582" y="308801"/>
                  </a:lnTo>
                  <a:lnTo>
                    <a:pt x="2695" y="353945"/>
                  </a:lnTo>
                  <a:lnTo>
                    <a:pt x="0" y="400672"/>
                  </a:lnTo>
                  <a:lnTo>
                    <a:pt x="2695" y="447396"/>
                  </a:lnTo>
                  <a:lnTo>
                    <a:pt x="10582" y="492537"/>
                  </a:lnTo>
                  <a:lnTo>
                    <a:pt x="23358" y="535795"/>
                  </a:lnTo>
                  <a:lnTo>
                    <a:pt x="40724" y="576869"/>
                  </a:lnTo>
                  <a:lnTo>
                    <a:pt x="62379" y="615458"/>
                  </a:lnTo>
                  <a:lnTo>
                    <a:pt x="88023" y="651261"/>
                  </a:lnTo>
                  <a:lnTo>
                    <a:pt x="117354" y="683979"/>
                  </a:lnTo>
                  <a:lnTo>
                    <a:pt x="150072" y="713309"/>
                  </a:lnTo>
                  <a:lnTo>
                    <a:pt x="185876" y="738952"/>
                  </a:lnTo>
                  <a:lnTo>
                    <a:pt x="224466" y="760607"/>
                  </a:lnTo>
                  <a:lnTo>
                    <a:pt x="265542" y="777973"/>
                  </a:lnTo>
                  <a:lnTo>
                    <a:pt x="308801" y="790749"/>
                  </a:lnTo>
                  <a:lnTo>
                    <a:pt x="353945" y="798636"/>
                  </a:lnTo>
                  <a:lnTo>
                    <a:pt x="400672" y="801331"/>
                  </a:lnTo>
                  <a:lnTo>
                    <a:pt x="447399" y="798636"/>
                  </a:lnTo>
                  <a:lnTo>
                    <a:pt x="492542" y="790749"/>
                  </a:lnTo>
                  <a:lnTo>
                    <a:pt x="535802" y="777973"/>
                  </a:lnTo>
                  <a:lnTo>
                    <a:pt x="576877" y="760607"/>
                  </a:lnTo>
                  <a:lnTo>
                    <a:pt x="615467" y="738952"/>
                  </a:lnTo>
                  <a:lnTo>
                    <a:pt x="651272" y="713309"/>
                  </a:lnTo>
                  <a:lnTo>
                    <a:pt x="683990" y="683979"/>
                  </a:lnTo>
                  <a:lnTo>
                    <a:pt x="713321" y="651261"/>
                  </a:lnTo>
                  <a:lnTo>
                    <a:pt x="738964" y="615458"/>
                  </a:lnTo>
                  <a:lnTo>
                    <a:pt x="760619" y="576869"/>
                  </a:lnTo>
                  <a:lnTo>
                    <a:pt x="777985" y="535795"/>
                  </a:lnTo>
                  <a:lnTo>
                    <a:pt x="790762" y="492537"/>
                  </a:lnTo>
                  <a:lnTo>
                    <a:pt x="798648" y="447396"/>
                  </a:lnTo>
                  <a:lnTo>
                    <a:pt x="801344" y="400672"/>
                  </a:lnTo>
                  <a:lnTo>
                    <a:pt x="798648" y="353945"/>
                  </a:lnTo>
                  <a:lnTo>
                    <a:pt x="790762" y="308801"/>
                  </a:lnTo>
                  <a:lnTo>
                    <a:pt x="777985" y="265542"/>
                  </a:lnTo>
                  <a:lnTo>
                    <a:pt x="760619" y="224466"/>
                  </a:lnTo>
                  <a:lnTo>
                    <a:pt x="738964" y="185876"/>
                  </a:lnTo>
                  <a:lnTo>
                    <a:pt x="713321" y="150072"/>
                  </a:lnTo>
                  <a:lnTo>
                    <a:pt x="683990" y="117354"/>
                  </a:lnTo>
                  <a:lnTo>
                    <a:pt x="651272" y="88023"/>
                  </a:lnTo>
                  <a:lnTo>
                    <a:pt x="615467" y="62379"/>
                  </a:lnTo>
                  <a:lnTo>
                    <a:pt x="576877" y="40724"/>
                  </a:lnTo>
                  <a:lnTo>
                    <a:pt x="535802" y="23358"/>
                  </a:lnTo>
                  <a:lnTo>
                    <a:pt x="492542" y="10582"/>
                  </a:lnTo>
                  <a:lnTo>
                    <a:pt x="447399" y="2695"/>
                  </a:lnTo>
                  <a:lnTo>
                    <a:pt x="400672" y="0"/>
                  </a:lnTo>
                  <a:close/>
                </a:path>
              </a:pathLst>
            </a:custGeom>
            <a:solidFill>
              <a:srgbClr val="00AFFF">
                <a:alpha val="23999"/>
              </a:srgbClr>
            </a:solidFill>
          </p:spPr>
          <p:txBody>
            <a:bodyPr wrap="square" lIns="0" tIns="0" rIns="0" bIns="0" rtlCol="0"/>
            <a:lstStyle/>
            <a:p>
              <a:endParaRPr/>
            </a:p>
          </p:txBody>
        </p:sp>
      </p:grpSp>
      <p:sp>
        <p:nvSpPr>
          <p:cNvPr id="3" name="Text Placeholder 2">
            <a:extLst>
              <a:ext uri="{FF2B5EF4-FFF2-40B4-BE49-F238E27FC236}">
                <a16:creationId xmlns:a16="http://schemas.microsoft.com/office/drawing/2014/main" id="{5ADC4885-E653-9F9B-1C72-2AA34FCB44D8}"/>
              </a:ext>
            </a:extLst>
          </p:cNvPr>
          <p:cNvSpPr>
            <a:spLocks noGrp="1"/>
          </p:cNvSpPr>
          <p:nvPr userDrawn="1">
            <p:ph type="body" idx="1"/>
          </p:nvPr>
        </p:nvSpPr>
        <p:spPr>
          <a:xfrm>
            <a:off x="6474373" y="2074718"/>
            <a:ext cx="4857818" cy="3466482"/>
          </a:xfrm>
          <a:prstGeom prst="rect">
            <a:avLst/>
          </a:prstGeom>
        </p:spPr>
        <p:txBody>
          <a:bodyPr>
            <a:normAutofit/>
          </a:bodyPr>
          <a:lstStyle>
            <a:lvl1pPr marL="0" indent="0" algn="l">
              <a:buNone/>
              <a:defRPr sz="3200">
                <a:solidFill>
                  <a:schemeClr val="accent3"/>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2" name="Picture Placeholder 2">
            <a:extLst>
              <a:ext uri="{FF2B5EF4-FFF2-40B4-BE49-F238E27FC236}">
                <a16:creationId xmlns:a16="http://schemas.microsoft.com/office/drawing/2014/main" id="{06A941DA-EEFE-1DF4-35CF-14C8B0F4F254}"/>
              </a:ext>
            </a:extLst>
          </p:cNvPr>
          <p:cNvSpPr>
            <a:spLocks noGrp="1"/>
          </p:cNvSpPr>
          <p:nvPr>
            <p:ph type="pic" idx="10"/>
          </p:nvPr>
        </p:nvSpPr>
        <p:spPr>
          <a:xfrm>
            <a:off x="-1635760" y="-683147"/>
            <a:ext cx="7573873" cy="7212597"/>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GB" dirty="0"/>
          </a:p>
        </p:txBody>
      </p:sp>
    </p:spTree>
    <p:extLst>
      <p:ext uri="{BB962C8B-B14F-4D97-AF65-F5344CB8AC3E}">
        <p14:creationId xmlns:p14="http://schemas.microsoft.com/office/powerpoint/2010/main" val="3145116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llage - Blue">
    <p:spTree>
      <p:nvGrpSpPr>
        <p:cNvPr id="1" name=""/>
        <p:cNvGrpSpPr/>
        <p:nvPr/>
      </p:nvGrpSpPr>
      <p:grpSpPr>
        <a:xfrm>
          <a:off x="0" y="0"/>
          <a:ext cx="0" cy="0"/>
          <a:chOff x="0" y="0"/>
          <a:chExt cx="0" cy="0"/>
        </a:xfrm>
      </p:grpSpPr>
      <p:sp>
        <p:nvSpPr>
          <p:cNvPr id="16" name="object 7">
            <a:extLst>
              <a:ext uri="{FF2B5EF4-FFF2-40B4-BE49-F238E27FC236}">
                <a16:creationId xmlns:a16="http://schemas.microsoft.com/office/drawing/2014/main" id="{C5CC3C5B-20F5-EDF1-6350-FE204957F054}"/>
              </a:ext>
            </a:extLst>
          </p:cNvPr>
          <p:cNvSpPr/>
          <p:nvPr/>
        </p:nvSpPr>
        <p:spPr>
          <a:xfrm>
            <a:off x="15163" y="2303"/>
            <a:ext cx="12271379" cy="6908925"/>
          </a:xfrm>
          <a:custGeom>
            <a:avLst/>
            <a:gdLst/>
            <a:ahLst/>
            <a:cxnLst/>
            <a:rect l="l" t="t" r="r" b="b"/>
            <a:pathLst>
              <a:path w="13428344" h="7560309">
                <a:moveTo>
                  <a:pt x="226669" y="6831254"/>
                </a:moveTo>
                <a:lnTo>
                  <a:pt x="223977" y="6784530"/>
                </a:lnTo>
                <a:lnTo>
                  <a:pt x="216090" y="6739382"/>
                </a:lnTo>
                <a:lnTo>
                  <a:pt x="203314" y="6696126"/>
                </a:lnTo>
                <a:lnTo>
                  <a:pt x="185940" y="6655054"/>
                </a:lnTo>
                <a:lnTo>
                  <a:pt x="164287" y="6616459"/>
                </a:lnTo>
                <a:lnTo>
                  <a:pt x="138645" y="6580657"/>
                </a:lnTo>
                <a:lnTo>
                  <a:pt x="109308" y="6547929"/>
                </a:lnTo>
                <a:lnTo>
                  <a:pt x="76593" y="6518605"/>
                </a:lnTo>
                <a:lnTo>
                  <a:pt x="40792" y="6492964"/>
                </a:lnTo>
                <a:lnTo>
                  <a:pt x="2197" y="6471310"/>
                </a:lnTo>
                <a:lnTo>
                  <a:pt x="0" y="6470370"/>
                </a:lnTo>
                <a:lnTo>
                  <a:pt x="0" y="7192124"/>
                </a:lnTo>
                <a:lnTo>
                  <a:pt x="40792" y="7169531"/>
                </a:lnTo>
                <a:lnTo>
                  <a:pt x="76593" y="7143890"/>
                </a:lnTo>
                <a:lnTo>
                  <a:pt x="109308" y="7114565"/>
                </a:lnTo>
                <a:lnTo>
                  <a:pt x="138645" y="7081837"/>
                </a:lnTo>
                <a:lnTo>
                  <a:pt x="164287" y="7046036"/>
                </a:lnTo>
                <a:lnTo>
                  <a:pt x="185940" y="7007453"/>
                </a:lnTo>
                <a:lnTo>
                  <a:pt x="203314" y="6966382"/>
                </a:lnTo>
                <a:lnTo>
                  <a:pt x="216090" y="6923125"/>
                </a:lnTo>
                <a:lnTo>
                  <a:pt x="223977" y="6877977"/>
                </a:lnTo>
                <a:lnTo>
                  <a:pt x="226669" y="6831254"/>
                </a:lnTo>
                <a:close/>
              </a:path>
              <a:path w="13428344" h="7560309">
                <a:moveTo>
                  <a:pt x="570217" y="5353024"/>
                </a:moveTo>
                <a:lnTo>
                  <a:pt x="568934" y="5305234"/>
                </a:lnTo>
                <a:lnTo>
                  <a:pt x="565111" y="5258117"/>
                </a:lnTo>
                <a:lnTo>
                  <a:pt x="558812" y="5211737"/>
                </a:lnTo>
                <a:lnTo>
                  <a:pt x="550125" y="5166169"/>
                </a:lnTo>
                <a:lnTo>
                  <a:pt x="539102" y="5121478"/>
                </a:lnTo>
                <a:lnTo>
                  <a:pt x="525818" y="5077714"/>
                </a:lnTo>
                <a:lnTo>
                  <a:pt x="510324" y="5034966"/>
                </a:lnTo>
                <a:lnTo>
                  <a:pt x="492696" y="4993284"/>
                </a:lnTo>
                <a:lnTo>
                  <a:pt x="472998" y="4952746"/>
                </a:lnTo>
                <a:lnTo>
                  <a:pt x="451294" y="4913401"/>
                </a:lnTo>
                <a:lnTo>
                  <a:pt x="427659" y="4875339"/>
                </a:lnTo>
                <a:lnTo>
                  <a:pt x="402158" y="4838611"/>
                </a:lnTo>
                <a:lnTo>
                  <a:pt x="374853" y="4803292"/>
                </a:lnTo>
                <a:lnTo>
                  <a:pt x="345821" y="4769434"/>
                </a:lnTo>
                <a:lnTo>
                  <a:pt x="315099" y="4737125"/>
                </a:lnTo>
                <a:lnTo>
                  <a:pt x="282790" y="4706417"/>
                </a:lnTo>
                <a:lnTo>
                  <a:pt x="248932" y="4677372"/>
                </a:lnTo>
                <a:lnTo>
                  <a:pt x="213614" y="4650067"/>
                </a:lnTo>
                <a:lnTo>
                  <a:pt x="176885" y="4624565"/>
                </a:lnTo>
                <a:lnTo>
                  <a:pt x="138823" y="4600930"/>
                </a:lnTo>
                <a:lnTo>
                  <a:pt x="99479" y="4579226"/>
                </a:lnTo>
                <a:lnTo>
                  <a:pt x="58940" y="4559541"/>
                </a:lnTo>
                <a:lnTo>
                  <a:pt x="17259" y="4541913"/>
                </a:lnTo>
                <a:lnTo>
                  <a:pt x="0" y="4535652"/>
                </a:lnTo>
                <a:lnTo>
                  <a:pt x="0" y="6170409"/>
                </a:lnTo>
                <a:lnTo>
                  <a:pt x="58940" y="6146520"/>
                </a:lnTo>
                <a:lnTo>
                  <a:pt x="99479" y="6126823"/>
                </a:lnTo>
                <a:lnTo>
                  <a:pt x="138823" y="6105118"/>
                </a:lnTo>
                <a:lnTo>
                  <a:pt x="176885" y="6081496"/>
                </a:lnTo>
                <a:lnTo>
                  <a:pt x="213614" y="6055982"/>
                </a:lnTo>
                <a:lnTo>
                  <a:pt x="248932" y="6028677"/>
                </a:lnTo>
                <a:lnTo>
                  <a:pt x="282790" y="5999645"/>
                </a:lnTo>
                <a:lnTo>
                  <a:pt x="315099" y="5968924"/>
                </a:lnTo>
                <a:lnTo>
                  <a:pt x="345821" y="5936615"/>
                </a:lnTo>
                <a:lnTo>
                  <a:pt x="374853" y="5902757"/>
                </a:lnTo>
                <a:lnTo>
                  <a:pt x="402158" y="5867438"/>
                </a:lnTo>
                <a:lnTo>
                  <a:pt x="427659" y="5830709"/>
                </a:lnTo>
                <a:lnTo>
                  <a:pt x="451294" y="5792648"/>
                </a:lnTo>
                <a:lnTo>
                  <a:pt x="472998" y="5753316"/>
                </a:lnTo>
                <a:lnTo>
                  <a:pt x="492696" y="5712765"/>
                </a:lnTo>
                <a:lnTo>
                  <a:pt x="510324" y="5671083"/>
                </a:lnTo>
                <a:lnTo>
                  <a:pt x="525818" y="5628335"/>
                </a:lnTo>
                <a:lnTo>
                  <a:pt x="539102" y="5584583"/>
                </a:lnTo>
                <a:lnTo>
                  <a:pt x="550125" y="5539879"/>
                </a:lnTo>
                <a:lnTo>
                  <a:pt x="558812" y="5494312"/>
                </a:lnTo>
                <a:lnTo>
                  <a:pt x="565111" y="5447931"/>
                </a:lnTo>
                <a:lnTo>
                  <a:pt x="568934" y="5400814"/>
                </a:lnTo>
                <a:lnTo>
                  <a:pt x="570217" y="5353024"/>
                </a:lnTo>
                <a:close/>
              </a:path>
              <a:path w="13428344" h="7560309">
                <a:moveTo>
                  <a:pt x="2835325" y="6635394"/>
                </a:moveTo>
                <a:lnTo>
                  <a:pt x="2834322" y="6586918"/>
                </a:lnTo>
                <a:lnTo>
                  <a:pt x="2831325" y="6538963"/>
                </a:lnTo>
                <a:lnTo>
                  <a:pt x="2826397" y="6491567"/>
                </a:lnTo>
                <a:lnTo>
                  <a:pt x="2819552" y="6444755"/>
                </a:lnTo>
                <a:lnTo>
                  <a:pt x="2810840" y="6398565"/>
                </a:lnTo>
                <a:lnTo>
                  <a:pt x="2800312" y="6353061"/>
                </a:lnTo>
                <a:lnTo>
                  <a:pt x="2787980" y="6308268"/>
                </a:lnTo>
                <a:lnTo>
                  <a:pt x="2773921" y="6264224"/>
                </a:lnTo>
                <a:lnTo>
                  <a:pt x="2758148" y="6220968"/>
                </a:lnTo>
                <a:lnTo>
                  <a:pt x="2740698" y="6178550"/>
                </a:lnTo>
                <a:lnTo>
                  <a:pt x="2721635" y="6136995"/>
                </a:lnTo>
                <a:lnTo>
                  <a:pt x="2700985" y="6096355"/>
                </a:lnTo>
                <a:lnTo>
                  <a:pt x="2678773" y="6056668"/>
                </a:lnTo>
                <a:lnTo>
                  <a:pt x="2655062" y="6017971"/>
                </a:lnTo>
                <a:lnTo>
                  <a:pt x="2629890" y="5980303"/>
                </a:lnTo>
                <a:lnTo>
                  <a:pt x="2603284" y="5943701"/>
                </a:lnTo>
                <a:lnTo>
                  <a:pt x="2575293" y="5908218"/>
                </a:lnTo>
                <a:lnTo>
                  <a:pt x="2545943" y="5873877"/>
                </a:lnTo>
                <a:lnTo>
                  <a:pt x="2515298" y="5840730"/>
                </a:lnTo>
                <a:lnTo>
                  <a:pt x="2483370" y="5808802"/>
                </a:lnTo>
                <a:lnTo>
                  <a:pt x="2450223" y="5778157"/>
                </a:lnTo>
                <a:lnTo>
                  <a:pt x="2415883" y="5748807"/>
                </a:lnTo>
                <a:lnTo>
                  <a:pt x="2380399" y="5720816"/>
                </a:lnTo>
                <a:lnTo>
                  <a:pt x="2343797" y="5694210"/>
                </a:lnTo>
                <a:lnTo>
                  <a:pt x="2306129" y="5669026"/>
                </a:lnTo>
                <a:lnTo>
                  <a:pt x="2267432" y="5645315"/>
                </a:lnTo>
                <a:lnTo>
                  <a:pt x="2227732" y="5623115"/>
                </a:lnTo>
                <a:lnTo>
                  <a:pt x="2187092" y="5602465"/>
                </a:lnTo>
                <a:lnTo>
                  <a:pt x="2145550" y="5583390"/>
                </a:lnTo>
                <a:lnTo>
                  <a:pt x="2103120" y="5565953"/>
                </a:lnTo>
                <a:lnTo>
                  <a:pt x="2059876" y="5550179"/>
                </a:lnTo>
                <a:lnTo>
                  <a:pt x="2015832" y="5536108"/>
                </a:lnTo>
                <a:lnTo>
                  <a:pt x="1971040" y="5523789"/>
                </a:lnTo>
                <a:lnTo>
                  <a:pt x="1925523" y="5513260"/>
                </a:lnTo>
                <a:lnTo>
                  <a:pt x="1879346" y="5504548"/>
                </a:lnTo>
                <a:lnTo>
                  <a:pt x="1832533" y="5497703"/>
                </a:lnTo>
                <a:lnTo>
                  <a:pt x="1785137" y="5492762"/>
                </a:lnTo>
                <a:lnTo>
                  <a:pt x="1737169" y="5489778"/>
                </a:lnTo>
                <a:lnTo>
                  <a:pt x="1688706" y="5488775"/>
                </a:lnTo>
                <a:lnTo>
                  <a:pt x="1640243" y="5489778"/>
                </a:lnTo>
                <a:lnTo>
                  <a:pt x="1592275" y="5492762"/>
                </a:lnTo>
                <a:lnTo>
                  <a:pt x="1544878" y="5497703"/>
                </a:lnTo>
                <a:lnTo>
                  <a:pt x="1498066" y="5504548"/>
                </a:lnTo>
                <a:lnTo>
                  <a:pt x="1451889" y="5513260"/>
                </a:lnTo>
                <a:lnTo>
                  <a:pt x="1406372" y="5523789"/>
                </a:lnTo>
                <a:lnTo>
                  <a:pt x="1361579" y="5536108"/>
                </a:lnTo>
                <a:lnTo>
                  <a:pt x="1317536" y="5550179"/>
                </a:lnTo>
                <a:lnTo>
                  <a:pt x="1274292" y="5565953"/>
                </a:lnTo>
                <a:lnTo>
                  <a:pt x="1231861" y="5583390"/>
                </a:lnTo>
                <a:lnTo>
                  <a:pt x="1190320" y="5602465"/>
                </a:lnTo>
                <a:lnTo>
                  <a:pt x="1149680" y="5623115"/>
                </a:lnTo>
                <a:lnTo>
                  <a:pt x="1109980" y="5645315"/>
                </a:lnTo>
                <a:lnTo>
                  <a:pt x="1071283" y="5669026"/>
                </a:lnTo>
                <a:lnTo>
                  <a:pt x="1033614" y="5694210"/>
                </a:lnTo>
                <a:lnTo>
                  <a:pt x="997013" y="5720816"/>
                </a:lnTo>
                <a:lnTo>
                  <a:pt x="961529" y="5748807"/>
                </a:lnTo>
                <a:lnTo>
                  <a:pt x="927188" y="5778157"/>
                </a:lnTo>
                <a:lnTo>
                  <a:pt x="894041" y="5808802"/>
                </a:lnTo>
                <a:lnTo>
                  <a:pt x="862114" y="5840730"/>
                </a:lnTo>
                <a:lnTo>
                  <a:pt x="831469" y="5873877"/>
                </a:lnTo>
                <a:lnTo>
                  <a:pt x="802119" y="5908218"/>
                </a:lnTo>
                <a:lnTo>
                  <a:pt x="774128" y="5943701"/>
                </a:lnTo>
                <a:lnTo>
                  <a:pt x="747522" y="5980303"/>
                </a:lnTo>
                <a:lnTo>
                  <a:pt x="722350" y="6017971"/>
                </a:lnTo>
                <a:lnTo>
                  <a:pt x="698639" y="6056668"/>
                </a:lnTo>
                <a:lnTo>
                  <a:pt x="676427" y="6096355"/>
                </a:lnTo>
                <a:lnTo>
                  <a:pt x="655777" y="6136995"/>
                </a:lnTo>
                <a:lnTo>
                  <a:pt x="636714" y="6178550"/>
                </a:lnTo>
                <a:lnTo>
                  <a:pt x="619264" y="6220968"/>
                </a:lnTo>
                <a:lnTo>
                  <a:pt x="603491" y="6264224"/>
                </a:lnTo>
                <a:lnTo>
                  <a:pt x="589432" y="6308268"/>
                </a:lnTo>
                <a:lnTo>
                  <a:pt x="577100" y="6353061"/>
                </a:lnTo>
                <a:lnTo>
                  <a:pt x="566572" y="6398565"/>
                </a:lnTo>
                <a:lnTo>
                  <a:pt x="557860" y="6444755"/>
                </a:lnTo>
                <a:lnTo>
                  <a:pt x="551014" y="6491567"/>
                </a:lnTo>
                <a:lnTo>
                  <a:pt x="546087" y="6538963"/>
                </a:lnTo>
                <a:lnTo>
                  <a:pt x="543090" y="6586918"/>
                </a:lnTo>
                <a:lnTo>
                  <a:pt x="542086" y="6635394"/>
                </a:lnTo>
                <a:lnTo>
                  <a:pt x="543090" y="6683857"/>
                </a:lnTo>
                <a:lnTo>
                  <a:pt x="546087" y="6731813"/>
                </a:lnTo>
                <a:lnTo>
                  <a:pt x="551014" y="6779222"/>
                </a:lnTo>
                <a:lnTo>
                  <a:pt x="557860" y="6826034"/>
                </a:lnTo>
                <a:lnTo>
                  <a:pt x="566572" y="6872211"/>
                </a:lnTo>
                <a:lnTo>
                  <a:pt x="577100" y="6917715"/>
                </a:lnTo>
                <a:lnTo>
                  <a:pt x="589432" y="6962508"/>
                </a:lnTo>
                <a:lnTo>
                  <a:pt x="603491" y="7006552"/>
                </a:lnTo>
                <a:lnTo>
                  <a:pt x="619264" y="7049808"/>
                </a:lnTo>
                <a:lnTo>
                  <a:pt x="636714" y="7092226"/>
                </a:lnTo>
                <a:lnTo>
                  <a:pt x="655777" y="7133780"/>
                </a:lnTo>
                <a:lnTo>
                  <a:pt x="676427" y="7174420"/>
                </a:lnTo>
                <a:lnTo>
                  <a:pt x="698639" y="7214108"/>
                </a:lnTo>
                <a:lnTo>
                  <a:pt x="722350" y="7252805"/>
                </a:lnTo>
                <a:lnTo>
                  <a:pt x="747522" y="7290473"/>
                </a:lnTo>
                <a:lnTo>
                  <a:pt x="774128" y="7327074"/>
                </a:lnTo>
                <a:lnTo>
                  <a:pt x="802119" y="7362571"/>
                </a:lnTo>
                <a:lnTo>
                  <a:pt x="831469" y="7396912"/>
                </a:lnTo>
                <a:lnTo>
                  <a:pt x="862114" y="7430059"/>
                </a:lnTo>
                <a:lnTo>
                  <a:pt x="894041" y="7461974"/>
                </a:lnTo>
                <a:lnTo>
                  <a:pt x="927188" y="7492632"/>
                </a:lnTo>
                <a:lnTo>
                  <a:pt x="961529" y="7521969"/>
                </a:lnTo>
                <a:lnTo>
                  <a:pt x="997013" y="7549972"/>
                </a:lnTo>
                <a:lnTo>
                  <a:pt x="1010831" y="7560005"/>
                </a:lnTo>
                <a:lnTo>
                  <a:pt x="2366581" y="7560005"/>
                </a:lnTo>
                <a:lnTo>
                  <a:pt x="2415883" y="7521969"/>
                </a:lnTo>
                <a:lnTo>
                  <a:pt x="2450223" y="7492632"/>
                </a:lnTo>
                <a:lnTo>
                  <a:pt x="2483370" y="7461974"/>
                </a:lnTo>
                <a:lnTo>
                  <a:pt x="2515298" y="7430059"/>
                </a:lnTo>
                <a:lnTo>
                  <a:pt x="2545943" y="7396912"/>
                </a:lnTo>
                <a:lnTo>
                  <a:pt x="2575293" y="7362571"/>
                </a:lnTo>
                <a:lnTo>
                  <a:pt x="2603284" y="7327074"/>
                </a:lnTo>
                <a:lnTo>
                  <a:pt x="2629890" y="7290473"/>
                </a:lnTo>
                <a:lnTo>
                  <a:pt x="2655062" y="7252805"/>
                </a:lnTo>
                <a:lnTo>
                  <a:pt x="2678773" y="7214108"/>
                </a:lnTo>
                <a:lnTo>
                  <a:pt x="2700985" y="7174420"/>
                </a:lnTo>
                <a:lnTo>
                  <a:pt x="2721635" y="7133780"/>
                </a:lnTo>
                <a:lnTo>
                  <a:pt x="2740698" y="7092226"/>
                </a:lnTo>
                <a:lnTo>
                  <a:pt x="2758148" y="7049808"/>
                </a:lnTo>
                <a:lnTo>
                  <a:pt x="2773921" y="7006552"/>
                </a:lnTo>
                <a:lnTo>
                  <a:pt x="2787980" y="6962508"/>
                </a:lnTo>
                <a:lnTo>
                  <a:pt x="2800312" y="6917715"/>
                </a:lnTo>
                <a:lnTo>
                  <a:pt x="2810840" y="6872211"/>
                </a:lnTo>
                <a:lnTo>
                  <a:pt x="2819552" y="6826034"/>
                </a:lnTo>
                <a:lnTo>
                  <a:pt x="2826397" y="6779222"/>
                </a:lnTo>
                <a:lnTo>
                  <a:pt x="2831325" y="6731813"/>
                </a:lnTo>
                <a:lnTo>
                  <a:pt x="2834322" y="6683857"/>
                </a:lnTo>
                <a:lnTo>
                  <a:pt x="2835325" y="6635394"/>
                </a:lnTo>
                <a:close/>
              </a:path>
              <a:path w="13428344" h="7560309">
                <a:moveTo>
                  <a:pt x="2872587" y="5132197"/>
                </a:moveTo>
                <a:lnTo>
                  <a:pt x="2869895" y="5085473"/>
                </a:lnTo>
                <a:lnTo>
                  <a:pt x="2862008" y="5040338"/>
                </a:lnTo>
                <a:lnTo>
                  <a:pt x="2849232" y="4997069"/>
                </a:lnTo>
                <a:lnTo>
                  <a:pt x="2831858" y="4955997"/>
                </a:lnTo>
                <a:lnTo>
                  <a:pt x="2810205" y="4917402"/>
                </a:lnTo>
                <a:lnTo>
                  <a:pt x="2784564" y="4881600"/>
                </a:lnTo>
                <a:lnTo>
                  <a:pt x="2755239" y="4848885"/>
                </a:lnTo>
                <a:lnTo>
                  <a:pt x="2722511" y="4819548"/>
                </a:lnTo>
                <a:lnTo>
                  <a:pt x="2686710" y="4793907"/>
                </a:lnTo>
                <a:lnTo>
                  <a:pt x="2648115" y="4772253"/>
                </a:lnTo>
                <a:lnTo>
                  <a:pt x="2607043" y="4754892"/>
                </a:lnTo>
                <a:lnTo>
                  <a:pt x="2563787" y="4742116"/>
                </a:lnTo>
                <a:lnTo>
                  <a:pt x="2518638" y="4734230"/>
                </a:lnTo>
                <a:lnTo>
                  <a:pt x="2471915" y="4731524"/>
                </a:lnTo>
                <a:lnTo>
                  <a:pt x="2425192" y="4734230"/>
                </a:lnTo>
                <a:lnTo>
                  <a:pt x="2380043" y="4742116"/>
                </a:lnTo>
                <a:lnTo>
                  <a:pt x="2336787" y="4754892"/>
                </a:lnTo>
                <a:lnTo>
                  <a:pt x="2295715" y="4772253"/>
                </a:lnTo>
                <a:lnTo>
                  <a:pt x="2257120" y="4793907"/>
                </a:lnTo>
                <a:lnTo>
                  <a:pt x="2221319" y="4819548"/>
                </a:lnTo>
                <a:lnTo>
                  <a:pt x="2188603" y="4848885"/>
                </a:lnTo>
                <a:lnTo>
                  <a:pt x="2159266" y="4881600"/>
                </a:lnTo>
                <a:lnTo>
                  <a:pt x="2133625" y="4917402"/>
                </a:lnTo>
                <a:lnTo>
                  <a:pt x="2111972" y="4955997"/>
                </a:lnTo>
                <a:lnTo>
                  <a:pt x="2094598" y="4997069"/>
                </a:lnTo>
                <a:lnTo>
                  <a:pt x="2081822" y="5040338"/>
                </a:lnTo>
                <a:lnTo>
                  <a:pt x="2073935" y="5085473"/>
                </a:lnTo>
                <a:lnTo>
                  <a:pt x="2071243" y="5132197"/>
                </a:lnTo>
                <a:lnTo>
                  <a:pt x="2073935" y="5178933"/>
                </a:lnTo>
                <a:lnTo>
                  <a:pt x="2081822" y="5224069"/>
                </a:lnTo>
                <a:lnTo>
                  <a:pt x="2094598" y="5267337"/>
                </a:lnTo>
                <a:lnTo>
                  <a:pt x="2111972" y="5308409"/>
                </a:lnTo>
                <a:lnTo>
                  <a:pt x="2133625" y="5346992"/>
                </a:lnTo>
                <a:lnTo>
                  <a:pt x="2159266" y="5382793"/>
                </a:lnTo>
                <a:lnTo>
                  <a:pt x="2188603" y="5415508"/>
                </a:lnTo>
                <a:lnTo>
                  <a:pt x="2221319" y="5444845"/>
                </a:lnTo>
                <a:lnTo>
                  <a:pt x="2257120" y="5470487"/>
                </a:lnTo>
                <a:lnTo>
                  <a:pt x="2295715" y="5492140"/>
                </a:lnTo>
                <a:lnTo>
                  <a:pt x="2336787" y="5509501"/>
                </a:lnTo>
                <a:lnTo>
                  <a:pt x="2380043" y="5522277"/>
                </a:lnTo>
                <a:lnTo>
                  <a:pt x="2425192" y="5530164"/>
                </a:lnTo>
                <a:lnTo>
                  <a:pt x="2471915" y="5532856"/>
                </a:lnTo>
                <a:lnTo>
                  <a:pt x="2518638" y="5530164"/>
                </a:lnTo>
                <a:lnTo>
                  <a:pt x="2563787" y="5522277"/>
                </a:lnTo>
                <a:lnTo>
                  <a:pt x="2607043" y="5509501"/>
                </a:lnTo>
                <a:lnTo>
                  <a:pt x="2648115" y="5492140"/>
                </a:lnTo>
                <a:lnTo>
                  <a:pt x="2686710" y="5470487"/>
                </a:lnTo>
                <a:lnTo>
                  <a:pt x="2722511" y="5444845"/>
                </a:lnTo>
                <a:lnTo>
                  <a:pt x="2755239" y="5415508"/>
                </a:lnTo>
                <a:lnTo>
                  <a:pt x="2784564" y="5382793"/>
                </a:lnTo>
                <a:lnTo>
                  <a:pt x="2810205" y="5346992"/>
                </a:lnTo>
                <a:lnTo>
                  <a:pt x="2831858" y="5308409"/>
                </a:lnTo>
                <a:lnTo>
                  <a:pt x="2849232" y="5267337"/>
                </a:lnTo>
                <a:lnTo>
                  <a:pt x="2862008" y="5224069"/>
                </a:lnTo>
                <a:lnTo>
                  <a:pt x="2869895" y="5178933"/>
                </a:lnTo>
                <a:lnTo>
                  <a:pt x="2872587" y="5132197"/>
                </a:lnTo>
                <a:close/>
              </a:path>
              <a:path w="13428344" h="7560309">
                <a:moveTo>
                  <a:pt x="3311982" y="5582005"/>
                </a:moveTo>
                <a:lnTo>
                  <a:pt x="3307931" y="5536819"/>
                </a:lnTo>
                <a:lnTo>
                  <a:pt x="3296259" y="5494274"/>
                </a:lnTo>
                <a:lnTo>
                  <a:pt x="3277666" y="5455107"/>
                </a:lnTo>
                <a:lnTo>
                  <a:pt x="3252863" y="5420017"/>
                </a:lnTo>
                <a:lnTo>
                  <a:pt x="3222561" y="5389715"/>
                </a:lnTo>
                <a:lnTo>
                  <a:pt x="3187471" y="5364912"/>
                </a:lnTo>
                <a:lnTo>
                  <a:pt x="3148292" y="5346319"/>
                </a:lnTo>
                <a:lnTo>
                  <a:pt x="3105759" y="5334635"/>
                </a:lnTo>
                <a:lnTo>
                  <a:pt x="3060560" y="5330583"/>
                </a:lnTo>
                <a:lnTo>
                  <a:pt x="3015373" y="5334635"/>
                </a:lnTo>
                <a:lnTo>
                  <a:pt x="2972828" y="5346319"/>
                </a:lnTo>
                <a:lnTo>
                  <a:pt x="2933662" y="5364912"/>
                </a:lnTo>
                <a:lnTo>
                  <a:pt x="2898571" y="5389715"/>
                </a:lnTo>
                <a:lnTo>
                  <a:pt x="2868269" y="5420017"/>
                </a:lnTo>
                <a:lnTo>
                  <a:pt x="2843453" y="5455107"/>
                </a:lnTo>
                <a:lnTo>
                  <a:pt x="2824861" y="5494274"/>
                </a:lnTo>
                <a:lnTo>
                  <a:pt x="2813177" y="5536819"/>
                </a:lnTo>
                <a:lnTo>
                  <a:pt x="2809125" y="5582005"/>
                </a:lnTo>
                <a:lnTo>
                  <a:pt x="2813177" y="5627205"/>
                </a:lnTo>
                <a:lnTo>
                  <a:pt x="2824861" y="5669737"/>
                </a:lnTo>
                <a:lnTo>
                  <a:pt x="2843453" y="5708904"/>
                </a:lnTo>
                <a:lnTo>
                  <a:pt x="2868269" y="5744007"/>
                </a:lnTo>
                <a:lnTo>
                  <a:pt x="2898571" y="5774309"/>
                </a:lnTo>
                <a:lnTo>
                  <a:pt x="2933662" y="5799112"/>
                </a:lnTo>
                <a:lnTo>
                  <a:pt x="2972828" y="5817705"/>
                </a:lnTo>
                <a:lnTo>
                  <a:pt x="3015373" y="5829389"/>
                </a:lnTo>
                <a:lnTo>
                  <a:pt x="3060560" y="5833440"/>
                </a:lnTo>
                <a:lnTo>
                  <a:pt x="3105759" y="5829389"/>
                </a:lnTo>
                <a:lnTo>
                  <a:pt x="3148292" y="5817705"/>
                </a:lnTo>
                <a:lnTo>
                  <a:pt x="3187471" y="5799112"/>
                </a:lnTo>
                <a:lnTo>
                  <a:pt x="3222561" y="5774309"/>
                </a:lnTo>
                <a:lnTo>
                  <a:pt x="3252863" y="5744007"/>
                </a:lnTo>
                <a:lnTo>
                  <a:pt x="3277666" y="5708904"/>
                </a:lnTo>
                <a:lnTo>
                  <a:pt x="3296259" y="5669737"/>
                </a:lnTo>
                <a:lnTo>
                  <a:pt x="3307931" y="5627205"/>
                </a:lnTo>
                <a:lnTo>
                  <a:pt x="3311982" y="5582005"/>
                </a:lnTo>
                <a:close/>
              </a:path>
              <a:path w="13428344" h="7560309">
                <a:moveTo>
                  <a:pt x="6244856" y="2232571"/>
                </a:moveTo>
                <a:lnTo>
                  <a:pt x="6240805" y="2187384"/>
                </a:lnTo>
                <a:lnTo>
                  <a:pt x="6229121" y="2144852"/>
                </a:lnTo>
                <a:lnTo>
                  <a:pt x="6210528" y="2105685"/>
                </a:lnTo>
                <a:lnTo>
                  <a:pt x="6185725" y="2070595"/>
                </a:lnTo>
                <a:lnTo>
                  <a:pt x="6155423" y="2040280"/>
                </a:lnTo>
                <a:lnTo>
                  <a:pt x="6120320" y="2015477"/>
                </a:lnTo>
                <a:lnTo>
                  <a:pt x="6081153" y="1996884"/>
                </a:lnTo>
                <a:lnTo>
                  <a:pt x="6038621" y="1985200"/>
                </a:lnTo>
                <a:lnTo>
                  <a:pt x="5993422" y="1981149"/>
                </a:lnTo>
                <a:lnTo>
                  <a:pt x="5948223" y="1985200"/>
                </a:lnTo>
                <a:lnTo>
                  <a:pt x="5905690" y="1996884"/>
                </a:lnTo>
                <a:lnTo>
                  <a:pt x="5866523" y="2015477"/>
                </a:lnTo>
                <a:lnTo>
                  <a:pt x="5831433" y="2040280"/>
                </a:lnTo>
                <a:lnTo>
                  <a:pt x="5801118" y="2070595"/>
                </a:lnTo>
                <a:lnTo>
                  <a:pt x="5776315" y="2105685"/>
                </a:lnTo>
                <a:lnTo>
                  <a:pt x="5757723" y="2144852"/>
                </a:lnTo>
                <a:lnTo>
                  <a:pt x="5746039" y="2187384"/>
                </a:lnTo>
                <a:lnTo>
                  <a:pt x="5741987" y="2232571"/>
                </a:lnTo>
                <a:lnTo>
                  <a:pt x="5746039" y="2277770"/>
                </a:lnTo>
                <a:lnTo>
                  <a:pt x="5757723" y="2320302"/>
                </a:lnTo>
                <a:lnTo>
                  <a:pt x="5776315" y="2359482"/>
                </a:lnTo>
                <a:lnTo>
                  <a:pt x="5801118" y="2394572"/>
                </a:lnTo>
                <a:lnTo>
                  <a:pt x="5831433" y="2424874"/>
                </a:lnTo>
                <a:lnTo>
                  <a:pt x="5866523" y="2449677"/>
                </a:lnTo>
                <a:lnTo>
                  <a:pt x="5905690" y="2468283"/>
                </a:lnTo>
                <a:lnTo>
                  <a:pt x="5948223" y="2479954"/>
                </a:lnTo>
                <a:lnTo>
                  <a:pt x="5993422" y="2484005"/>
                </a:lnTo>
                <a:lnTo>
                  <a:pt x="6038621" y="2479954"/>
                </a:lnTo>
                <a:lnTo>
                  <a:pt x="6081153" y="2468283"/>
                </a:lnTo>
                <a:lnTo>
                  <a:pt x="6120320" y="2449677"/>
                </a:lnTo>
                <a:lnTo>
                  <a:pt x="6155423" y="2424874"/>
                </a:lnTo>
                <a:lnTo>
                  <a:pt x="6185725" y="2394572"/>
                </a:lnTo>
                <a:lnTo>
                  <a:pt x="6210528" y="2359482"/>
                </a:lnTo>
                <a:lnTo>
                  <a:pt x="6229121" y="2320302"/>
                </a:lnTo>
                <a:lnTo>
                  <a:pt x="6240805" y="2277770"/>
                </a:lnTo>
                <a:lnTo>
                  <a:pt x="6244856" y="2232571"/>
                </a:lnTo>
                <a:close/>
              </a:path>
              <a:path w="13428344" h="7560309">
                <a:moveTo>
                  <a:pt x="6511226" y="750633"/>
                </a:moveTo>
                <a:lnTo>
                  <a:pt x="6510223" y="702170"/>
                </a:lnTo>
                <a:lnTo>
                  <a:pt x="6507239" y="654202"/>
                </a:lnTo>
                <a:lnTo>
                  <a:pt x="6502298" y="606806"/>
                </a:lnTo>
                <a:lnTo>
                  <a:pt x="6495453" y="559993"/>
                </a:lnTo>
                <a:lnTo>
                  <a:pt x="6486741" y="513816"/>
                </a:lnTo>
                <a:lnTo>
                  <a:pt x="6476212" y="468299"/>
                </a:lnTo>
                <a:lnTo>
                  <a:pt x="6463893" y="423506"/>
                </a:lnTo>
                <a:lnTo>
                  <a:pt x="6449822" y="379463"/>
                </a:lnTo>
                <a:lnTo>
                  <a:pt x="6434048" y="336219"/>
                </a:lnTo>
                <a:lnTo>
                  <a:pt x="6416611" y="293789"/>
                </a:lnTo>
                <a:lnTo>
                  <a:pt x="6397536" y="252247"/>
                </a:lnTo>
                <a:lnTo>
                  <a:pt x="6376886" y="211607"/>
                </a:lnTo>
                <a:lnTo>
                  <a:pt x="6354686" y="171907"/>
                </a:lnTo>
                <a:lnTo>
                  <a:pt x="6330975" y="133210"/>
                </a:lnTo>
                <a:lnTo>
                  <a:pt x="6305791" y="95542"/>
                </a:lnTo>
                <a:lnTo>
                  <a:pt x="6279185" y="58940"/>
                </a:lnTo>
                <a:lnTo>
                  <a:pt x="6251194" y="23456"/>
                </a:lnTo>
                <a:lnTo>
                  <a:pt x="6231153" y="0"/>
                </a:lnTo>
                <a:lnTo>
                  <a:pt x="4498073" y="0"/>
                </a:lnTo>
                <a:lnTo>
                  <a:pt x="4450029" y="58940"/>
                </a:lnTo>
                <a:lnTo>
                  <a:pt x="4423422" y="95542"/>
                </a:lnTo>
                <a:lnTo>
                  <a:pt x="4398251" y="133210"/>
                </a:lnTo>
                <a:lnTo>
                  <a:pt x="4374540" y="171907"/>
                </a:lnTo>
                <a:lnTo>
                  <a:pt x="4352341" y="211607"/>
                </a:lnTo>
                <a:lnTo>
                  <a:pt x="4331678" y="252247"/>
                </a:lnTo>
                <a:lnTo>
                  <a:pt x="4312615" y="293789"/>
                </a:lnTo>
                <a:lnTo>
                  <a:pt x="4295178" y="336219"/>
                </a:lnTo>
                <a:lnTo>
                  <a:pt x="4279404" y="379463"/>
                </a:lnTo>
                <a:lnTo>
                  <a:pt x="4265333" y="423506"/>
                </a:lnTo>
                <a:lnTo>
                  <a:pt x="4253014" y="468299"/>
                </a:lnTo>
                <a:lnTo>
                  <a:pt x="4242473" y="513816"/>
                </a:lnTo>
                <a:lnTo>
                  <a:pt x="4233773" y="559993"/>
                </a:lnTo>
                <a:lnTo>
                  <a:pt x="4226928" y="606806"/>
                </a:lnTo>
                <a:lnTo>
                  <a:pt x="4221988" y="654202"/>
                </a:lnTo>
                <a:lnTo>
                  <a:pt x="4219003" y="702170"/>
                </a:lnTo>
                <a:lnTo>
                  <a:pt x="4217987" y="750633"/>
                </a:lnTo>
                <a:lnTo>
                  <a:pt x="4219003" y="799096"/>
                </a:lnTo>
                <a:lnTo>
                  <a:pt x="4221988" y="847064"/>
                </a:lnTo>
                <a:lnTo>
                  <a:pt x="4226928" y="894461"/>
                </a:lnTo>
                <a:lnTo>
                  <a:pt x="4233773" y="941273"/>
                </a:lnTo>
                <a:lnTo>
                  <a:pt x="4242473" y="987450"/>
                </a:lnTo>
                <a:lnTo>
                  <a:pt x="4253014" y="1032967"/>
                </a:lnTo>
                <a:lnTo>
                  <a:pt x="4265333" y="1077760"/>
                </a:lnTo>
                <a:lnTo>
                  <a:pt x="4279404" y="1121803"/>
                </a:lnTo>
                <a:lnTo>
                  <a:pt x="4295178" y="1165047"/>
                </a:lnTo>
                <a:lnTo>
                  <a:pt x="4312615" y="1207477"/>
                </a:lnTo>
                <a:lnTo>
                  <a:pt x="4331678" y="1249019"/>
                </a:lnTo>
                <a:lnTo>
                  <a:pt x="4352341" y="1289659"/>
                </a:lnTo>
                <a:lnTo>
                  <a:pt x="4374540" y="1329359"/>
                </a:lnTo>
                <a:lnTo>
                  <a:pt x="4398251" y="1368056"/>
                </a:lnTo>
                <a:lnTo>
                  <a:pt x="4423422" y="1405724"/>
                </a:lnTo>
                <a:lnTo>
                  <a:pt x="4450029" y="1442326"/>
                </a:lnTo>
                <a:lnTo>
                  <a:pt x="4478032" y="1477810"/>
                </a:lnTo>
                <a:lnTo>
                  <a:pt x="4507369" y="1512150"/>
                </a:lnTo>
                <a:lnTo>
                  <a:pt x="4538027" y="1545297"/>
                </a:lnTo>
                <a:lnTo>
                  <a:pt x="4569942" y="1577225"/>
                </a:lnTo>
                <a:lnTo>
                  <a:pt x="4603102" y="1607870"/>
                </a:lnTo>
                <a:lnTo>
                  <a:pt x="4637430" y="1637220"/>
                </a:lnTo>
                <a:lnTo>
                  <a:pt x="4672927" y="1665211"/>
                </a:lnTo>
                <a:lnTo>
                  <a:pt x="4709528" y="1691817"/>
                </a:lnTo>
                <a:lnTo>
                  <a:pt x="4747196" y="1716989"/>
                </a:lnTo>
                <a:lnTo>
                  <a:pt x="4785893" y="1740700"/>
                </a:lnTo>
                <a:lnTo>
                  <a:pt x="4825581" y="1762912"/>
                </a:lnTo>
                <a:lnTo>
                  <a:pt x="4866221" y="1783562"/>
                </a:lnTo>
                <a:lnTo>
                  <a:pt x="4907775" y="1802625"/>
                </a:lnTo>
                <a:lnTo>
                  <a:pt x="4950193" y="1820075"/>
                </a:lnTo>
                <a:lnTo>
                  <a:pt x="4993449" y="1835848"/>
                </a:lnTo>
                <a:lnTo>
                  <a:pt x="5037493" y="1849907"/>
                </a:lnTo>
                <a:lnTo>
                  <a:pt x="5082286" y="1862239"/>
                </a:lnTo>
                <a:lnTo>
                  <a:pt x="5127790" y="1872767"/>
                </a:lnTo>
                <a:lnTo>
                  <a:pt x="5173967" y="1881479"/>
                </a:lnTo>
                <a:lnTo>
                  <a:pt x="5220779" y="1888324"/>
                </a:lnTo>
                <a:lnTo>
                  <a:pt x="5268188" y="1893252"/>
                </a:lnTo>
                <a:lnTo>
                  <a:pt x="5316144" y="1896249"/>
                </a:lnTo>
                <a:lnTo>
                  <a:pt x="5364607" y="1897253"/>
                </a:lnTo>
                <a:lnTo>
                  <a:pt x="5413083" y="1896249"/>
                </a:lnTo>
                <a:lnTo>
                  <a:pt x="5461038" y="1893252"/>
                </a:lnTo>
                <a:lnTo>
                  <a:pt x="5508447" y="1888324"/>
                </a:lnTo>
                <a:lnTo>
                  <a:pt x="5555246" y="1881479"/>
                </a:lnTo>
                <a:lnTo>
                  <a:pt x="5601436" y="1872767"/>
                </a:lnTo>
                <a:lnTo>
                  <a:pt x="5646940" y="1862239"/>
                </a:lnTo>
                <a:lnTo>
                  <a:pt x="5691733" y="1849907"/>
                </a:lnTo>
                <a:lnTo>
                  <a:pt x="5735777" y="1835848"/>
                </a:lnTo>
                <a:lnTo>
                  <a:pt x="5779033" y="1820075"/>
                </a:lnTo>
                <a:lnTo>
                  <a:pt x="5821451" y="1802625"/>
                </a:lnTo>
                <a:lnTo>
                  <a:pt x="5863006" y="1783562"/>
                </a:lnTo>
                <a:lnTo>
                  <a:pt x="5903646" y="1762912"/>
                </a:lnTo>
                <a:lnTo>
                  <a:pt x="5943333" y="1740700"/>
                </a:lnTo>
                <a:lnTo>
                  <a:pt x="5982030" y="1716989"/>
                </a:lnTo>
                <a:lnTo>
                  <a:pt x="6019698" y="1691817"/>
                </a:lnTo>
                <a:lnTo>
                  <a:pt x="6056300" y="1665211"/>
                </a:lnTo>
                <a:lnTo>
                  <a:pt x="6091783" y="1637220"/>
                </a:lnTo>
                <a:lnTo>
                  <a:pt x="6126124" y="1607870"/>
                </a:lnTo>
                <a:lnTo>
                  <a:pt x="6159271" y="1577225"/>
                </a:lnTo>
                <a:lnTo>
                  <a:pt x="6191199" y="1545297"/>
                </a:lnTo>
                <a:lnTo>
                  <a:pt x="6221857" y="1512150"/>
                </a:lnTo>
                <a:lnTo>
                  <a:pt x="6251194" y="1477810"/>
                </a:lnTo>
                <a:lnTo>
                  <a:pt x="6279185" y="1442326"/>
                </a:lnTo>
                <a:lnTo>
                  <a:pt x="6305791" y="1405724"/>
                </a:lnTo>
                <a:lnTo>
                  <a:pt x="6330975" y="1368056"/>
                </a:lnTo>
                <a:lnTo>
                  <a:pt x="6354686" y="1329359"/>
                </a:lnTo>
                <a:lnTo>
                  <a:pt x="6376886" y="1289659"/>
                </a:lnTo>
                <a:lnTo>
                  <a:pt x="6397536" y="1249019"/>
                </a:lnTo>
                <a:lnTo>
                  <a:pt x="6416611" y="1207477"/>
                </a:lnTo>
                <a:lnTo>
                  <a:pt x="6434048" y="1165047"/>
                </a:lnTo>
                <a:lnTo>
                  <a:pt x="6449822" y="1121803"/>
                </a:lnTo>
                <a:lnTo>
                  <a:pt x="6463893" y="1077760"/>
                </a:lnTo>
                <a:lnTo>
                  <a:pt x="6476212" y="1032967"/>
                </a:lnTo>
                <a:lnTo>
                  <a:pt x="6486741" y="987450"/>
                </a:lnTo>
                <a:lnTo>
                  <a:pt x="6495453" y="941273"/>
                </a:lnTo>
                <a:lnTo>
                  <a:pt x="6502298" y="894461"/>
                </a:lnTo>
                <a:lnTo>
                  <a:pt x="6507239" y="847064"/>
                </a:lnTo>
                <a:lnTo>
                  <a:pt x="6510223" y="799096"/>
                </a:lnTo>
                <a:lnTo>
                  <a:pt x="6511226" y="750633"/>
                </a:lnTo>
                <a:close/>
              </a:path>
              <a:path w="13428344" h="7560309">
                <a:moveTo>
                  <a:pt x="7263955" y="2331961"/>
                </a:moveTo>
                <a:lnTo>
                  <a:pt x="7261212" y="2284628"/>
                </a:lnTo>
                <a:lnTo>
                  <a:pt x="7253224" y="2238883"/>
                </a:lnTo>
                <a:lnTo>
                  <a:pt x="7240283" y="2195055"/>
                </a:lnTo>
                <a:lnTo>
                  <a:pt x="7222693" y="2153437"/>
                </a:lnTo>
                <a:lnTo>
                  <a:pt x="7200747" y="2114334"/>
                </a:lnTo>
                <a:lnTo>
                  <a:pt x="7174763" y="2078062"/>
                </a:lnTo>
                <a:lnTo>
                  <a:pt x="7145045" y="2044915"/>
                </a:lnTo>
                <a:lnTo>
                  <a:pt x="7111898" y="2015197"/>
                </a:lnTo>
                <a:lnTo>
                  <a:pt x="7075627" y="1989213"/>
                </a:lnTo>
                <a:lnTo>
                  <a:pt x="7036524" y="1967268"/>
                </a:lnTo>
                <a:lnTo>
                  <a:pt x="6994906" y="1949678"/>
                </a:lnTo>
                <a:lnTo>
                  <a:pt x="6951078" y="1936737"/>
                </a:lnTo>
                <a:lnTo>
                  <a:pt x="6905333" y="1928736"/>
                </a:lnTo>
                <a:lnTo>
                  <a:pt x="6858000" y="1926005"/>
                </a:lnTo>
                <a:lnTo>
                  <a:pt x="6810654" y="1928736"/>
                </a:lnTo>
                <a:lnTo>
                  <a:pt x="6764909" y="1936737"/>
                </a:lnTo>
                <a:lnTo>
                  <a:pt x="6721081" y="1949678"/>
                </a:lnTo>
                <a:lnTo>
                  <a:pt x="6679463" y="1967268"/>
                </a:lnTo>
                <a:lnTo>
                  <a:pt x="6640360" y="1989213"/>
                </a:lnTo>
                <a:lnTo>
                  <a:pt x="6604089" y="2015197"/>
                </a:lnTo>
                <a:lnTo>
                  <a:pt x="6570942" y="2044915"/>
                </a:lnTo>
                <a:lnTo>
                  <a:pt x="6541224" y="2078062"/>
                </a:lnTo>
                <a:lnTo>
                  <a:pt x="6515240" y="2114334"/>
                </a:lnTo>
                <a:lnTo>
                  <a:pt x="6493294" y="2153437"/>
                </a:lnTo>
                <a:lnTo>
                  <a:pt x="6475704" y="2195055"/>
                </a:lnTo>
                <a:lnTo>
                  <a:pt x="6462763" y="2238883"/>
                </a:lnTo>
                <a:lnTo>
                  <a:pt x="6454775" y="2284628"/>
                </a:lnTo>
                <a:lnTo>
                  <a:pt x="6452044" y="2331961"/>
                </a:lnTo>
                <a:lnTo>
                  <a:pt x="6454775" y="2379307"/>
                </a:lnTo>
                <a:lnTo>
                  <a:pt x="6462763" y="2425039"/>
                </a:lnTo>
                <a:lnTo>
                  <a:pt x="6475704" y="2468867"/>
                </a:lnTo>
                <a:lnTo>
                  <a:pt x="6493294" y="2510485"/>
                </a:lnTo>
                <a:lnTo>
                  <a:pt x="6515240" y="2549588"/>
                </a:lnTo>
                <a:lnTo>
                  <a:pt x="6541224" y="2585859"/>
                </a:lnTo>
                <a:lnTo>
                  <a:pt x="6570942" y="2619006"/>
                </a:lnTo>
                <a:lnTo>
                  <a:pt x="6604089" y="2648724"/>
                </a:lnTo>
                <a:lnTo>
                  <a:pt x="6640360" y="2674709"/>
                </a:lnTo>
                <a:lnTo>
                  <a:pt x="6679463" y="2696654"/>
                </a:lnTo>
                <a:lnTo>
                  <a:pt x="6721081" y="2714244"/>
                </a:lnTo>
                <a:lnTo>
                  <a:pt x="6764909" y="2727185"/>
                </a:lnTo>
                <a:lnTo>
                  <a:pt x="6810654" y="2735173"/>
                </a:lnTo>
                <a:lnTo>
                  <a:pt x="6858000" y="2737904"/>
                </a:lnTo>
                <a:lnTo>
                  <a:pt x="6905333" y="2735173"/>
                </a:lnTo>
                <a:lnTo>
                  <a:pt x="6951078" y="2727185"/>
                </a:lnTo>
                <a:lnTo>
                  <a:pt x="6994906" y="2714244"/>
                </a:lnTo>
                <a:lnTo>
                  <a:pt x="7036524" y="2696654"/>
                </a:lnTo>
                <a:lnTo>
                  <a:pt x="7075627" y="2674709"/>
                </a:lnTo>
                <a:lnTo>
                  <a:pt x="7111898" y="2648724"/>
                </a:lnTo>
                <a:lnTo>
                  <a:pt x="7145045" y="2619006"/>
                </a:lnTo>
                <a:lnTo>
                  <a:pt x="7174763" y="2585859"/>
                </a:lnTo>
                <a:lnTo>
                  <a:pt x="7200747" y="2549588"/>
                </a:lnTo>
                <a:lnTo>
                  <a:pt x="7222693" y="2510485"/>
                </a:lnTo>
                <a:lnTo>
                  <a:pt x="7240283" y="2468867"/>
                </a:lnTo>
                <a:lnTo>
                  <a:pt x="7253224" y="2425039"/>
                </a:lnTo>
                <a:lnTo>
                  <a:pt x="7261212" y="2379307"/>
                </a:lnTo>
                <a:lnTo>
                  <a:pt x="7263955" y="2331961"/>
                </a:lnTo>
                <a:close/>
              </a:path>
              <a:path w="13428344" h="7560309">
                <a:moveTo>
                  <a:pt x="9683991" y="6804571"/>
                </a:moveTo>
                <a:lnTo>
                  <a:pt x="9679940" y="6759384"/>
                </a:lnTo>
                <a:lnTo>
                  <a:pt x="9668256" y="6716852"/>
                </a:lnTo>
                <a:lnTo>
                  <a:pt x="9649663" y="6677685"/>
                </a:lnTo>
                <a:lnTo>
                  <a:pt x="9624860" y="6642595"/>
                </a:lnTo>
                <a:lnTo>
                  <a:pt x="9594558" y="6612280"/>
                </a:lnTo>
                <a:lnTo>
                  <a:pt x="9559468" y="6587477"/>
                </a:lnTo>
                <a:lnTo>
                  <a:pt x="9520301" y="6568884"/>
                </a:lnTo>
                <a:lnTo>
                  <a:pt x="9477756" y="6557200"/>
                </a:lnTo>
                <a:lnTo>
                  <a:pt x="9432569" y="6553149"/>
                </a:lnTo>
                <a:lnTo>
                  <a:pt x="9387370" y="6557200"/>
                </a:lnTo>
                <a:lnTo>
                  <a:pt x="9344838" y="6568884"/>
                </a:lnTo>
                <a:lnTo>
                  <a:pt x="9305658" y="6587477"/>
                </a:lnTo>
                <a:lnTo>
                  <a:pt x="9270568" y="6612280"/>
                </a:lnTo>
                <a:lnTo>
                  <a:pt x="9240266" y="6642595"/>
                </a:lnTo>
                <a:lnTo>
                  <a:pt x="9215463" y="6677685"/>
                </a:lnTo>
                <a:lnTo>
                  <a:pt x="9196857" y="6716852"/>
                </a:lnTo>
                <a:lnTo>
                  <a:pt x="9185186" y="6759384"/>
                </a:lnTo>
                <a:lnTo>
                  <a:pt x="9181135" y="6804571"/>
                </a:lnTo>
                <a:lnTo>
                  <a:pt x="9185186" y="6849770"/>
                </a:lnTo>
                <a:lnTo>
                  <a:pt x="9196857" y="6892303"/>
                </a:lnTo>
                <a:lnTo>
                  <a:pt x="9215463" y="6931482"/>
                </a:lnTo>
                <a:lnTo>
                  <a:pt x="9240266" y="6966572"/>
                </a:lnTo>
                <a:lnTo>
                  <a:pt x="9270568" y="6996874"/>
                </a:lnTo>
                <a:lnTo>
                  <a:pt x="9305658" y="7021677"/>
                </a:lnTo>
                <a:lnTo>
                  <a:pt x="9344838" y="7040283"/>
                </a:lnTo>
                <a:lnTo>
                  <a:pt x="9387370" y="7051954"/>
                </a:lnTo>
                <a:lnTo>
                  <a:pt x="9432569" y="7056006"/>
                </a:lnTo>
                <a:lnTo>
                  <a:pt x="9477756" y="7051954"/>
                </a:lnTo>
                <a:lnTo>
                  <a:pt x="9520301" y="7040283"/>
                </a:lnTo>
                <a:lnTo>
                  <a:pt x="9559468" y="7021677"/>
                </a:lnTo>
                <a:lnTo>
                  <a:pt x="9594558" y="6996874"/>
                </a:lnTo>
                <a:lnTo>
                  <a:pt x="9624860" y="6966572"/>
                </a:lnTo>
                <a:lnTo>
                  <a:pt x="9649663" y="6931482"/>
                </a:lnTo>
                <a:lnTo>
                  <a:pt x="9668256" y="6892303"/>
                </a:lnTo>
                <a:lnTo>
                  <a:pt x="9679940" y="6849770"/>
                </a:lnTo>
                <a:lnTo>
                  <a:pt x="9683991" y="6804571"/>
                </a:lnTo>
                <a:close/>
              </a:path>
              <a:path w="13428344" h="7560309">
                <a:moveTo>
                  <a:pt x="10395331" y="7534681"/>
                </a:moveTo>
                <a:lnTo>
                  <a:pt x="10392639" y="7487958"/>
                </a:lnTo>
                <a:lnTo>
                  <a:pt x="10384752" y="7442809"/>
                </a:lnTo>
                <a:lnTo>
                  <a:pt x="10371976" y="7399553"/>
                </a:lnTo>
                <a:lnTo>
                  <a:pt x="10354615" y="7358481"/>
                </a:lnTo>
                <a:lnTo>
                  <a:pt x="10332949" y="7319886"/>
                </a:lnTo>
                <a:lnTo>
                  <a:pt x="10307307" y="7284085"/>
                </a:lnTo>
                <a:lnTo>
                  <a:pt x="10277983" y="7251370"/>
                </a:lnTo>
                <a:lnTo>
                  <a:pt x="10245268" y="7222033"/>
                </a:lnTo>
                <a:lnTo>
                  <a:pt x="10209454" y="7196391"/>
                </a:lnTo>
                <a:lnTo>
                  <a:pt x="10170871" y="7174738"/>
                </a:lnTo>
                <a:lnTo>
                  <a:pt x="10129787" y="7157377"/>
                </a:lnTo>
                <a:lnTo>
                  <a:pt x="10086530" y="7144601"/>
                </a:lnTo>
                <a:lnTo>
                  <a:pt x="10041395" y="7136714"/>
                </a:lnTo>
                <a:lnTo>
                  <a:pt x="9994659" y="7134009"/>
                </a:lnTo>
                <a:lnTo>
                  <a:pt x="9947935" y="7136714"/>
                </a:lnTo>
                <a:lnTo>
                  <a:pt x="9902787" y="7144601"/>
                </a:lnTo>
                <a:lnTo>
                  <a:pt x="9859531" y="7157377"/>
                </a:lnTo>
                <a:lnTo>
                  <a:pt x="9818459" y="7174738"/>
                </a:lnTo>
                <a:lnTo>
                  <a:pt x="9779864" y="7196391"/>
                </a:lnTo>
                <a:lnTo>
                  <a:pt x="9744062" y="7222033"/>
                </a:lnTo>
                <a:lnTo>
                  <a:pt x="9711347" y="7251370"/>
                </a:lnTo>
                <a:lnTo>
                  <a:pt x="9682010" y="7284085"/>
                </a:lnTo>
                <a:lnTo>
                  <a:pt x="9656369" y="7319886"/>
                </a:lnTo>
                <a:lnTo>
                  <a:pt x="9634715" y="7358481"/>
                </a:lnTo>
                <a:lnTo>
                  <a:pt x="9617354" y="7399553"/>
                </a:lnTo>
                <a:lnTo>
                  <a:pt x="9604578" y="7442809"/>
                </a:lnTo>
                <a:lnTo>
                  <a:pt x="9596691" y="7487958"/>
                </a:lnTo>
                <a:lnTo>
                  <a:pt x="9593986" y="7534681"/>
                </a:lnTo>
                <a:lnTo>
                  <a:pt x="9595447" y="7560005"/>
                </a:lnTo>
                <a:lnTo>
                  <a:pt x="10393870" y="7560005"/>
                </a:lnTo>
                <a:lnTo>
                  <a:pt x="10395331" y="7534681"/>
                </a:lnTo>
                <a:close/>
              </a:path>
              <a:path w="13428344" h="7560309">
                <a:moveTo>
                  <a:pt x="10611333" y="6562687"/>
                </a:moveTo>
                <a:lnTo>
                  <a:pt x="10608640" y="6515963"/>
                </a:lnTo>
                <a:lnTo>
                  <a:pt x="10600754" y="6470815"/>
                </a:lnTo>
                <a:lnTo>
                  <a:pt x="10587977" y="6427559"/>
                </a:lnTo>
                <a:lnTo>
                  <a:pt x="10570604" y="6386474"/>
                </a:lnTo>
                <a:lnTo>
                  <a:pt x="10548950" y="6347892"/>
                </a:lnTo>
                <a:lnTo>
                  <a:pt x="10523309" y="6312090"/>
                </a:lnTo>
                <a:lnTo>
                  <a:pt x="10493985" y="6279362"/>
                </a:lnTo>
                <a:lnTo>
                  <a:pt x="10461257" y="6250038"/>
                </a:lnTo>
                <a:lnTo>
                  <a:pt x="10425455" y="6224397"/>
                </a:lnTo>
                <a:lnTo>
                  <a:pt x="10386873" y="6202731"/>
                </a:lnTo>
                <a:lnTo>
                  <a:pt x="10345788" y="6185370"/>
                </a:lnTo>
                <a:lnTo>
                  <a:pt x="10302532" y="6172593"/>
                </a:lnTo>
                <a:lnTo>
                  <a:pt x="10257384" y="6164707"/>
                </a:lnTo>
                <a:lnTo>
                  <a:pt x="10210660" y="6162014"/>
                </a:lnTo>
                <a:lnTo>
                  <a:pt x="10163937" y="6164707"/>
                </a:lnTo>
                <a:lnTo>
                  <a:pt x="10118788" y="6172593"/>
                </a:lnTo>
                <a:lnTo>
                  <a:pt x="10075532" y="6185370"/>
                </a:lnTo>
                <a:lnTo>
                  <a:pt x="10034460" y="6202731"/>
                </a:lnTo>
                <a:lnTo>
                  <a:pt x="9995865" y="6224397"/>
                </a:lnTo>
                <a:lnTo>
                  <a:pt x="9960064" y="6250038"/>
                </a:lnTo>
                <a:lnTo>
                  <a:pt x="9927349" y="6279362"/>
                </a:lnTo>
                <a:lnTo>
                  <a:pt x="9898012" y="6312090"/>
                </a:lnTo>
                <a:lnTo>
                  <a:pt x="9872370" y="6347892"/>
                </a:lnTo>
                <a:lnTo>
                  <a:pt x="9850717" y="6386474"/>
                </a:lnTo>
                <a:lnTo>
                  <a:pt x="9833343" y="6427559"/>
                </a:lnTo>
                <a:lnTo>
                  <a:pt x="9820567" y="6470815"/>
                </a:lnTo>
                <a:lnTo>
                  <a:pt x="9812680" y="6515963"/>
                </a:lnTo>
                <a:lnTo>
                  <a:pt x="9809988" y="6562687"/>
                </a:lnTo>
                <a:lnTo>
                  <a:pt x="9812680" y="6609410"/>
                </a:lnTo>
                <a:lnTo>
                  <a:pt x="9820567" y="6654559"/>
                </a:lnTo>
                <a:lnTo>
                  <a:pt x="9833343" y="6697815"/>
                </a:lnTo>
                <a:lnTo>
                  <a:pt x="9850717" y="6738887"/>
                </a:lnTo>
                <a:lnTo>
                  <a:pt x="9872370" y="6777482"/>
                </a:lnTo>
                <a:lnTo>
                  <a:pt x="9898012" y="6813283"/>
                </a:lnTo>
                <a:lnTo>
                  <a:pt x="9927349" y="6845998"/>
                </a:lnTo>
                <a:lnTo>
                  <a:pt x="9960064" y="6875323"/>
                </a:lnTo>
                <a:lnTo>
                  <a:pt x="9995865" y="6900964"/>
                </a:lnTo>
                <a:lnTo>
                  <a:pt x="10034460" y="6922617"/>
                </a:lnTo>
                <a:lnTo>
                  <a:pt x="10075532" y="6939991"/>
                </a:lnTo>
                <a:lnTo>
                  <a:pt x="10118788" y="6952767"/>
                </a:lnTo>
                <a:lnTo>
                  <a:pt x="10163937" y="6960654"/>
                </a:lnTo>
                <a:lnTo>
                  <a:pt x="10210660" y="6963346"/>
                </a:lnTo>
                <a:lnTo>
                  <a:pt x="10257384" y="6960654"/>
                </a:lnTo>
                <a:lnTo>
                  <a:pt x="10302532" y="6952767"/>
                </a:lnTo>
                <a:lnTo>
                  <a:pt x="10345788" y="6939991"/>
                </a:lnTo>
                <a:lnTo>
                  <a:pt x="10386873" y="6922617"/>
                </a:lnTo>
                <a:lnTo>
                  <a:pt x="10425455" y="6900964"/>
                </a:lnTo>
                <a:lnTo>
                  <a:pt x="10461257" y="6875323"/>
                </a:lnTo>
                <a:lnTo>
                  <a:pt x="10493985" y="6845998"/>
                </a:lnTo>
                <a:lnTo>
                  <a:pt x="10523309" y="6813283"/>
                </a:lnTo>
                <a:lnTo>
                  <a:pt x="10548950" y="6777482"/>
                </a:lnTo>
                <a:lnTo>
                  <a:pt x="10570604" y="6738887"/>
                </a:lnTo>
                <a:lnTo>
                  <a:pt x="10587977" y="6697815"/>
                </a:lnTo>
                <a:lnTo>
                  <a:pt x="10600754" y="6654559"/>
                </a:lnTo>
                <a:lnTo>
                  <a:pt x="10608640" y="6609410"/>
                </a:lnTo>
                <a:lnTo>
                  <a:pt x="10611333" y="6562687"/>
                </a:lnTo>
                <a:close/>
              </a:path>
              <a:path w="13428344" h="7560309">
                <a:moveTo>
                  <a:pt x="13427951" y="4216793"/>
                </a:moveTo>
                <a:lnTo>
                  <a:pt x="13384009" y="4191304"/>
                </a:lnTo>
                <a:lnTo>
                  <a:pt x="13342938" y="4173944"/>
                </a:lnTo>
                <a:lnTo>
                  <a:pt x="13299669" y="4161167"/>
                </a:lnTo>
                <a:lnTo>
                  <a:pt x="13254533" y="4153281"/>
                </a:lnTo>
                <a:lnTo>
                  <a:pt x="13207810" y="4150576"/>
                </a:lnTo>
                <a:lnTo>
                  <a:pt x="13161074" y="4153281"/>
                </a:lnTo>
                <a:lnTo>
                  <a:pt x="13115938" y="4161167"/>
                </a:lnTo>
                <a:lnTo>
                  <a:pt x="13072669" y="4173944"/>
                </a:lnTo>
                <a:lnTo>
                  <a:pt x="13031597" y="4191304"/>
                </a:lnTo>
                <a:lnTo>
                  <a:pt x="12993015" y="4212958"/>
                </a:lnTo>
                <a:lnTo>
                  <a:pt x="12957201" y="4238599"/>
                </a:lnTo>
                <a:lnTo>
                  <a:pt x="12924485" y="4267936"/>
                </a:lnTo>
                <a:lnTo>
                  <a:pt x="12895161" y="4300652"/>
                </a:lnTo>
                <a:lnTo>
                  <a:pt x="12869507" y="4336453"/>
                </a:lnTo>
                <a:lnTo>
                  <a:pt x="12847854" y="4375048"/>
                </a:lnTo>
                <a:lnTo>
                  <a:pt x="12830493" y="4416120"/>
                </a:lnTo>
                <a:lnTo>
                  <a:pt x="12817716" y="4459389"/>
                </a:lnTo>
                <a:lnTo>
                  <a:pt x="12809830" y="4504525"/>
                </a:lnTo>
                <a:lnTo>
                  <a:pt x="12807137" y="4551248"/>
                </a:lnTo>
                <a:lnTo>
                  <a:pt x="12809830" y="4597971"/>
                </a:lnTo>
                <a:lnTo>
                  <a:pt x="12817716" y="4643120"/>
                </a:lnTo>
                <a:lnTo>
                  <a:pt x="12830493" y="4686376"/>
                </a:lnTo>
                <a:lnTo>
                  <a:pt x="12847854" y="4727448"/>
                </a:lnTo>
                <a:lnTo>
                  <a:pt x="12869507" y="4766043"/>
                </a:lnTo>
                <a:lnTo>
                  <a:pt x="12895161" y="4801844"/>
                </a:lnTo>
                <a:lnTo>
                  <a:pt x="12924485" y="4834560"/>
                </a:lnTo>
                <a:lnTo>
                  <a:pt x="12957201" y="4863897"/>
                </a:lnTo>
                <a:lnTo>
                  <a:pt x="12993015" y="4889538"/>
                </a:lnTo>
                <a:lnTo>
                  <a:pt x="13031597" y="4911191"/>
                </a:lnTo>
                <a:lnTo>
                  <a:pt x="13072669" y="4928552"/>
                </a:lnTo>
                <a:lnTo>
                  <a:pt x="13115938" y="4941328"/>
                </a:lnTo>
                <a:lnTo>
                  <a:pt x="13161074" y="4949215"/>
                </a:lnTo>
                <a:lnTo>
                  <a:pt x="13207810" y="4951908"/>
                </a:lnTo>
                <a:lnTo>
                  <a:pt x="13254533" y="4949215"/>
                </a:lnTo>
                <a:lnTo>
                  <a:pt x="13299669" y="4941328"/>
                </a:lnTo>
                <a:lnTo>
                  <a:pt x="13342938" y="4928552"/>
                </a:lnTo>
                <a:lnTo>
                  <a:pt x="13384009" y="4911191"/>
                </a:lnTo>
                <a:lnTo>
                  <a:pt x="13422605" y="4889538"/>
                </a:lnTo>
                <a:lnTo>
                  <a:pt x="13427951" y="4885702"/>
                </a:lnTo>
                <a:lnTo>
                  <a:pt x="13427951" y="4216793"/>
                </a:lnTo>
                <a:close/>
              </a:path>
              <a:path w="13428344" h="7560309">
                <a:moveTo>
                  <a:pt x="13427951" y="2274125"/>
                </a:moveTo>
                <a:lnTo>
                  <a:pt x="13356323" y="2246414"/>
                </a:lnTo>
                <a:lnTo>
                  <a:pt x="13312559" y="2233130"/>
                </a:lnTo>
                <a:lnTo>
                  <a:pt x="13267868" y="2222106"/>
                </a:lnTo>
                <a:lnTo>
                  <a:pt x="13222300" y="2213419"/>
                </a:lnTo>
                <a:lnTo>
                  <a:pt x="13175920" y="2207120"/>
                </a:lnTo>
                <a:lnTo>
                  <a:pt x="13128803" y="2203297"/>
                </a:lnTo>
                <a:lnTo>
                  <a:pt x="13081013" y="2202015"/>
                </a:lnTo>
                <a:lnTo>
                  <a:pt x="13033223" y="2203297"/>
                </a:lnTo>
                <a:lnTo>
                  <a:pt x="12986106" y="2207120"/>
                </a:lnTo>
                <a:lnTo>
                  <a:pt x="12939725" y="2213419"/>
                </a:lnTo>
                <a:lnTo>
                  <a:pt x="12894158" y="2222106"/>
                </a:lnTo>
                <a:lnTo>
                  <a:pt x="12849454" y="2233130"/>
                </a:lnTo>
                <a:lnTo>
                  <a:pt x="12805702" y="2246414"/>
                </a:lnTo>
                <a:lnTo>
                  <a:pt x="12762954" y="2261908"/>
                </a:lnTo>
                <a:lnTo>
                  <a:pt x="12721273" y="2279535"/>
                </a:lnTo>
                <a:lnTo>
                  <a:pt x="12680722" y="2299233"/>
                </a:lnTo>
                <a:lnTo>
                  <a:pt x="12641390" y="2320937"/>
                </a:lnTo>
                <a:lnTo>
                  <a:pt x="12603328" y="2344572"/>
                </a:lnTo>
                <a:lnTo>
                  <a:pt x="12566599" y="2370074"/>
                </a:lnTo>
                <a:lnTo>
                  <a:pt x="12531281" y="2397379"/>
                </a:lnTo>
                <a:lnTo>
                  <a:pt x="12497422" y="2426411"/>
                </a:lnTo>
                <a:lnTo>
                  <a:pt x="12465114" y="2457132"/>
                </a:lnTo>
                <a:lnTo>
                  <a:pt x="12434392" y="2489441"/>
                </a:lnTo>
                <a:lnTo>
                  <a:pt x="12405360" y="2523299"/>
                </a:lnTo>
                <a:lnTo>
                  <a:pt x="12378055" y="2558618"/>
                </a:lnTo>
                <a:lnTo>
                  <a:pt x="12352541" y="2595346"/>
                </a:lnTo>
                <a:lnTo>
                  <a:pt x="12328919" y="2633408"/>
                </a:lnTo>
                <a:lnTo>
                  <a:pt x="12307214" y="2672753"/>
                </a:lnTo>
                <a:lnTo>
                  <a:pt x="12287517" y="2713291"/>
                </a:lnTo>
                <a:lnTo>
                  <a:pt x="12269889" y="2754973"/>
                </a:lnTo>
                <a:lnTo>
                  <a:pt x="12254395" y="2797721"/>
                </a:lnTo>
                <a:lnTo>
                  <a:pt x="12241111" y="2841485"/>
                </a:lnTo>
                <a:lnTo>
                  <a:pt x="12230087" y="2886176"/>
                </a:lnTo>
                <a:lnTo>
                  <a:pt x="12221388" y="2931744"/>
                </a:lnTo>
                <a:lnTo>
                  <a:pt x="12215101" y="2978124"/>
                </a:lnTo>
                <a:lnTo>
                  <a:pt x="12211279" y="3025241"/>
                </a:lnTo>
                <a:lnTo>
                  <a:pt x="12209996" y="3073031"/>
                </a:lnTo>
                <a:lnTo>
                  <a:pt x="12211279" y="3120821"/>
                </a:lnTo>
                <a:lnTo>
                  <a:pt x="12215101" y="3167938"/>
                </a:lnTo>
                <a:lnTo>
                  <a:pt x="12221388" y="3214319"/>
                </a:lnTo>
                <a:lnTo>
                  <a:pt x="12230087" y="3259886"/>
                </a:lnTo>
                <a:lnTo>
                  <a:pt x="12241111" y="3304578"/>
                </a:lnTo>
                <a:lnTo>
                  <a:pt x="12254395" y="3348342"/>
                </a:lnTo>
                <a:lnTo>
                  <a:pt x="12269889" y="3391090"/>
                </a:lnTo>
                <a:lnTo>
                  <a:pt x="12287517" y="3432772"/>
                </a:lnTo>
                <a:lnTo>
                  <a:pt x="12307214" y="3473310"/>
                </a:lnTo>
                <a:lnTo>
                  <a:pt x="12328919" y="3512655"/>
                </a:lnTo>
                <a:lnTo>
                  <a:pt x="12352541" y="3550716"/>
                </a:lnTo>
                <a:lnTo>
                  <a:pt x="12378055" y="3587445"/>
                </a:lnTo>
                <a:lnTo>
                  <a:pt x="12405360" y="3622764"/>
                </a:lnTo>
                <a:lnTo>
                  <a:pt x="12434392" y="3656622"/>
                </a:lnTo>
                <a:lnTo>
                  <a:pt x="12465114" y="3688931"/>
                </a:lnTo>
                <a:lnTo>
                  <a:pt x="12497422" y="3719639"/>
                </a:lnTo>
                <a:lnTo>
                  <a:pt x="12531281" y="3748684"/>
                </a:lnTo>
                <a:lnTo>
                  <a:pt x="12566599" y="3775989"/>
                </a:lnTo>
                <a:lnTo>
                  <a:pt x="12603328" y="3801491"/>
                </a:lnTo>
                <a:lnTo>
                  <a:pt x="12641390" y="3825125"/>
                </a:lnTo>
                <a:lnTo>
                  <a:pt x="12680722" y="3846830"/>
                </a:lnTo>
                <a:lnTo>
                  <a:pt x="12721273" y="3866527"/>
                </a:lnTo>
                <a:lnTo>
                  <a:pt x="12762954" y="3884155"/>
                </a:lnTo>
                <a:lnTo>
                  <a:pt x="12805702" y="3899636"/>
                </a:lnTo>
                <a:lnTo>
                  <a:pt x="12849454" y="3912933"/>
                </a:lnTo>
                <a:lnTo>
                  <a:pt x="12894158" y="3923957"/>
                </a:lnTo>
                <a:lnTo>
                  <a:pt x="12939725" y="3932644"/>
                </a:lnTo>
                <a:lnTo>
                  <a:pt x="12986106" y="3938930"/>
                </a:lnTo>
                <a:lnTo>
                  <a:pt x="13033223" y="3942753"/>
                </a:lnTo>
                <a:lnTo>
                  <a:pt x="13081013" y="3944048"/>
                </a:lnTo>
                <a:lnTo>
                  <a:pt x="13128803" y="3942753"/>
                </a:lnTo>
                <a:lnTo>
                  <a:pt x="13175920" y="3938930"/>
                </a:lnTo>
                <a:lnTo>
                  <a:pt x="13222300" y="3932644"/>
                </a:lnTo>
                <a:lnTo>
                  <a:pt x="13267868" y="3923957"/>
                </a:lnTo>
                <a:lnTo>
                  <a:pt x="13312559" y="3912933"/>
                </a:lnTo>
                <a:lnTo>
                  <a:pt x="13356323" y="3899636"/>
                </a:lnTo>
                <a:lnTo>
                  <a:pt x="13399072" y="3884155"/>
                </a:lnTo>
                <a:lnTo>
                  <a:pt x="13427951" y="3871938"/>
                </a:lnTo>
                <a:lnTo>
                  <a:pt x="13427951" y="2274125"/>
                </a:lnTo>
                <a:close/>
              </a:path>
            </a:pathLst>
          </a:custGeom>
          <a:solidFill>
            <a:srgbClr val="00AFFF">
              <a:alpha val="23999"/>
            </a:srgbClr>
          </a:solidFill>
        </p:spPr>
        <p:txBody>
          <a:bodyPr wrap="square" lIns="0" tIns="0" rIns="0" bIns="0" rtlCol="0"/>
          <a:lstStyle/>
          <a:p>
            <a:endParaRPr/>
          </a:p>
        </p:txBody>
      </p:sp>
      <p:sp>
        <p:nvSpPr>
          <p:cNvPr id="33" name="object 13">
            <a:extLst>
              <a:ext uri="{FF2B5EF4-FFF2-40B4-BE49-F238E27FC236}">
                <a16:creationId xmlns:a16="http://schemas.microsoft.com/office/drawing/2014/main" id="{A0C82D7B-43A0-E7DA-A947-D2D94D26026C}"/>
              </a:ext>
            </a:extLst>
          </p:cNvPr>
          <p:cNvSpPr/>
          <p:nvPr/>
        </p:nvSpPr>
        <p:spPr>
          <a:xfrm rot="10800000">
            <a:off x="11287374" y="7555196"/>
            <a:ext cx="371988" cy="386441"/>
          </a:xfrm>
          <a:custGeom>
            <a:avLst/>
            <a:gdLst/>
            <a:ahLst/>
            <a:cxnLst/>
            <a:rect l="l" t="t" r="r" b="b"/>
            <a:pathLst>
              <a:path w="382905" h="388619">
                <a:moveTo>
                  <a:pt x="191198" y="0"/>
                </a:moveTo>
                <a:lnTo>
                  <a:pt x="147361" y="5131"/>
                </a:lnTo>
                <a:lnTo>
                  <a:pt x="107117" y="19747"/>
                </a:lnTo>
                <a:lnTo>
                  <a:pt x="71617" y="42682"/>
                </a:lnTo>
                <a:lnTo>
                  <a:pt x="42006" y="72771"/>
                </a:lnTo>
                <a:lnTo>
                  <a:pt x="19435" y="108846"/>
                </a:lnTo>
                <a:lnTo>
                  <a:pt x="5050" y="149744"/>
                </a:lnTo>
                <a:lnTo>
                  <a:pt x="0" y="194297"/>
                </a:lnTo>
                <a:lnTo>
                  <a:pt x="5050" y="238850"/>
                </a:lnTo>
                <a:lnTo>
                  <a:pt x="19435" y="279750"/>
                </a:lnTo>
                <a:lnTo>
                  <a:pt x="42006" y="315828"/>
                </a:lnTo>
                <a:lnTo>
                  <a:pt x="71617" y="345919"/>
                </a:lnTo>
                <a:lnTo>
                  <a:pt x="107117" y="368857"/>
                </a:lnTo>
                <a:lnTo>
                  <a:pt x="147361" y="383475"/>
                </a:lnTo>
                <a:lnTo>
                  <a:pt x="191198" y="388607"/>
                </a:lnTo>
                <a:lnTo>
                  <a:pt x="235039" y="383475"/>
                </a:lnTo>
                <a:lnTo>
                  <a:pt x="275284" y="368857"/>
                </a:lnTo>
                <a:lnTo>
                  <a:pt x="310785" y="345919"/>
                </a:lnTo>
                <a:lnTo>
                  <a:pt x="340394" y="315828"/>
                </a:lnTo>
                <a:lnTo>
                  <a:pt x="362964" y="279750"/>
                </a:lnTo>
                <a:lnTo>
                  <a:pt x="377347" y="238850"/>
                </a:lnTo>
                <a:lnTo>
                  <a:pt x="382397" y="194297"/>
                </a:lnTo>
                <a:lnTo>
                  <a:pt x="377347" y="149744"/>
                </a:lnTo>
                <a:lnTo>
                  <a:pt x="362964" y="108846"/>
                </a:lnTo>
                <a:lnTo>
                  <a:pt x="340394" y="72771"/>
                </a:lnTo>
                <a:lnTo>
                  <a:pt x="310785" y="42682"/>
                </a:lnTo>
                <a:lnTo>
                  <a:pt x="275284" y="19747"/>
                </a:lnTo>
                <a:lnTo>
                  <a:pt x="235039" y="5131"/>
                </a:lnTo>
                <a:lnTo>
                  <a:pt x="191198" y="0"/>
                </a:lnTo>
                <a:close/>
              </a:path>
            </a:pathLst>
          </a:custGeom>
          <a:solidFill>
            <a:srgbClr val="0E5C77">
              <a:alpha val="19999"/>
            </a:srgbClr>
          </a:solidFill>
        </p:spPr>
        <p:txBody>
          <a:bodyPr wrap="square" lIns="0" tIns="0" rIns="0" bIns="0" rtlCol="0"/>
          <a:lstStyle/>
          <a:p>
            <a:endParaRPr/>
          </a:p>
        </p:txBody>
      </p:sp>
      <p:sp>
        <p:nvSpPr>
          <p:cNvPr id="34" name="object 14">
            <a:extLst>
              <a:ext uri="{FF2B5EF4-FFF2-40B4-BE49-F238E27FC236}">
                <a16:creationId xmlns:a16="http://schemas.microsoft.com/office/drawing/2014/main" id="{BA238379-38B4-1ED0-2EBC-33F28CE277AE}"/>
              </a:ext>
            </a:extLst>
          </p:cNvPr>
          <p:cNvSpPr/>
          <p:nvPr/>
        </p:nvSpPr>
        <p:spPr>
          <a:xfrm rot="10800000">
            <a:off x="11127502" y="7012374"/>
            <a:ext cx="313382" cy="325822"/>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grpSp>
        <p:nvGrpSpPr>
          <p:cNvPr id="5" name="object 41">
            <a:extLst>
              <a:ext uri="{FF2B5EF4-FFF2-40B4-BE49-F238E27FC236}">
                <a16:creationId xmlns:a16="http://schemas.microsoft.com/office/drawing/2014/main" id="{957BDDD7-B931-B769-D505-43BF2BAE0273}"/>
              </a:ext>
            </a:extLst>
          </p:cNvPr>
          <p:cNvGrpSpPr/>
          <p:nvPr userDrawn="1"/>
        </p:nvGrpSpPr>
        <p:grpSpPr>
          <a:xfrm>
            <a:off x="10681097" y="5820975"/>
            <a:ext cx="651156" cy="708550"/>
            <a:chOff x="5598848" y="1620229"/>
            <a:chExt cx="2190115" cy="2383155"/>
          </a:xfrm>
        </p:grpSpPr>
        <p:pic>
          <p:nvPicPr>
            <p:cNvPr id="6" name="object 42">
              <a:extLst>
                <a:ext uri="{FF2B5EF4-FFF2-40B4-BE49-F238E27FC236}">
                  <a16:creationId xmlns:a16="http://schemas.microsoft.com/office/drawing/2014/main" id="{B0316D10-AB7F-7247-2309-FF6E189194BC}"/>
                </a:ext>
              </a:extLst>
            </p:cNvPr>
            <p:cNvPicPr/>
            <p:nvPr/>
          </p:nvPicPr>
          <p:blipFill>
            <a:blip r:embed="rId2" cstate="print"/>
            <a:stretch>
              <a:fillRect/>
            </a:stretch>
          </p:blipFill>
          <p:spPr>
            <a:xfrm>
              <a:off x="7161630" y="1899091"/>
              <a:ext cx="113817" cy="115671"/>
            </a:xfrm>
            <a:prstGeom prst="rect">
              <a:avLst/>
            </a:prstGeom>
          </p:spPr>
        </p:pic>
        <p:pic>
          <p:nvPicPr>
            <p:cNvPr id="7" name="object 43">
              <a:extLst>
                <a:ext uri="{FF2B5EF4-FFF2-40B4-BE49-F238E27FC236}">
                  <a16:creationId xmlns:a16="http://schemas.microsoft.com/office/drawing/2014/main" id="{74F3DB94-6083-9227-318F-D47A76A048F2}"/>
                </a:ext>
              </a:extLst>
            </p:cNvPr>
            <p:cNvPicPr/>
            <p:nvPr/>
          </p:nvPicPr>
          <p:blipFill>
            <a:blip r:embed="rId3" cstate="print"/>
            <a:stretch>
              <a:fillRect/>
            </a:stretch>
          </p:blipFill>
          <p:spPr>
            <a:xfrm>
              <a:off x="5598848" y="1620229"/>
              <a:ext cx="2189904" cy="2382902"/>
            </a:xfrm>
            <a:prstGeom prst="rect">
              <a:avLst/>
            </a:prstGeom>
          </p:spPr>
        </p:pic>
        <p:pic>
          <p:nvPicPr>
            <p:cNvPr id="13" name="object 44">
              <a:extLst>
                <a:ext uri="{FF2B5EF4-FFF2-40B4-BE49-F238E27FC236}">
                  <a16:creationId xmlns:a16="http://schemas.microsoft.com/office/drawing/2014/main" id="{58167220-AAA0-C719-AE15-32888A8561F8}"/>
                </a:ext>
              </a:extLst>
            </p:cNvPr>
            <p:cNvPicPr/>
            <p:nvPr/>
          </p:nvPicPr>
          <p:blipFill>
            <a:blip r:embed="rId4" cstate="print"/>
            <a:stretch>
              <a:fillRect/>
            </a:stretch>
          </p:blipFill>
          <p:spPr>
            <a:xfrm>
              <a:off x="6871611" y="1669224"/>
              <a:ext cx="175945" cy="178803"/>
            </a:xfrm>
            <a:prstGeom prst="rect">
              <a:avLst/>
            </a:prstGeom>
          </p:spPr>
        </p:pic>
      </p:grpSp>
      <p:sp>
        <p:nvSpPr>
          <p:cNvPr id="3" name="Text Placeholder 2">
            <a:extLst>
              <a:ext uri="{FF2B5EF4-FFF2-40B4-BE49-F238E27FC236}">
                <a16:creationId xmlns:a16="http://schemas.microsoft.com/office/drawing/2014/main" id="{5ADC4885-E653-9F9B-1C72-2AA34FCB44D8}"/>
              </a:ext>
            </a:extLst>
          </p:cNvPr>
          <p:cNvSpPr>
            <a:spLocks noGrp="1"/>
          </p:cNvSpPr>
          <p:nvPr userDrawn="1">
            <p:ph type="body" idx="1"/>
          </p:nvPr>
        </p:nvSpPr>
        <p:spPr>
          <a:xfrm>
            <a:off x="4159032" y="323841"/>
            <a:ext cx="2409934" cy="865909"/>
          </a:xfrm>
          <a:prstGeom prst="rect">
            <a:avLst/>
          </a:prstGeom>
        </p:spPr>
        <p:txBody>
          <a:bodyPr>
            <a:normAutofit/>
          </a:bodyPr>
          <a:lstStyle>
            <a:lvl1pPr marL="0" indent="0" algn="l">
              <a:buNone/>
              <a:defRPr sz="1400">
                <a:solidFill>
                  <a:schemeClr val="accent3"/>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17" name="Text Placeholder 2">
            <a:extLst>
              <a:ext uri="{FF2B5EF4-FFF2-40B4-BE49-F238E27FC236}">
                <a16:creationId xmlns:a16="http://schemas.microsoft.com/office/drawing/2014/main" id="{D1FC42D7-181E-CBB1-98A3-2AD2D7BED320}"/>
              </a:ext>
            </a:extLst>
          </p:cNvPr>
          <p:cNvSpPr>
            <a:spLocks noGrp="1"/>
          </p:cNvSpPr>
          <p:nvPr>
            <p:ph type="body" idx="10"/>
          </p:nvPr>
        </p:nvSpPr>
        <p:spPr>
          <a:xfrm>
            <a:off x="342828" y="4045890"/>
            <a:ext cx="2694661" cy="865909"/>
          </a:xfrm>
          <a:prstGeom prst="rect">
            <a:avLst/>
          </a:prstGeom>
        </p:spPr>
        <p:txBody>
          <a:bodyPr>
            <a:normAutofit/>
          </a:bodyPr>
          <a:lstStyle>
            <a:lvl1pPr marL="0" indent="0" algn="l">
              <a:buNone/>
              <a:defRPr sz="1400">
                <a:solidFill>
                  <a:schemeClr val="accent3"/>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19" name="Text Placeholder 2">
            <a:extLst>
              <a:ext uri="{FF2B5EF4-FFF2-40B4-BE49-F238E27FC236}">
                <a16:creationId xmlns:a16="http://schemas.microsoft.com/office/drawing/2014/main" id="{09BF7EEC-507A-5DAF-041E-6C88DA7CD386}"/>
              </a:ext>
            </a:extLst>
          </p:cNvPr>
          <p:cNvSpPr>
            <a:spLocks noGrp="1"/>
          </p:cNvSpPr>
          <p:nvPr>
            <p:ph type="body" idx="11"/>
          </p:nvPr>
        </p:nvSpPr>
        <p:spPr>
          <a:xfrm>
            <a:off x="859810" y="5994450"/>
            <a:ext cx="2177679" cy="865909"/>
          </a:xfrm>
          <a:prstGeom prst="rect">
            <a:avLst/>
          </a:prstGeom>
        </p:spPr>
        <p:txBody>
          <a:bodyPr>
            <a:normAutofit/>
          </a:bodyPr>
          <a:lstStyle>
            <a:lvl1pPr marL="0" indent="0" algn="l">
              <a:buNone/>
              <a:defRPr sz="1400">
                <a:solidFill>
                  <a:schemeClr val="accent3"/>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Picture Placeholder 2">
            <a:extLst>
              <a:ext uri="{FF2B5EF4-FFF2-40B4-BE49-F238E27FC236}">
                <a16:creationId xmlns:a16="http://schemas.microsoft.com/office/drawing/2014/main" id="{C56A3293-0A25-9254-24C1-0102A4EFA6AA}"/>
              </a:ext>
            </a:extLst>
          </p:cNvPr>
          <p:cNvSpPr>
            <a:spLocks noGrp="1"/>
          </p:cNvSpPr>
          <p:nvPr>
            <p:ph type="pic" idx="12"/>
          </p:nvPr>
        </p:nvSpPr>
        <p:spPr>
          <a:xfrm>
            <a:off x="528540" y="569748"/>
            <a:ext cx="2993617" cy="2953425"/>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GB" dirty="0"/>
          </a:p>
        </p:txBody>
      </p:sp>
      <p:sp>
        <p:nvSpPr>
          <p:cNvPr id="9" name="Picture Placeholder 2">
            <a:extLst>
              <a:ext uri="{FF2B5EF4-FFF2-40B4-BE49-F238E27FC236}">
                <a16:creationId xmlns:a16="http://schemas.microsoft.com/office/drawing/2014/main" id="{278CA799-987B-A375-4C17-9D3DEB73736C}"/>
              </a:ext>
            </a:extLst>
          </p:cNvPr>
          <p:cNvSpPr>
            <a:spLocks noGrp="1"/>
          </p:cNvSpPr>
          <p:nvPr>
            <p:ph type="pic" idx="13"/>
          </p:nvPr>
        </p:nvSpPr>
        <p:spPr>
          <a:xfrm>
            <a:off x="3129092" y="2844799"/>
            <a:ext cx="5166198" cy="5096837"/>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GB" dirty="0"/>
          </a:p>
        </p:txBody>
      </p:sp>
      <p:sp>
        <p:nvSpPr>
          <p:cNvPr id="11" name="Picture Placeholder 2">
            <a:extLst>
              <a:ext uri="{FF2B5EF4-FFF2-40B4-BE49-F238E27FC236}">
                <a16:creationId xmlns:a16="http://schemas.microsoft.com/office/drawing/2014/main" id="{50AD25F3-855C-5EB6-FE7B-3C66BC00A2E4}"/>
              </a:ext>
            </a:extLst>
          </p:cNvPr>
          <p:cNvSpPr>
            <a:spLocks noGrp="1"/>
          </p:cNvSpPr>
          <p:nvPr>
            <p:ph type="pic" idx="14"/>
          </p:nvPr>
        </p:nvSpPr>
        <p:spPr>
          <a:xfrm>
            <a:off x="7221221" y="-501494"/>
            <a:ext cx="3537548" cy="3490053"/>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GB" dirty="0"/>
          </a:p>
        </p:txBody>
      </p:sp>
      <p:sp>
        <p:nvSpPr>
          <p:cNvPr id="14" name="Picture Placeholder 2">
            <a:extLst>
              <a:ext uri="{FF2B5EF4-FFF2-40B4-BE49-F238E27FC236}">
                <a16:creationId xmlns:a16="http://schemas.microsoft.com/office/drawing/2014/main" id="{6296069B-042B-27A3-FD0E-ECE4DCE3A473}"/>
              </a:ext>
            </a:extLst>
          </p:cNvPr>
          <p:cNvSpPr>
            <a:spLocks noGrp="1"/>
          </p:cNvSpPr>
          <p:nvPr>
            <p:ph type="pic" idx="15"/>
          </p:nvPr>
        </p:nvSpPr>
        <p:spPr>
          <a:xfrm>
            <a:off x="9173795" y="3523173"/>
            <a:ext cx="2005782" cy="1978853"/>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GB" dirty="0"/>
          </a:p>
        </p:txBody>
      </p:sp>
    </p:spTree>
    <p:extLst>
      <p:ext uri="{BB962C8B-B14F-4D97-AF65-F5344CB8AC3E}">
        <p14:creationId xmlns:p14="http://schemas.microsoft.com/office/powerpoint/2010/main" val="1927269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llage - Purple">
    <p:spTree>
      <p:nvGrpSpPr>
        <p:cNvPr id="1" name=""/>
        <p:cNvGrpSpPr/>
        <p:nvPr/>
      </p:nvGrpSpPr>
      <p:grpSpPr>
        <a:xfrm>
          <a:off x="0" y="0"/>
          <a:ext cx="0" cy="0"/>
          <a:chOff x="0" y="0"/>
          <a:chExt cx="0" cy="0"/>
        </a:xfrm>
      </p:grpSpPr>
      <p:sp>
        <p:nvSpPr>
          <p:cNvPr id="33" name="object 13">
            <a:extLst>
              <a:ext uri="{FF2B5EF4-FFF2-40B4-BE49-F238E27FC236}">
                <a16:creationId xmlns:a16="http://schemas.microsoft.com/office/drawing/2014/main" id="{A0C82D7B-43A0-E7DA-A947-D2D94D26026C}"/>
              </a:ext>
            </a:extLst>
          </p:cNvPr>
          <p:cNvSpPr/>
          <p:nvPr/>
        </p:nvSpPr>
        <p:spPr>
          <a:xfrm rot="10800000">
            <a:off x="11287374" y="7555196"/>
            <a:ext cx="371988" cy="386441"/>
          </a:xfrm>
          <a:custGeom>
            <a:avLst/>
            <a:gdLst/>
            <a:ahLst/>
            <a:cxnLst/>
            <a:rect l="l" t="t" r="r" b="b"/>
            <a:pathLst>
              <a:path w="382905" h="388619">
                <a:moveTo>
                  <a:pt x="191198" y="0"/>
                </a:moveTo>
                <a:lnTo>
                  <a:pt x="147361" y="5131"/>
                </a:lnTo>
                <a:lnTo>
                  <a:pt x="107117" y="19747"/>
                </a:lnTo>
                <a:lnTo>
                  <a:pt x="71617" y="42682"/>
                </a:lnTo>
                <a:lnTo>
                  <a:pt x="42006" y="72771"/>
                </a:lnTo>
                <a:lnTo>
                  <a:pt x="19435" y="108846"/>
                </a:lnTo>
                <a:lnTo>
                  <a:pt x="5050" y="149744"/>
                </a:lnTo>
                <a:lnTo>
                  <a:pt x="0" y="194297"/>
                </a:lnTo>
                <a:lnTo>
                  <a:pt x="5050" y="238850"/>
                </a:lnTo>
                <a:lnTo>
                  <a:pt x="19435" y="279750"/>
                </a:lnTo>
                <a:lnTo>
                  <a:pt x="42006" y="315828"/>
                </a:lnTo>
                <a:lnTo>
                  <a:pt x="71617" y="345919"/>
                </a:lnTo>
                <a:lnTo>
                  <a:pt x="107117" y="368857"/>
                </a:lnTo>
                <a:lnTo>
                  <a:pt x="147361" y="383475"/>
                </a:lnTo>
                <a:lnTo>
                  <a:pt x="191198" y="388607"/>
                </a:lnTo>
                <a:lnTo>
                  <a:pt x="235039" y="383475"/>
                </a:lnTo>
                <a:lnTo>
                  <a:pt x="275284" y="368857"/>
                </a:lnTo>
                <a:lnTo>
                  <a:pt x="310785" y="345919"/>
                </a:lnTo>
                <a:lnTo>
                  <a:pt x="340394" y="315828"/>
                </a:lnTo>
                <a:lnTo>
                  <a:pt x="362964" y="279750"/>
                </a:lnTo>
                <a:lnTo>
                  <a:pt x="377347" y="238850"/>
                </a:lnTo>
                <a:lnTo>
                  <a:pt x="382397" y="194297"/>
                </a:lnTo>
                <a:lnTo>
                  <a:pt x="377347" y="149744"/>
                </a:lnTo>
                <a:lnTo>
                  <a:pt x="362964" y="108846"/>
                </a:lnTo>
                <a:lnTo>
                  <a:pt x="340394" y="72771"/>
                </a:lnTo>
                <a:lnTo>
                  <a:pt x="310785" y="42682"/>
                </a:lnTo>
                <a:lnTo>
                  <a:pt x="275284" y="19747"/>
                </a:lnTo>
                <a:lnTo>
                  <a:pt x="235039" y="5131"/>
                </a:lnTo>
                <a:lnTo>
                  <a:pt x="191198" y="0"/>
                </a:lnTo>
                <a:close/>
              </a:path>
            </a:pathLst>
          </a:custGeom>
          <a:solidFill>
            <a:srgbClr val="0E5C77">
              <a:alpha val="19999"/>
            </a:srgbClr>
          </a:solidFill>
        </p:spPr>
        <p:txBody>
          <a:bodyPr wrap="square" lIns="0" tIns="0" rIns="0" bIns="0" rtlCol="0"/>
          <a:lstStyle/>
          <a:p>
            <a:endParaRPr/>
          </a:p>
        </p:txBody>
      </p:sp>
      <p:sp>
        <p:nvSpPr>
          <p:cNvPr id="34" name="object 14">
            <a:extLst>
              <a:ext uri="{FF2B5EF4-FFF2-40B4-BE49-F238E27FC236}">
                <a16:creationId xmlns:a16="http://schemas.microsoft.com/office/drawing/2014/main" id="{BA238379-38B4-1ED0-2EBC-33F28CE277AE}"/>
              </a:ext>
            </a:extLst>
          </p:cNvPr>
          <p:cNvSpPr/>
          <p:nvPr/>
        </p:nvSpPr>
        <p:spPr>
          <a:xfrm rot="10800000">
            <a:off x="11127502" y="7012374"/>
            <a:ext cx="313382" cy="325822"/>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grpSp>
        <p:nvGrpSpPr>
          <p:cNvPr id="5" name="object 41">
            <a:extLst>
              <a:ext uri="{FF2B5EF4-FFF2-40B4-BE49-F238E27FC236}">
                <a16:creationId xmlns:a16="http://schemas.microsoft.com/office/drawing/2014/main" id="{957BDDD7-B931-B769-D505-43BF2BAE0273}"/>
              </a:ext>
            </a:extLst>
          </p:cNvPr>
          <p:cNvGrpSpPr/>
          <p:nvPr userDrawn="1"/>
        </p:nvGrpSpPr>
        <p:grpSpPr>
          <a:xfrm>
            <a:off x="10681097" y="5820975"/>
            <a:ext cx="651156" cy="708550"/>
            <a:chOff x="5598848" y="1620229"/>
            <a:chExt cx="2190115" cy="2383155"/>
          </a:xfrm>
        </p:grpSpPr>
        <p:pic>
          <p:nvPicPr>
            <p:cNvPr id="6" name="object 42">
              <a:extLst>
                <a:ext uri="{FF2B5EF4-FFF2-40B4-BE49-F238E27FC236}">
                  <a16:creationId xmlns:a16="http://schemas.microsoft.com/office/drawing/2014/main" id="{B0316D10-AB7F-7247-2309-FF6E189194BC}"/>
                </a:ext>
              </a:extLst>
            </p:cNvPr>
            <p:cNvPicPr/>
            <p:nvPr/>
          </p:nvPicPr>
          <p:blipFill>
            <a:blip r:embed="rId2" cstate="print"/>
            <a:stretch>
              <a:fillRect/>
            </a:stretch>
          </p:blipFill>
          <p:spPr>
            <a:xfrm>
              <a:off x="7161630" y="1899091"/>
              <a:ext cx="113817" cy="115671"/>
            </a:xfrm>
            <a:prstGeom prst="rect">
              <a:avLst/>
            </a:prstGeom>
          </p:spPr>
        </p:pic>
        <p:pic>
          <p:nvPicPr>
            <p:cNvPr id="7" name="object 43">
              <a:extLst>
                <a:ext uri="{FF2B5EF4-FFF2-40B4-BE49-F238E27FC236}">
                  <a16:creationId xmlns:a16="http://schemas.microsoft.com/office/drawing/2014/main" id="{74F3DB94-6083-9227-318F-D47A76A048F2}"/>
                </a:ext>
              </a:extLst>
            </p:cNvPr>
            <p:cNvPicPr/>
            <p:nvPr/>
          </p:nvPicPr>
          <p:blipFill>
            <a:blip r:embed="rId3" cstate="print"/>
            <a:stretch>
              <a:fillRect/>
            </a:stretch>
          </p:blipFill>
          <p:spPr>
            <a:xfrm>
              <a:off x="5598848" y="1620229"/>
              <a:ext cx="2189904" cy="2382902"/>
            </a:xfrm>
            <a:prstGeom prst="rect">
              <a:avLst/>
            </a:prstGeom>
          </p:spPr>
        </p:pic>
        <p:pic>
          <p:nvPicPr>
            <p:cNvPr id="13" name="object 44">
              <a:extLst>
                <a:ext uri="{FF2B5EF4-FFF2-40B4-BE49-F238E27FC236}">
                  <a16:creationId xmlns:a16="http://schemas.microsoft.com/office/drawing/2014/main" id="{58167220-AAA0-C719-AE15-32888A8561F8}"/>
                </a:ext>
              </a:extLst>
            </p:cNvPr>
            <p:cNvPicPr/>
            <p:nvPr/>
          </p:nvPicPr>
          <p:blipFill>
            <a:blip r:embed="rId4" cstate="print"/>
            <a:stretch>
              <a:fillRect/>
            </a:stretch>
          </p:blipFill>
          <p:spPr>
            <a:xfrm>
              <a:off x="6871611" y="1669224"/>
              <a:ext cx="175945" cy="178803"/>
            </a:xfrm>
            <a:prstGeom prst="rect">
              <a:avLst/>
            </a:prstGeom>
          </p:spPr>
        </p:pic>
      </p:grpSp>
      <p:sp>
        <p:nvSpPr>
          <p:cNvPr id="17" name="Text Placeholder 2">
            <a:extLst>
              <a:ext uri="{FF2B5EF4-FFF2-40B4-BE49-F238E27FC236}">
                <a16:creationId xmlns:a16="http://schemas.microsoft.com/office/drawing/2014/main" id="{D1FC42D7-181E-CBB1-98A3-2AD2D7BED320}"/>
              </a:ext>
            </a:extLst>
          </p:cNvPr>
          <p:cNvSpPr>
            <a:spLocks noGrp="1"/>
          </p:cNvSpPr>
          <p:nvPr>
            <p:ph type="body" idx="10"/>
          </p:nvPr>
        </p:nvSpPr>
        <p:spPr>
          <a:xfrm>
            <a:off x="7658028" y="4109545"/>
            <a:ext cx="4243583" cy="1436853"/>
          </a:xfrm>
          <a:prstGeom prst="rect">
            <a:avLst/>
          </a:prstGeom>
        </p:spPr>
        <p:txBody>
          <a:bodyPr>
            <a:normAutofit/>
          </a:bodyPr>
          <a:lstStyle>
            <a:lvl1pPr marL="0" indent="0" algn="l">
              <a:buNone/>
              <a:defRPr sz="1400">
                <a:solidFill>
                  <a:schemeClr val="accent3"/>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21" name="object 7">
            <a:extLst>
              <a:ext uri="{FF2B5EF4-FFF2-40B4-BE49-F238E27FC236}">
                <a16:creationId xmlns:a16="http://schemas.microsoft.com/office/drawing/2014/main" id="{8553A972-1E95-D470-43E7-20722BD9B698}"/>
              </a:ext>
            </a:extLst>
          </p:cNvPr>
          <p:cNvSpPr/>
          <p:nvPr userDrawn="1"/>
        </p:nvSpPr>
        <p:spPr>
          <a:xfrm>
            <a:off x="8504433" y="4290554"/>
            <a:ext cx="456048" cy="456048"/>
          </a:xfrm>
          <a:custGeom>
            <a:avLst/>
            <a:gdLst/>
            <a:ahLst/>
            <a:cxnLst/>
            <a:rect l="l" t="t" r="r" b="b"/>
            <a:pathLst>
              <a:path w="502920" h="502920">
                <a:moveTo>
                  <a:pt x="251434" y="0"/>
                </a:moveTo>
                <a:lnTo>
                  <a:pt x="206239" y="4051"/>
                </a:lnTo>
                <a:lnTo>
                  <a:pt x="163701" y="15730"/>
                </a:lnTo>
                <a:lnTo>
                  <a:pt x="124531" y="34328"/>
                </a:lnTo>
                <a:lnTo>
                  <a:pt x="89439" y="59134"/>
                </a:lnTo>
                <a:lnTo>
                  <a:pt x="59134" y="89439"/>
                </a:lnTo>
                <a:lnTo>
                  <a:pt x="34328" y="124531"/>
                </a:lnTo>
                <a:lnTo>
                  <a:pt x="15730" y="163701"/>
                </a:lnTo>
                <a:lnTo>
                  <a:pt x="4051" y="206239"/>
                </a:lnTo>
                <a:lnTo>
                  <a:pt x="0" y="251434"/>
                </a:lnTo>
                <a:lnTo>
                  <a:pt x="4051" y="296626"/>
                </a:lnTo>
                <a:lnTo>
                  <a:pt x="15730" y="339160"/>
                </a:lnTo>
                <a:lnTo>
                  <a:pt x="34328" y="378328"/>
                </a:lnTo>
                <a:lnTo>
                  <a:pt x="59134" y="413419"/>
                </a:lnTo>
                <a:lnTo>
                  <a:pt x="89439" y="443722"/>
                </a:lnTo>
                <a:lnTo>
                  <a:pt x="124531" y="468528"/>
                </a:lnTo>
                <a:lnTo>
                  <a:pt x="163701" y="487126"/>
                </a:lnTo>
                <a:lnTo>
                  <a:pt x="206239" y="498805"/>
                </a:lnTo>
                <a:lnTo>
                  <a:pt x="251434" y="502856"/>
                </a:lnTo>
                <a:lnTo>
                  <a:pt x="296629" y="498805"/>
                </a:lnTo>
                <a:lnTo>
                  <a:pt x="339165" y="487126"/>
                </a:lnTo>
                <a:lnTo>
                  <a:pt x="378334" y="468528"/>
                </a:lnTo>
                <a:lnTo>
                  <a:pt x="413424" y="443722"/>
                </a:lnTo>
                <a:lnTo>
                  <a:pt x="443726" y="413419"/>
                </a:lnTo>
                <a:lnTo>
                  <a:pt x="468531" y="378328"/>
                </a:lnTo>
                <a:lnTo>
                  <a:pt x="487127" y="339160"/>
                </a:lnTo>
                <a:lnTo>
                  <a:pt x="498805" y="296626"/>
                </a:lnTo>
                <a:lnTo>
                  <a:pt x="502856" y="251434"/>
                </a:lnTo>
                <a:lnTo>
                  <a:pt x="498805" y="206239"/>
                </a:lnTo>
                <a:lnTo>
                  <a:pt x="487127" y="163701"/>
                </a:lnTo>
                <a:lnTo>
                  <a:pt x="468531" y="124531"/>
                </a:lnTo>
                <a:lnTo>
                  <a:pt x="443726" y="89439"/>
                </a:lnTo>
                <a:lnTo>
                  <a:pt x="413424" y="59134"/>
                </a:lnTo>
                <a:lnTo>
                  <a:pt x="378334" y="34328"/>
                </a:lnTo>
                <a:lnTo>
                  <a:pt x="339165" y="15730"/>
                </a:lnTo>
                <a:lnTo>
                  <a:pt x="296629" y="4051"/>
                </a:lnTo>
                <a:lnTo>
                  <a:pt x="251434" y="0"/>
                </a:lnTo>
                <a:close/>
              </a:path>
            </a:pathLst>
          </a:custGeom>
          <a:solidFill>
            <a:srgbClr val="9D62E2">
              <a:alpha val="23999"/>
            </a:srgbClr>
          </a:solidFill>
        </p:spPr>
        <p:txBody>
          <a:bodyPr wrap="square" lIns="0" tIns="0" rIns="0" bIns="0" rtlCol="0"/>
          <a:lstStyle/>
          <a:p>
            <a:endParaRPr/>
          </a:p>
        </p:txBody>
      </p:sp>
      <p:sp>
        <p:nvSpPr>
          <p:cNvPr id="22" name="object 8">
            <a:extLst>
              <a:ext uri="{FF2B5EF4-FFF2-40B4-BE49-F238E27FC236}">
                <a16:creationId xmlns:a16="http://schemas.microsoft.com/office/drawing/2014/main" id="{745FCC51-35A5-6552-1BCA-809EA904C4EA}"/>
              </a:ext>
            </a:extLst>
          </p:cNvPr>
          <p:cNvSpPr/>
          <p:nvPr userDrawn="1"/>
        </p:nvSpPr>
        <p:spPr>
          <a:xfrm>
            <a:off x="2057190" y="5942400"/>
            <a:ext cx="456048" cy="456048"/>
          </a:xfrm>
          <a:custGeom>
            <a:avLst/>
            <a:gdLst/>
            <a:ahLst/>
            <a:cxnLst/>
            <a:rect l="l" t="t" r="r" b="b"/>
            <a:pathLst>
              <a:path w="502919" h="502920">
                <a:moveTo>
                  <a:pt x="251421" y="0"/>
                </a:moveTo>
                <a:lnTo>
                  <a:pt x="206227" y="4050"/>
                </a:lnTo>
                <a:lnTo>
                  <a:pt x="163690" y="15730"/>
                </a:lnTo>
                <a:lnTo>
                  <a:pt x="124522" y="34328"/>
                </a:lnTo>
                <a:lnTo>
                  <a:pt x="89431" y="59133"/>
                </a:lnTo>
                <a:lnTo>
                  <a:pt x="59129" y="89437"/>
                </a:lnTo>
                <a:lnTo>
                  <a:pt x="34325" y="124527"/>
                </a:lnTo>
                <a:lnTo>
                  <a:pt x="15728" y="163695"/>
                </a:lnTo>
                <a:lnTo>
                  <a:pt x="4050" y="206230"/>
                </a:lnTo>
                <a:lnTo>
                  <a:pt x="0" y="251421"/>
                </a:lnTo>
                <a:lnTo>
                  <a:pt x="4050" y="296617"/>
                </a:lnTo>
                <a:lnTo>
                  <a:pt x="15728" y="339154"/>
                </a:lnTo>
                <a:lnTo>
                  <a:pt x="34325" y="378325"/>
                </a:lnTo>
                <a:lnTo>
                  <a:pt x="59129" y="413417"/>
                </a:lnTo>
                <a:lnTo>
                  <a:pt x="89431" y="443721"/>
                </a:lnTo>
                <a:lnTo>
                  <a:pt x="124522" y="468527"/>
                </a:lnTo>
                <a:lnTo>
                  <a:pt x="163690" y="487125"/>
                </a:lnTo>
                <a:lnTo>
                  <a:pt x="206227" y="498805"/>
                </a:lnTo>
                <a:lnTo>
                  <a:pt x="251421" y="502856"/>
                </a:lnTo>
                <a:lnTo>
                  <a:pt x="296617" y="498805"/>
                </a:lnTo>
                <a:lnTo>
                  <a:pt x="339154" y="487125"/>
                </a:lnTo>
                <a:lnTo>
                  <a:pt x="378325" y="468527"/>
                </a:lnTo>
                <a:lnTo>
                  <a:pt x="413417" y="443721"/>
                </a:lnTo>
                <a:lnTo>
                  <a:pt x="443721" y="413417"/>
                </a:lnTo>
                <a:lnTo>
                  <a:pt x="468527" y="378325"/>
                </a:lnTo>
                <a:lnTo>
                  <a:pt x="487125" y="339154"/>
                </a:lnTo>
                <a:lnTo>
                  <a:pt x="498805" y="296617"/>
                </a:lnTo>
                <a:lnTo>
                  <a:pt x="502856" y="251421"/>
                </a:lnTo>
                <a:lnTo>
                  <a:pt x="498805" y="206230"/>
                </a:lnTo>
                <a:lnTo>
                  <a:pt x="487125" y="163695"/>
                </a:lnTo>
                <a:lnTo>
                  <a:pt x="468527" y="124527"/>
                </a:lnTo>
                <a:lnTo>
                  <a:pt x="443721" y="89437"/>
                </a:lnTo>
                <a:lnTo>
                  <a:pt x="413417" y="59133"/>
                </a:lnTo>
                <a:lnTo>
                  <a:pt x="378325" y="34328"/>
                </a:lnTo>
                <a:lnTo>
                  <a:pt x="339154" y="15730"/>
                </a:lnTo>
                <a:lnTo>
                  <a:pt x="296617" y="4050"/>
                </a:lnTo>
                <a:lnTo>
                  <a:pt x="251421" y="0"/>
                </a:lnTo>
                <a:close/>
              </a:path>
            </a:pathLst>
          </a:custGeom>
          <a:solidFill>
            <a:srgbClr val="9D62E2">
              <a:alpha val="23999"/>
            </a:srgbClr>
          </a:solidFill>
        </p:spPr>
        <p:txBody>
          <a:bodyPr wrap="square" lIns="0" tIns="0" rIns="0" bIns="0" rtlCol="0"/>
          <a:lstStyle/>
          <a:p>
            <a:endParaRPr/>
          </a:p>
        </p:txBody>
      </p:sp>
      <p:sp>
        <p:nvSpPr>
          <p:cNvPr id="23" name="object 9">
            <a:extLst>
              <a:ext uri="{FF2B5EF4-FFF2-40B4-BE49-F238E27FC236}">
                <a16:creationId xmlns:a16="http://schemas.microsoft.com/office/drawing/2014/main" id="{C5EB0FD8-7C29-F50A-8BC6-F6015FCF50C1}"/>
              </a:ext>
            </a:extLst>
          </p:cNvPr>
          <p:cNvSpPr/>
          <p:nvPr userDrawn="1"/>
        </p:nvSpPr>
        <p:spPr>
          <a:xfrm>
            <a:off x="8267563" y="4977217"/>
            <a:ext cx="2079857" cy="1878320"/>
          </a:xfrm>
          <a:custGeom>
            <a:avLst/>
            <a:gdLst/>
            <a:ahLst/>
            <a:cxnLst/>
            <a:rect l="l" t="t" r="r" b="b"/>
            <a:pathLst>
              <a:path w="2293620" h="2071370">
                <a:moveTo>
                  <a:pt x="1146619" y="0"/>
                </a:moveTo>
                <a:lnTo>
                  <a:pt x="1098150" y="1005"/>
                </a:lnTo>
                <a:lnTo>
                  <a:pt x="1050193" y="3997"/>
                </a:lnTo>
                <a:lnTo>
                  <a:pt x="1002790" y="8933"/>
                </a:lnTo>
                <a:lnTo>
                  <a:pt x="955978" y="15776"/>
                </a:lnTo>
                <a:lnTo>
                  <a:pt x="909799" y="24484"/>
                </a:lnTo>
                <a:lnTo>
                  <a:pt x="864291" y="35018"/>
                </a:lnTo>
                <a:lnTo>
                  <a:pt x="819496" y="47339"/>
                </a:lnTo>
                <a:lnTo>
                  <a:pt x="775452" y="61406"/>
                </a:lnTo>
                <a:lnTo>
                  <a:pt x="732199" y="77180"/>
                </a:lnTo>
                <a:lnTo>
                  <a:pt x="689778" y="94621"/>
                </a:lnTo>
                <a:lnTo>
                  <a:pt x="648227" y="113689"/>
                </a:lnTo>
                <a:lnTo>
                  <a:pt x="607588" y="134344"/>
                </a:lnTo>
                <a:lnTo>
                  <a:pt x="567898" y="156547"/>
                </a:lnTo>
                <a:lnTo>
                  <a:pt x="529199" y="180257"/>
                </a:lnTo>
                <a:lnTo>
                  <a:pt x="491531" y="205436"/>
                </a:lnTo>
                <a:lnTo>
                  <a:pt x="454932" y="232042"/>
                </a:lnTo>
                <a:lnTo>
                  <a:pt x="419443" y="260037"/>
                </a:lnTo>
                <a:lnTo>
                  <a:pt x="385103" y="289380"/>
                </a:lnTo>
                <a:lnTo>
                  <a:pt x="351953" y="320032"/>
                </a:lnTo>
                <a:lnTo>
                  <a:pt x="320032" y="351953"/>
                </a:lnTo>
                <a:lnTo>
                  <a:pt x="289380" y="385103"/>
                </a:lnTo>
                <a:lnTo>
                  <a:pt x="260037" y="419443"/>
                </a:lnTo>
                <a:lnTo>
                  <a:pt x="232042" y="454932"/>
                </a:lnTo>
                <a:lnTo>
                  <a:pt x="205436" y="491531"/>
                </a:lnTo>
                <a:lnTo>
                  <a:pt x="180257" y="529199"/>
                </a:lnTo>
                <a:lnTo>
                  <a:pt x="156547" y="567898"/>
                </a:lnTo>
                <a:lnTo>
                  <a:pt x="134344" y="607588"/>
                </a:lnTo>
                <a:lnTo>
                  <a:pt x="113689" y="648227"/>
                </a:lnTo>
                <a:lnTo>
                  <a:pt x="94621" y="689778"/>
                </a:lnTo>
                <a:lnTo>
                  <a:pt x="77180" y="732199"/>
                </a:lnTo>
                <a:lnTo>
                  <a:pt x="61406" y="775452"/>
                </a:lnTo>
                <a:lnTo>
                  <a:pt x="47339" y="819496"/>
                </a:lnTo>
                <a:lnTo>
                  <a:pt x="35018" y="864291"/>
                </a:lnTo>
                <a:lnTo>
                  <a:pt x="24484" y="909799"/>
                </a:lnTo>
                <a:lnTo>
                  <a:pt x="15776" y="955978"/>
                </a:lnTo>
                <a:lnTo>
                  <a:pt x="8933" y="1002790"/>
                </a:lnTo>
                <a:lnTo>
                  <a:pt x="3997" y="1050193"/>
                </a:lnTo>
                <a:lnTo>
                  <a:pt x="1005" y="1098150"/>
                </a:lnTo>
                <a:lnTo>
                  <a:pt x="0" y="1146619"/>
                </a:lnTo>
                <a:lnTo>
                  <a:pt x="1005" y="1195088"/>
                </a:lnTo>
                <a:lnTo>
                  <a:pt x="3997" y="1243045"/>
                </a:lnTo>
                <a:lnTo>
                  <a:pt x="8933" y="1290448"/>
                </a:lnTo>
                <a:lnTo>
                  <a:pt x="15776" y="1337260"/>
                </a:lnTo>
                <a:lnTo>
                  <a:pt x="24484" y="1383439"/>
                </a:lnTo>
                <a:lnTo>
                  <a:pt x="35018" y="1428947"/>
                </a:lnTo>
                <a:lnTo>
                  <a:pt x="47339" y="1473742"/>
                </a:lnTo>
                <a:lnTo>
                  <a:pt x="61406" y="1517786"/>
                </a:lnTo>
                <a:lnTo>
                  <a:pt x="77180" y="1561039"/>
                </a:lnTo>
                <a:lnTo>
                  <a:pt x="94621" y="1603460"/>
                </a:lnTo>
                <a:lnTo>
                  <a:pt x="113689" y="1645011"/>
                </a:lnTo>
                <a:lnTo>
                  <a:pt x="134344" y="1685650"/>
                </a:lnTo>
                <a:lnTo>
                  <a:pt x="156547" y="1725340"/>
                </a:lnTo>
                <a:lnTo>
                  <a:pt x="180257" y="1764039"/>
                </a:lnTo>
                <a:lnTo>
                  <a:pt x="205436" y="1801707"/>
                </a:lnTo>
                <a:lnTo>
                  <a:pt x="232042" y="1838306"/>
                </a:lnTo>
                <a:lnTo>
                  <a:pt x="260037" y="1873795"/>
                </a:lnTo>
                <a:lnTo>
                  <a:pt x="289380" y="1908135"/>
                </a:lnTo>
                <a:lnTo>
                  <a:pt x="320032" y="1941285"/>
                </a:lnTo>
                <a:lnTo>
                  <a:pt x="351953" y="1973206"/>
                </a:lnTo>
                <a:lnTo>
                  <a:pt x="385103" y="2003858"/>
                </a:lnTo>
                <a:lnTo>
                  <a:pt x="419443" y="2033201"/>
                </a:lnTo>
                <a:lnTo>
                  <a:pt x="454932" y="2061196"/>
                </a:lnTo>
                <a:lnTo>
                  <a:pt x="468748" y="2071240"/>
                </a:lnTo>
                <a:lnTo>
                  <a:pt x="1824490" y="2071240"/>
                </a:lnTo>
                <a:lnTo>
                  <a:pt x="1873795" y="2033201"/>
                </a:lnTo>
                <a:lnTo>
                  <a:pt x="1908135" y="2003858"/>
                </a:lnTo>
                <a:lnTo>
                  <a:pt x="1941285" y="1973206"/>
                </a:lnTo>
                <a:lnTo>
                  <a:pt x="1973206" y="1941285"/>
                </a:lnTo>
                <a:lnTo>
                  <a:pt x="2003858" y="1908135"/>
                </a:lnTo>
                <a:lnTo>
                  <a:pt x="2033201" y="1873795"/>
                </a:lnTo>
                <a:lnTo>
                  <a:pt x="2061196" y="1838306"/>
                </a:lnTo>
                <a:lnTo>
                  <a:pt x="2087802" y="1801707"/>
                </a:lnTo>
                <a:lnTo>
                  <a:pt x="2112981" y="1764039"/>
                </a:lnTo>
                <a:lnTo>
                  <a:pt x="2136691" y="1725340"/>
                </a:lnTo>
                <a:lnTo>
                  <a:pt x="2158894" y="1685650"/>
                </a:lnTo>
                <a:lnTo>
                  <a:pt x="2179549" y="1645011"/>
                </a:lnTo>
                <a:lnTo>
                  <a:pt x="2198617" y="1603460"/>
                </a:lnTo>
                <a:lnTo>
                  <a:pt x="2216058" y="1561039"/>
                </a:lnTo>
                <a:lnTo>
                  <a:pt x="2231832" y="1517786"/>
                </a:lnTo>
                <a:lnTo>
                  <a:pt x="2245899" y="1473742"/>
                </a:lnTo>
                <a:lnTo>
                  <a:pt x="2258220" y="1428947"/>
                </a:lnTo>
                <a:lnTo>
                  <a:pt x="2268754" y="1383439"/>
                </a:lnTo>
                <a:lnTo>
                  <a:pt x="2277462" y="1337260"/>
                </a:lnTo>
                <a:lnTo>
                  <a:pt x="2284305" y="1290448"/>
                </a:lnTo>
                <a:lnTo>
                  <a:pt x="2289241" y="1243045"/>
                </a:lnTo>
                <a:lnTo>
                  <a:pt x="2292233" y="1195088"/>
                </a:lnTo>
                <a:lnTo>
                  <a:pt x="2293238" y="1146619"/>
                </a:lnTo>
                <a:lnTo>
                  <a:pt x="2292233" y="1098150"/>
                </a:lnTo>
                <a:lnTo>
                  <a:pt x="2289241" y="1050193"/>
                </a:lnTo>
                <a:lnTo>
                  <a:pt x="2284305" y="1002790"/>
                </a:lnTo>
                <a:lnTo>
                  <a:pt x="2277462" y="955978"/>
                </a:lnTo>
                <a:lnTo>
                  <a:pt x="2268754" y="909799"/>
                </a:lnTo>
                <a:lnTo>
                  <a:pt x="2258220" y="864291"/>
                </a:lnTo>
                <a:lnTo>
                  <a:pt x="2245899" y="819496"/>
                </a:lnTo>
                <a:lnTo>
                  <a:pt x="2231832" y="775452"/>
                </a:lnTo>
                <a:lnTo>
                  <a:pt x="2216058" y="732199"/>
                </a:lnTo>
                <a:lnTo>
                  <a:pt x="2198617" y="689778"/>
                </a:lnTo>
                <a:lnTo>
                  <a:pt x="2179549" y="648227"/>
                </a:lnTo>
                <a:lnTo>
                  <a:pt x="2158894" y="607588"/>
                </a:lnTo>
                <a:lnTo>
                  <a:pt x="2136691" y="567898"/>
                </a:lnTo>
                <a:lnTo>
                  <a:pt x="2112981" y="529199"/>
                </a:lnTo>
                <a:lnTo>
                  <a:pt x="2087802" y="491531"/>
                </a:lnTo>
                <a:lnTo>
                  <a:pt x="2061196" y="454932"/>
                </a:lnTo>
                <a:lnTo>
                  <a:pt x="2033201" y="419443"/>
                </a:lnTo>
                <a:lnTo>
                  <a:pt x="2003858" y="385103"/>
                </a:lnTo>
                <a:lnTo>
                  <a:pt x="1973206" y="351953"/>
                </a:lnTo>
                <a:lnTo>
                  <a:pt x="1941285" y="320032"/>
                </a:lnTo>
                <a:lnTo>
                  <a:pt x="1908135" y="289380"/>
                </a:lnTo>
                <a:lnTo>
                  <a:pt x="1873795" y="260037"/>
                </a:lnTo>
                <a:lnTo>
                  <a:pt x="1838306" y="232042"/>
                </a:lnTo>
                <a:lnTo>
                  <a:pt x="1801707" y="205436"/>
                </a:lnTo>
                <a:lnTo>
                  <a:pt x="1764039" y="180257"/>
                </a:lnTo>
                <a:lnTo>
                  <a:pt x="1725340" y="156547"/>
                </a:lnTo>
                <a:lnTo>
                  <a:pt x="1685650" y="134344"/>
                </a:lnTo>
                <a:lnTo>
                  <a:pt x="1645011" y="113689"/>
                </a:lnTo>
                <a:lnTo>
                  <a:pt x="1603460" y="94621"/>
                </a:lnTo>
                <a:lnTo>
                  <a:pt x="1561039" y="77180"/>
                </a:lnTo>
                <a:lnTo>
                  <a:pt x="1517786" y="61406"/>
                </a:lnTo>
                <a:lnTo>
                  <a:pt x="1473742" y="47339"/>
                </a:lnTo>
                <a:lnTo>
                  <a:pt x="1428947" y="35018"/>
                </a:lnTo>
                <a:lnTo>
                  <a:pt x="1383439" y="24484"/>
                </a:lnTo>
                <a:lnTo>
                  <a:pt x="1337260" y="15776"/>
                </a:lnTo>
                <a:lnTo>
                  <a:pt x="1290448" y="8933"/>
                </a:lnTo>
                <a:lnTo>
                  <a:pt x="1243045" y="3997"/>
                </a:lnTo>
                <a:lnTo>
                  <a:pt x="1195088" y="1005"/>
                </a:lnTo>
                <a:lnTo>
                  <a:pt x="1146619" y="0"/>
                </a:lnTo>
                <a:close/>
              </a:path>
            </a:pathLst>
          </a:custGeom>
          <a:solidFill>
            <a:srgbClr val="9D62E2">
              <a:alpha val="23999"/>
            </a:srgbClr>
          </a:solidFill>
        </p:spPr>
        <p:txBody>
          <a:bodyPr wrap="square" lIns="0" tIns="0" rIns="0" bIns="0" rtlCol="0"/>
          <a:lstStyle/>
          <a:p>
            <a:endParaRPr/>
          </a:p>
        </p:txBody>
      </p:sp>
      <p:sp>
        <p:nvSpPr>
          <p:cNvPr id="24" name="object 10">
            <a:extLst>
              <a:ext uri="{FF2B5EF4-FFF2-40B4-BE49-F238E27FC236}">
                <a16:creationId xmlns:a16="http://schemas.microsoft.com/office/drawing/2014/main" id="{A89A634F-3FAC-49AD-A2DA-F89F069C69B6}"/>
              </a:ext>
            </a:extLst>
          </p:cNvPr>
          <p:cNvSpPr/>
          <p:nvPr userDrawn="1"/>
        </p:nvSpPr>
        <p:spPr>
          <a:xfrm>
            <a:off x="10400414" y="1"/>
            <a:ext cx="1786189" cy="1731487"/>
          </a:xfrm>
          <a:custGeom>
            <a:avLst/>
            <a:gdLst/>
            <a:ahLst/>
            <a:cxnLst/>
            <a:rect l="l" t="t" r="r" b="b"/>
            <a:pathLst>
              <a:path w="1969769" h="1909445">
                <a:moveTo>
                  <a:pt x="1969200" y="0"/>
                </a:moveTo>
                <a:lnTo>
                  <a:pt x="290407" y="0"/>
                </a:lnTo>
                <a:lnTo>
                  <a:pt x="289380" y="1110"/>
                </a:lnTo>
                <a:lnTo>
                  <a:pt x="260037" y="35449"/>
                </a:lnTo>
                <a:lnTo>
                  <a:pt x="232042" y="70938"/>
                </a:lnTo>
                <a:lnTo>
                  <a:pt x="205436" y="107537"/>
                </a:lnTo>
                <a:lnTo>
                  <a:pt x="180257" y="145206"/>
                </a:lnTo>
                <a:lnTo>
                  <a:pt x="156547" y="183905"/>
                </a:lnTo>
                <a:lnTo>
                  <a:pt x="134344" y="223594"/>
                </a:lnTo>
                <a:lnTo>
                  <a:pt x="113689" y="264234"/>
                </a:lnTo>
                <a:lnTo>
                  <a:pt x="94621" y="305784"/>
                </a:lnTo>
                <a:lnTo>
                  <a:pt x="77180" y="348206"/>
                </a:lnTo>
                <a:lnTo>
                  <a:pt x="61406" y="391458"/>
                </a:lnTo>
                <a:lnTo>
                  <a:pt x="47339" y="435502"/>
                </a:lnTo>
                <a:lnTo>
                  <a:pt x="35018" y="480298"/>
                </a:lnTo>
                <a:lnTo>
                  <a:pt x="24484" y="525805"/>
                </a:lnTo>
                <a:lnTo>
                  <a:pt x="15776" y="571984"/>
                </a:lnTo>
                <a:lnTo>
                  <a:pt x="8933" y="618796"/>
                </a:lnTo>
                <a:lnTo>
                  <a:pt x="3997" y="666200"/>
                </a:lnTo>
                <a:lnTo>
                  <a:pt x="1005" y="714156"/>
                </a:lnTo>
                <a:lnTo>
                  <a:pt x="0" y="762625"/>
                </a:lnTo>
                <a:lnTo>
                  <a:pt x="1005" y="811095"/>
                </a:lnTo>
                <a:lnTo>
                  <a:pt x="3997" y="859051"/>
                </a:lnTo>
                <a:lnTo>
                  <a:pt x="8933" y="906455"/>
                </a:lnTo>
                <a:lnTo>
                  <a:pt x="15776" y="953266"/>
                </a:lnTo>
                <a:lnTo>
                  <a:pt x="24484" y="999446"/>
                </a:lnTo>
                <a:lnTo>
                  <a:pt x="35018" y="1044953"/>
                </a:lnTo>
                <a:lnTo>
                  <a:pt x="47339" y="1089748"/>
                </a:lnTo>
                <a:lnTo>
                  <a:pt x="61406" y="1133792"/>
                </a:lnTo>
                <a:lnTo>
                  <a:pt x="77180" y="1177045"/>
                </a:lnTo>
                <a:lnTo>
                  <a:pt x="94621" y="1219467"/>
                </a:lnTo>
                <a:lnTo>
                  <a:pt x="113689" y="1261017"/>
                </a:lnTo>
                <a:lnTo>
                  <a:pt x="134344" y="1301657"/>
                </a:lnTo>
                <a:lnTo>
                  <a:pt x="156547" y="1341346"/>
                </a:lnTo>
                <a:lnTo>
                  <a:pt x="180257" y="1380045"/>
                </a:lnTo>
                <a:lnTo>
                  <a:pt x="205436" y="1417714"/>
                </a:lnTo>
                <a:lnTo>
                  <a:pt x="232042" y="1454312"/>
                </a:lnTo>
                <a:lnTo>
                  <a:pt x="260037" y="1489801"/>
                </a:lnTo>
                <a:lnTo>
                  <a:pt x="289380" y="1524141"/>
                </a:lnTo>
                <a:lnTo>
                  <a:pt x="320032" y="1557291"/>
                </a:lnTo>
                <a:lnTo>
                  <a:pt x="351953" y="1589212"/>
                </a:lnTo>
                <a:lnTo>
                  <a:pt x="385103" y="1619864"/>
                </a:lnTo>
                <a:lnTo>
                  <a:pt x="419443" y="1649207"/>
                </a:lnTo>
                <a:lnTo>
                  <a:pt x="454932" y="1677202"/>
                </a:lnTo>
                <a:lnTo>
                  <a:pt x="491531" y="1703809"/>
                </a:lnTo>
                <a:lnTo>
                  <a:pt x="529199" y="1728987"/>
                </a:lnTo>
                <a:lnTo>
                  <a:pt x="567898" y="1752698"/>
                </a:lnTo>
                <a:lnTo>
                  <a:pt x="607588" y="1774900"/>
                </a:lnTo>
                <a:lnTo>
                  <a:pt x="648227" y="1795556"/>
                </a:lnTo>
                <a:lnTo>
                  <a:pt x="689778" y="1814623"/>
                </a:lnTo>
                <a:lnTo>
                  <a:pt x="732199" y="1832064"/>
                </a:lnTo>
                <a:lnTo>
                  <a:pt x="775452" y="1847838"/>
                </a:lnTo>
                <a:lnTo>
                  <a:pt x="819496" y="1861905"/>
                </a:lnTo>
                <a:lnTo>
                  <a:pt x="864291" y="1874226"/>
                </a:lnTo>
                <a:lnTo>
                  <a:pt x="909799" y="1884760"/>
                </a:lnTo>
                <a:lnTo>
                  <a:pt x="955978" y="1893469"/>
                </a:lnTo>
                <a:lnTo>
                  <a:pt x="1002790" y="1900311"/>
                </a:lnTo>
                <a:lnTo>
                  <a:pt x="1050193" y="1905248"/>
                </a:lnTo>
                <a:lnTo>
                  <a:pt x="1098150" y="1908239"/>
                </a:lnTo>
                <a:lnTo>
                  <a:pt x="1146619" y="1909245"/>
                </a:lnTo>
                <a:lnTo>
                  <a:pt x="1195088" y="1908239"/>
                </a:lnTo>
                <a:lnTo>
                  <a:pt x="1243045" y="1905248"/>
                </a:lnTo>
                <a:lnTo>
                  <a:pt x="1290448" y="1900311"/>
                </a:lnTo>
                <a:lnTo>
                  <a:pt x="1337260" y="1893469"/>
                </a:lnTo>
                <a:lnTo>
                  <a:pt x="1383439" y="1884760"/>
                </a:lnTo>
                <a:lnTo>
                  <a:pt x="1428947" y="1874226"/>
                </a:lnTo>
                <a:lnTo>
                  <a:pt x="1473742" y="1861905"/>
                </a:lnTo>
                <a:lnTo>
                  <a:pt x="1517786" y="1847838"/>
                </a:lnTo>
                <a:lnTo>
                  <a:pt x="1561039" y="1832064"/>
                </a:lnTo>
                <a:lnTo>
                  <a:pt x="1603460" y="1814623"/>
                </a:lnTo>
                <a:lnTo>
                  <a:pt x="1645011" y="1795556"/>
                </a:lnTo>
                <a:lnTo>
                  <a:pt x="1685650" y="1774900"/>
                </a:lnTo>
                <a:lnTo>
                  <a:pt x="1725340" y="1752698"/>
                </a:lnTo>
                <a:lnTo>
                  <a:pt x="1764039" y="1728987"/>
                </a:lnTo>
                <a:lnTo>
                  <a:pt x="1801707" y="1703809"/>
                </a:lnTo>
                <a:lnTo>
                  <a:pt x="1838306" y="1677202"/>
                </a:lnTo>
                <a:lnTo>
                  <a:pt x="1873795" y="1649207"/>
                </a:lnTo>
                <a:lnTo>
                  <a:pt x="1908135" y="1619864"/>
                </a:lnTo>
                <a:lnTo>
                  <a:pt x="1941285" y="1589212"/>
                </a:lnTo>
                <a:lnTo>
                  <a:pt x="1969200" y="1561297"/>
                </a:lnTo>
                <a:lnTo>
                  <a:pt x="1969200" y="0"/>
                </a:lnTo>
                <a:close/>
              </a:path>
            </a:pathLst>
          </a:custGeom>
          <a:solidFill>
            <a:srgbClr val="9D62E2">
              <a:alpha val="23999"/>
            </a:srgbClr>
          </a:solidFill>
        </p:spPr>
        <p:txBody>
          <a:bodyPr wrap="square" lIns="0" tIns="0" rIns="0" bIns="0" rtlCol="0"/>
          <a:lstStyle/>
          <a:p>
            <a:endParaRPr/>
          </a:p>
        </p:txBody>
      </p:sp>
      <p:sp>
        <p:nvSpPr>
          <p:cNvPr id="25" name="object 11">
            <a:extLst>
              <a:ext uri="{FF2B5EF4-FFF2-40B4-BE49-F238E27FC236}">
                <a16:creationId xmlns:a16="http://schemas.microsoft.com/office/drawing/2014/main" id="{070B18B0-0A28-9977-5483-AE34A87FCE5C}"/>
              </a:ext>
            </a:extLst>
          </p:cNvPr>
          <p:cNvSpPr/>
          <p:nvPr userDrawn="1"/>
        </p:nvSpPr>
        <p:spPr>
          <a:xfrm>
            <a:off x="4070293" y="0"/>
            <a:ext cx="2079857" cy="1720546"/>
          </a:xfrm>
          <a:custGeom>
            <a:avLst/>
            <a:gdLst/>
            <a:ahLst/>
            <a:cxnLst/>
            <a:rect l="l" t="t" r="r" b="b"/>
            <a:pathLst>
              <a:path w="2293620" h="1897380">
                <a:moveTo>
                  <a:pt x="2013162" y="0"/>
                </a:moveTo>
                <a:lnTo>
                  <a:pt x="280076" y="0"/>
                </a:lnTo>
                <a:lnTo>
                  <a:pt x="260037" y="23451"/>
                </a:lnTo>
                <a:lnTo>
                  <a:pt x="232042" y="58940"/>
                </a:lnTo>
                <a:lnTo>
                  <a:pt x="205436" y="95539"/>
                </a:lnTo>
                <a:lnTo>
                  <a:pt x="180257" y="133207"/>
                </a:lnTo>
                <a:lnTo>
                  <a:pt x="156547" y="171906"/>
                </a:lnTo>
                <a:lnTo>
                  <a:pt x="134344" y="211595"/>
                </a:lnTo>
                <a:lnTo>
                  <a:pt x="113689" y="252235"/>
                </a:lnTo>
                <a:lnTo>
                  <a:pt x="94621" y="293786"/>
                </a:lnTo>
                <a:lnTo>
                  <a:pt x="77180" y="336207"/>
                </a:lnTo>
                <a:lnTo>
                  <a:pt x="61406" y="379460"/>
                </a:lnTo>
                <a:lnTo>
                  <a:pt x="47339" y="423504"/>
                </a:lnTo>
                <a:lnTo>
                  <a:pt x="35018" y="468299"/>
                </a:lnTo>
                <a:lnTo>
                  <a:pt x="24484" y="513807"/>
                </a:lnTo>
                <a:lnTo>
                  <a:pt x="15776" y="559986"/>
                </a:lnTo>
                <a:lnTo>
                  <a:pt x="8933" y="606797"/>
                </a:lnTo>
                <a:lnTo>
                  <a:pt x="3997" y="654201"/>
                </a:lnTo>
                <a:lnTo>
                  <a:pt x="1005" y="702158"/>
                </a:lnTo>
                <a:lnTo>
                  <a:pt x="0" y="750627"/>
                </a:lnTo>
                <a:lnTo>
                  <a:pt x="1005" y="799096"/>
                </a:lnTo>
                <a:lnTo>
                  <a:pt x="3997" y="847052"/>
                </a:lnTo>
                <a:lnTo>
                  <a:pt x="8933" y="894456"/>
                </a:lnTo>
                <a:lnTo>
                  <a:pt x="15776" y="941268"/>
                </a:lnTo>
                <a:lnTo>
                  <a:pt x="24484" y="987447"/>
                </a:lnTo>
                <a:lnTo>
                  <a:pt x="35018" y="1032954"/>
                </a:lnTo>
                <a:lnTo>
                  <a:pt x="47339" y="1077750"/>
                </a:lnTo>
                <a:lnTo>
                  <a:pt x="61406" y="1121794"/>
                </a:lnTo>
                <a:lnTo>
                  <a:pt x="77180" y="1165047"/>
                </a:lnTo>
                <a:lnTo>
                  <a:pt x="94621" y="1207468"/>
                </a:lnTo>
                <a:lnTo>
                  <a:pt x="113689" y="1249019"/>
                </a:lnTo>
                <a:lnTo>
                  <a:pt x="134344" y="1289658"/>
                </a:lnTo>
                <a:lnTo>
                  <a:pt x="156547" y="1329348"/>
                </a:lnTo>
                <a:lnTo>
                  <a:pt x="180257" y="1368046"/>
                </a:lnTo>
                <a:lnTo>
                  <a:pt x="205436" y="1405715"/>
                </a:lnTo>
                <a:lnTo>
                  <a:pt x="232042" y="1442314"/>
                </a:lnTo>
                <a:lnTo>
                  <a:pt x="260037" y="1477803"/>
                </a:lnTo>
                <a:lnTo>
                  <a:pt x="289380" y="1512142"/>
                </a:lnTo>
                <a:lnTo>
                  <a:pt x="320032" y="1545293"/>
                </a:lnTo>
                <a:lnTo>
                  <a:pt x="351953" y="1577214"/>
                </a:lnTo>
                <a:lnTo>
                  <a:pt x="385103" y="1607866"/>
                </a:lnTo>
                <a:lnTo>
                  <a:pt x="419443" y="1637209"/>
                </a:lnTo>
                <a:lnTo>
                  <a:pt x="454932" y="1665204"/>
                </a:lnTo>
                <a:lnTo>
                  <a:pt x="491531" y="1691810"/>
                </a:lnTo>
                <a:lnTo>
                  <a:pt x="529199" y="1716989"/>
                </a:lnTo>
                <a:lnTo>
                  <a:pt x="567898" y="1740699"/>
                </a:lnTo>
                <a:lnTo>
                  <a:pt x="607588" y="1762902"/>
                </a:lnTo>
                <a:lnTo>
                  <a:pt x="648227" y="1783557"/>
                </a:lnTo>
                <a:lnTo>
                  <a:pt x="689778" y="1802625"/>
                </a:lnTo>
                <a:lnTo>
                  <a:pt x="732199" y="1820066"/>
                </a:lnTo>
                <a:lnTo>
                  <a:pt x="775452" y="1835840"/>
                </a:lnTo>
                <a:lnTo>
                  <a:pt x="819496" y="1849907"/>
                </a:lnTo>
                <a:lnTo>
                  <a:pt x="864291" y="1862228"/>
                </a:lnTo>
                <a:lnTo>
                  <a:pt x="909799" y="1872762"/>
                </a:lnTo>
                <a:lnTo>
                  <a:pt x="955978" y="1881470"/>
                </a:lnTo>
                <a:lnTo>
                  <a:pt x="1002790" y="1888313"/>
                </a:lnTo>
                <a:lnTo>
                  <a:pt x="1050193" y="1893249"/>
                </a:lnTo>
                <a:lnTo>
                  <a:pt x="1098150" y="1896240"/>
                </a:lnTo>
                <a:lnTo>
                  <a:pt x="1146619" y="1897246"/>
                </a:lnTo>
                <a:lnTo>
                  <a:pt x="1195088" y="1896240"/>
                </a:lnTo>
                <a:lnTo>
                  <a:pt x="1243045" y="1893249"/>
                </a:lnTo>
                <a:lnTo>
                  <a:pt x="1290448" y="1888313"/>
                </a:lnTo>
                <a:lnTo>
                  <a:pt x="1337260" y="1881470"/>
                </a:lnTo>
                <a:lnTo>
                  <a:pt x="1383439" y="1872762"/>
                </a:lnTo>
                <a:lnTo>
                  <a:pt x="1428947" y="1862228"/>
                </a:lnTo>
                <a:lnTo>
                  <a:pt x="1473742" y="1849907"/>
                </a:lnTo>
                <a:lnTo>
                  <a:pt x="1517786" y="1835840"/>
                </a:lnTo>
                <a:lnTo>
                  <a:pt x="1561039" y="1820066"/>
                </a:lnTo>
                <a:lnTo>
                  <a:pt x="1603460" y="1802625"/>
                </a:lnTo>
                <a:lnTo>
                  <a:pt x="1645011" y="1783557"/>
                </a:lnTo>
                <a:lnTo>
                  <a:pt x="1685650" y="1762902"/>
                </a:lnTo>
                <a:lnTo>
                  <a:pt x="1725340" y="1740699"/>
                </a:lnTo>
                <a:lnTo>
                  <a:pt x="1764039" y="1716989"/>
                </a:lnTo>
                <a:lnTo>
                  <a:pt x="1801707" y="1691810"/>
                </a:lnTo>
                <a:lnTo>
                  <a:pt x="1838306" y="1665204"/>
                </a:lnTo>
                <a:lnTo>
                  <a:pt x="1873795" y="1637209"/>
                </a:lnTo>
                <a:lnTo>
                  <a:pt x="1908135" y="1607866"/>
                </a:lnTo>
                <a:lnTo>
                  <a:pt x="1941285" y="1577214"/>
                </a:lnTo>
                <a:lnTo>
                  <a:pt x="1973206" y="1545293"/>
                </a:lnTo>
                <a:lnTo>
                  <a:pt x="2003858" y="1512142"/>
                </a:lnTo>
                <a:lnTo>
                  <a:pt x="2033201" y="1477803"/>
                </a:lnTo>
                <a:lnTo>
                  <a:pt x="2061196" y="1442314"/>
                </a:lnTo>
                <a:lnTo>
                  <a:pt x="2087802" y="1405715"/>
                </a:lnTo>
                <a:lnTo>
                  <a:pt x="2112981" y="1368046"/>
                </a:lnTo>
                <a:lnTo>
                  <a:pt x="2136691" y="1329348"/>
                </a:lnTo>
                <a:lnTo>
                  <a:pt x="2158894" y="1289658"/>
                </a:lnTo>
                <a:lnTo>
                  <a:pt x="2179549" y="1249019"/>
                </a:lnTo>
                <a:lnTo>
                  <a:pt x="2198617" y="1207468"/>
                </a:lnTo>
                <a:lnTo>
                  <a:pt x="2216058" y="1165047"/>
                </a:lnTo>
                <a:lnTo>
                  <a:pt x="2231832" y="1121794"/>
                </a:lnTo>
                <a:lnTo>
                  <a:pt x="2245899" y="1077750"/>
                </a:lnTo>
                <a:lnTo>
                  <a:pt x="2258220" y="1032954"/>
                </a:lnTo>
                <a:lnTo>
                  <a:pt x="2268754" y="987447"/>
                </a:lnTo>
                <a:lnTo>
                  <a:pt x="2277462" y="941268"/>
                </a:lnTo>
                <a:lnTo>
                  <a:pt x="2284305" y="894456"/>
                </a:lnTo>
                <a:lnTo>
                  <a:pt x="2289241" y="847052"/>
                </a:lnTo>
                <a:lnTo>
                  <a:pt x="2292233" y="799096"/>
                </a:lnTo>
                <a:lnTo>
                  <a:pt x="2293239" y="750627"/>
                </a:lnTo>
                <a:lnTo>
                  <a:pt x="2292233" y="702158"/>
                </a:lnTo>
                <a:lnTo>
                  <a:pt x="2289241" y="654201"/>
                </a:lnTo>
                <a:lnTo>
                  <a:pt x="2284305" y="606797"/>
                </a:lnTo>
                <a:lnTo>
                  <a:pt x="2277462" y="559986"/>
                </a:lnTo>
                <a:lnTo>
                  <a:pt x="2268754" y="513807"/>
                </a:lnTo>
                <a:lnTo>
                  <a:pt x="2258220" y="468299"/>
                </a:lnTo>
                <a:lnTo>
                  <a:pt x="2245899" y="423504"/>
                </a:lnTo>
                <a:lnTo>
                  <a:pt x="2231832" y="379460"/>
                </a:lnTo>
                <a:lnTo>
                  <a:pt x="2216058" y="336207"/>
                </a:lnTo>
                <a:lnTo>
                  <a:pt x="2198617" y="293786"/>
                </a:lnTo>
                <a:lnTo>
                  <a:pt x="2179549" y="252235"/>
                </a:lnTo>
                <a:lnTo>
                  <a:pt x="2158894" y="211595"/>
                </a:lnTo>
                <a:lnTo>
                  <a:pt x="2136691" y="171906"/>
                </a:lnTo>
                <a:lnTo>
                  <a:pt x="2112981" y="133207"/>
                </a:lnTo>
                <a:lnTo>
                  <a:pt x="2087802" y="95539"/>
                </a:lnTo>
                <a:lnTo>
                  <a:pt x="2061196" y="58940"/>
                </a:lnTo>
                <a:lnTo>
                  <a:pt x="2033201" y="23451"/>
                </a:lnTo>
                <a:lnTo>
                  <a:pt x="2013162" y="0"/>
                </a:lnTo>
                <a:close/>
              </a:path>
            </a:pathLst>
          </a:custGeom>
          <a:solidFill>
            <a:srgbClr val="9D62E2">
              <a:alpha val="23999"/>
            </a:srgbClr>
          </a:solidFill>
        </p:spPr>
        <p:txBody>
          <a:bodyPr wrap="square" lIns="0" tIns="0" rIns="0" bIns="0" rtlCol="0"/>
          <a:lstStyle/>
          <a:p>
            <a:endParaRPr/>
          </a:p>
        </p:txBody>
      </p:sp>
      <p:sp>
        <p:nvSpPr>
          <p:cNvPr id="26" name="object 12">
            <a:extLst>
              <a:ext uri="{FF2B5EF4-FFF2-40B4-BE49-F238E27FC236}">
                <a16:creationId xmlns:a16="http://schemas.microsoft.com/office/drawing/2014/main" id="{FEF9B5F4-F996-526E-724D-8B9EB62F9A2B}"/>
              </a:ext>
            </a:extLst>
          </p:cNvPr>
          <p:cNvSpPr/>
          <p:nvPr userDrawn="1"/>
        </p:nvSpPr>
        <p:spPr>
          <a:xfrm>
            <a:off x="10321566" y="3966353"/>
            <a:ext cx="1580045" cy="1580045"/>
          </a:xfrm>
          <a:custGeom>
            <a:avLst/>
            <a:gdLst/>
            <a:ahLst/>
            <a:cxnLst/>
            <a:rect l="l" t="t" r="r" b="b"/>
            <a:pathLst>
              <a:path w="1742440" h="1742439">
                <a:moveTo>
                  <a:pt x="871016" y="0"/>
                </a:moveTo>
                <a:lnTo>
                  <a:pt x="823226" y="1288"/>
                </a:lnTo>
                <a:lnTo>
                  <a:pt x="776109" y="5110"/>
                </a:lnTo>
                <a:lnTo>
                  <a:pt x="729733" y="11400"/>
                </a:lnTo>
                <a:lnTo>
                  <a:pt x="684162" y="20089"/>
                </a:lnTo>
                <a:lnTo>
                  <a:pt x="639465" y="31113"/>
                </a:lnTo>
                <a:lnTo>
                  <a:pt x="595707" y="44404"/>
                </a:lnTo>
                <a:lnTo>
                  <a:pt x="552955" y="59897"/>
                </a:lnTo>
                <a:lnTo>
                  <a:pt x="511275" y="77525"/>
                </a:lnTo>
                <a:lnTo>
                  <a:pt x="470733" y="97221"/>
                </a:lnTo>
                <a:lnTo>
                  <a:pt x="431397" y="118919"/>
                </a:lnTo>
                <a:lnTo>
                  <a:pt x="393332" y="142552"/>
                </a:lnTo>
                <a:lnTo>
                  <a:pt x="356605" y="168055"/>
                </a:lnTo>
                <a:lnTo>
                  <a:pt x="321282" y="195360"/>
                </a:lnTo>
                <a:lnTo>
                  <a:pt x="287429" y="224402"/>
                </a:lnTo>
                <a:lnTo>
                  <a:pt x="255114" y="255114"/>
                </a:lnTo>
                <a:lnTo>
                  <a:pt x="224402" y="287429"/>
                </a:lnTo>
                <a:lnTo>
                  <a:pt x="195360" y="321282"/>
                </a:lnTo>
                <a:lnTo>
                  <a:pt x="168055" y="356605"/>
                </a:lnTo>
                <a:lnTo>
                  <a:pt x="142552" y="393332"/>
                </a:lnTo>
                <a:lnTo>
                  <a:pt x="118919" y="431397"/>
                </a:lnTo>
                <a:lnTo>
                  <a:pt x="97221" y="470733"/>
                </a:lnTo>
                <a:lnTo>
                  <a:pt x="77525" y="511275"/>
                </a:lnTo>
                <a:lnTo>
                  <a:pt x="59897" y="552955"/>
                </a:lnTo>
                <a:lnTo>
                  <a:pt x="44404" y="595707"/>
                </a:lnTo>
                <a:lnTo>
                  <a:pt x="31113" y="639465"/>
                </a:lnTo>
                <a:lnTo>
                  <a:pt x="20089" y="684162"/>
                </a:lnTo>
                <a:lnTo>
                  <a:pt x="11400" y="729733"/>
                </a:lnTo>
                <a:lnTo>
                  <a:pt x="5110" y="776109"/>
                </a:lnTo>
                <a:lnTo>
                  <a:pt x="1288" y="823226"/>
                </a:lnTo>
                <a:lnTo>
                  <a:pt x="0" y="871016"/>
                </a:lnTo>
                <a:lnTo>
                  <a:pt x="1288" y="918807"/>
                </a:lnTo>
                <a:lnTo>
                  <a:pt x="5110" y="965923"/>
                </a:lnTo>
                <a:lnTo>
                  <a:pt x="11400" y="1012300"/>
                </a:lnTo>
                <a:lnTo>
                  <a:pt x="20089" y="1057870"/>
                </a:lnTo>
                <a:lnTo>
                  <a:pt x="31113" y="1102568"/>
                </a:lnTo>
                <a:lnTo>
                  <a:pt x="44404" y="1146325"/>
                </a:lnTo>
                <a:lnTo>
                  <a:pt x="59897" y="1189078"/>
                </a:lnTo>
                <a:lnTo>
                  <a:pt x="77525" y="1230758"/>
                </a:lnTo>
                <a:lnTo>
                  <a:pt x="97221" y="1271299"/>
                </a:lnTo>
                <a:lnTo>
                  <a:pt x="118919" y="1310636"/>
                </a:lnTo>
                <a:lnTo>
                  <a:pt x="142552" y="1348701"/>
                </a:lnTo>
                <a:lnTo>
                  <a:pt x="168055" y="1385428"/>
                </a:lnTo>
                <a:lnTo>
                  <a:pt x="195360" y="1420751"/>
                </a:lnTo>
                <a:lnTo>
                  <a:pt x="224402" y="1454603"/>
                </a:lnTo>
                <a:lnTo>
                  <a:pt x="255114" y="1486919"/>
                </a:lnTo>
                <a:lnTo>
                  <a:pt x="287429" y="1517630"/>
                </a:lnTo>
                <a:lnTo>
                  <a:pt x="321282" y="1546672"/>
                </a:lnTo>
                <a:lnTo>
                  <a:pt x="356605" y="1573978"/>
                </a:lnTo>
                <a:lnTo>
                  <a:pt x="393332" y="1599480"/>
                </a:lnTo>
                <a:lnTo>
                  <a:pt x="431397" y="1623114"/>
                </a:lnTo>
                <a:lnTo>
                  <a:pt x="470733" y="1644812"/>
                </a:lnTo>
                <a:lnTo>
                  <a:pt x="511275" y="1664508"/>
                </a:lnTo>
                <a:lnTo>
                  <a:pt x="552955" y="1682136"/>
                </a:lnTo>
                <a:lnTo>
                  <a:pt x="595707" y="1697628"/>
                </a:lnTo>
                <a:lnTo>
                  <a:pt x="639465" y="1710920"/>
                </a:lnTo>
                <a:lnTo>
                  <a:pt x="684162" y="1721943"/>
                </a:lnTo>
                <a:lnTo>
                  <a:pt x="729733" y="1730633"/>
                </a:lnTo>
                <a:lnTo>
                  <a:pt x="776109" y="1736922"/>
                </a:lnTo>
                <a:lnTo>
                  <a:pt x="823226" y="1740744"/>
                </a:lnTo>
                <a:lnTo>
                  <a:pt x="871016" y="1742033"/>
                </a:lnTo>
                <a:lnTo>
                  <a:pt x="918807" y="1740744"/>
                </a:lnTo>
                <a:lnTo>
                  <a:pt x="965923" y="1736922"/>
                </a:lnTo>
                <a:lnTo>
                  <a:pt x="1012300" y="1730633"/>
                </a:lnTo>
                <a:lnTo>
                  <a:pt x="1057870" y="1721943"/>
                </a:lnTo>
                <a:lnTo>
                  <a:pt x="1102568" y="1710920"/>
                </a:lnTo>
                <a:lnTo>
                  <a:pt x="1146325" y="1697628"/>
                </a:lnTo>
                <a:lnTo>
                  <a:pt x="1189078" y="1682136"/>
                </a:lnTo>
                <a:lnTo>
                  <a:pt x="1230758" y="1664508"/>
                </a:lnTo>
                <a:lnTo>
                  <a:pt x="1271299" y="1644812"/>
                </a:lnTo>
                <a:lnTo>
                  <a:pt x="1310636" y="1623114"/>
                </a:lnTo>
                <a:lnTo>
                  <a:pt x="1348701" y="1599480"/>
                </a:lnTo>
                <a:lnTo>
                  <a:pt x="1385428" y="1573978"/>
                </a:lnTo>
                <a:lnTo>
                  <a:pt x="1420751" y="1546672"/>
                </a:lnTo>
                <a:lnTo>
                  <a:pt x="1454603" y="1517630"/>
                </a:lnTo>
                <a:lnTo>
                  <a:pt x="1486919" y="1486919"/>
                </a:lnTo>
                <a:lnTo>
                  <a:pt x="1517630" y="1454603"/>
                </a:lnTo>
                <a:lnTo>
                  <a:pt x="1546672" y="1420751"/>
                </a:lnTo>
                <a:lnTo>
                  <a:pt x="1573978" y="1385428"/>
                </a:lnTo>
                <a:lnTo>
                  <a:pt x="1599480" y="1348701"/>
                </a:lnTo>
                <a:lnTo>
                  <a:pt x="1623114" y="1310636"/>
                </a:lnTo>
                <a:lnTo>
                  <a:pt x="1644812" y="1271299"/>
                </a:lnTo>
                <a:lnTo>
                  <a:pt x="1664508" y="1230758"/>
                </a:lnTo>
                <a:lnTo>
                  <a:pt x="1682136" y="1189078"/>
                </a:lnTo>
                <a:lnTo>
                  <a:pt x="1697628" y="1146325"/>
                </a:lnTo>
                <a:lnTo>
                  <a:pt x="1710920" y="1102568"/>
                </a:lnTo>
                <a:lnTo>
                  <a:pt x="1721943" y="1057870"/>
                </a:lnTo>
                <a:lnTo>
                  <a:pt x="1730633" y="1012300"/>
                </a:lnTo>
                <a:lnTo>
                  <a:pt x="1736922" y="965923"/>
                </a:lnTo>
                <a:lnTo>
                  <a:pt x="1740744" y="918807"/>
                </a:lnTo>
                <a:lnTo>
                  <a:pt x="1742033" y="871016"/>
                </a:lnTo>
                <a:lnTo>
                  <a:pt x="1740744" y="823226"/>
                </a:lnTo>
                <a:lnTo>
                  <a:pt x="1736922" y="776109"/>
                </a:lnTo>
                <a:lnTo>
                  <a:pt x="1730633" y="729733"/>
                </a:lnTo>
                <a:lnTo>
                  <a:pt x="1721943" y="684162"/>
                </a:lnTo>
                <a:lnTo>
                  <a:pt x="1710920" y="639465"/>
                </a:lnTo>
                <a:lnTo>
                  <a:pt x="1697628" y="595707"/>
                </a:lnTo>
                <a:lnTo>
                  <a:pt x="1682136" y="552955"/>
                </a:lnTo>
                <a:lnTo>
                  <a:pt x="1664508" y="511275"/>
                </a:lnTo>
                <a:lnTo>
                  <a:pt x="1644812" y="470733"/>
                </a:lnTo>
                <a:lnTo>
                  <a:pt x="1623114" y="431397"/>
                </a:lnTo>
                <a:lnTo>
                  <a:pt x="1599480" y="393332"/>
                </a:lnTo>
                <a:lnTo>
                  <a:pt x="1573978" y="356605"/>
                </a:lnTo>
                <a:lnTo>
                  <a:pt x="1546672" y="321282"/>
                </a:lnTo>
                <a:lnTo>
                  <a:pt x="1517630" y="287429"/>
                </a:lnTo>
                <a:lnTo>
                  <a:pt x="1486919" y="255114"/>
                </a:lnTo>
                <a:lnTo>
                  <a:pt x="1454603" y="224402"/>
                </a:lnTo>
                <a:lnTo>
                  <a:pt x="1420751" y="195360"/>
                </a:lnTo>
                <a:lnTo>
                  <a:pt x="1385428" y="168055"/>
                </a:lnTo>
                <a:lnTo>
                  <a:pt x="1348701" y="142552"/>
                </a:lnTo>
                <a:lnTo>
                  <a:pt x="1310636" y="118919"/>
                </a:lnTo>
                <a:lnTo>
                  <a:pt x="1271299" y="97221"/>
                </a:lnTo>
                <a:lnTo>
                  <a:pt x="1230758" y="77525"/>
                </a:lnTo>
                <a:lnTo>
                  <a:pt x="1189078" y="59897"/>
                </a:lnTo>
                <a:lnTo>
                  <a:pt x="1146325" y="44404"/>
                </a:lnTo>
                <a:lnTo>
                  <a:pt x="1102568" y="31113"/>
                </a:lnTo>
                <a:lnTo>
                  <a:pt x="1057870" y="20089"/>
                </a:lnTo>
                <a:lnTo>
                  <a:pt x="1012300" y="11400"/>
                </a:lnTo>
                <a:lnTo>
                  <a:pt x="965923" y="5110"/>
                </a:lnTo>
                <a:lnTo>
                  <a:pt x="918807" y="1288"/>
                </a:lnTo>
                <a:lnTo>
                  <a:pt x="871016" y="0"/>
                </a:lnTo>
                <a:close/>
              </a:path>
            </a:pathLst>
          </a:custGeom>
          <a:solidFill>
            <a:srgbClr val="9D62E2">
              <a:alpha val="23999"/>
            </a:srgbClr>
          </a:solidFill>
        </p:spPr>
        <p:txBody>
          <a:bodyPr wrap="square" lIns="0" tIns="0" rIns="0" bIns="0" rtlCol="0"/>
          <a:lstStyle/>
          <a:p>
            <a:endParaRPr/>
          </a:p>
        </p:txBody>
      </p:sp>
      <p:sp>
        <p:nvSpPr>
          <p:cNvPr id="27" name="object 13">
            <a:extLst>
              <a:ext uri="{FF2B5EF4-FFF2-40B4-BE49-F238E27FC236}">
                <a16:creationId xmlns:a16="http://schemas.microsoft.com/office/drawing/2014/main" id="{2E23C361-F404-8DEA-3669-F09536585986}"/>
              </a:ext>
            </a:extLst>
          </p:cNvPr>
          <p:cNvSpPr/>
          <p:nvPr userDrawn="1"/>
        </p:nvSpPr>
        <p:spPr>
          <a:xfrm>
            <a:off x="7835316" y="4563116"/>
            <a:ext cx="726683" cy="726683"/>
          </a:xfrm>
          <a:custGeom>
            <a:avLst/>
            <a:gdLst/>
            <a:ahLst/>
            <a:cxnLst/>
            <a:rect l="l" t="t" r="r" b="b"/>
            <a:pathLst>
              <a:path w="801370" h="801370">
                <a:moveTo>
                  <a:pt x="400672" y="0"/>
                </a:moveTo>
                <a:lnTo>
                  <a:pt x="353945" y="2695"/>
                </a:lnTo>
                <a:lnTo>
                  <a:pt x="308801" y="10581"/>
                </a:lnTo>
                <a:lnTo>
                  <a:pt x="265542" y="23357"/>
                </a:lnTo>
                <a:lnTo>
                  <a:pt x="224466" y="40722"/>
                </a:lnTo>
                <a:lnTo>
                  <a:pt x="185876" y="62376"/>
                </a:lnTo>
                <a:lnTo>
                  <a:pt x="150072" y="88018"/>
                </a:lnTo>
                <a:lnTo>
                  <a:pt x="117354" y="117348"/>
                </a:lnTo>
                <a:lnTo>
                  <a:pt x="88023" y="150064"/>
                </a:lnTo>
                <a:lnTo>
                  <a:pt x="62379" y="185867"/>
                </a:lnTo>
                <a:lnTo>
                  <a:pt x="40724" y="224456"/>
                </a:lnTo>
                <a:lnTo>
                  <a:pt x="23358" y="265531"/>
                </a:lnTo>
                <a:lnTo>
                  <a:pt x="10582" y="308789"/>
                </a:lnTo>
                <a:lnTo>
                  <a:pt x="2695" y="353933"/>
                </a:lnTo>
                <a:lnTo>
                  <a:pt x="0" y="400659"/>
                </a:lnTo>
                <a:lnTo>
                  <a:pt x="2695" y="447386"/>
                </a:lnTo>
                <a:lnTo>
                  <a:pt x="10582" y="492529"/>
                </a:lnTo>
                <a:lnTo>
                  <a:pt x="23358" y="535789"/>
                </a:lnTo>
                <a:lnTo>
                  <a:pt x="40724" y="576864"/>
                </a:lnTo>
                <a:lnTo>
                  <a:pt x="62379" y="615455"/>
                </a:lnTo>
                <a:lnTo>
                  <a:pt x="88023" y="651259"/>
                </a:lnTo>
                <a:lnTo>
                  <a:pt x="117354" y="683977"/>
                </a:lnTo>
                <a:lnTo>
                  <a:pt x="150072" y="713308"/>
                </a:lnTo>
                <a:lnTo>
                  <a:pt x="185876" y="738951"/>
                </a:lnTo>
                <a:lnTo>
                  <a:pt x="224466" y="760607"/>
                </a:lnTo>
                <a:lnTo>
                  <a:pt x="265542" y="777973"/>
                </a:lnTo>
                <a:lnTo>
                  <a:pt x="308801" y="790749"/>
                </a:lnTo>
                <a:lnTo>
                  <a:pt x="353945" y="798636"/>
                </a:lnTo>
                <a:lnTo>
                  <a:pt x="400672" y="801331"/>
                </a:lnTo>
                <a:lnTo>
                  <a:pt x="447399" y="798636"/>
                </a:lnTo>
                <a:lnTo>
                  <a:pt x="492542" y="790749"/>
                </a:lnTo>
                <a:lnTo>
                  <a:pt x="535802" y="777973"/>
                </a:lnTo>
                <a:lnTo>
                  <a:pt x="576877" y="760607"/>
                </a:lnTo>
                <a:lnTo>
                  <a:pt x="615467" y="738951"/>
                </a:lnTo>
                <a:lnTo>
                  <a:pt x="651272" y="713308"/>
                </a:lnTo>
                <a:lnTo>
                  <a:pt x="683990" y="683977"/>
                </a:lnTo>
                <a:lnTo>
                  <a:pt x="713321" y="651259"/>
                </a:lnTo>
                <a:lnTo>
                  <a:pt x="738964" y="615455"/>
                </a:lnTo>
                <a:lnTo>
                  <a:pt x="760619" y="576864"/>
                </a:lnTo>
                <a:lnTo>
                  <a:pt x="777985" y="535789"/>
                </a:lnTo>
                <a:lnTo>
                  <a:pt x="790762" y="492529"/>
                </a:lnTo>
                <a:lnTo>
                  <a:pt x="798648" y="447386"/>
                </a:lnTo>
                <a:lnTo>
                  <a:pt x="801344" y="400659"/>
                </a:lnTo>
                <a:lnTo>
                  <a:pt x="798648" y="353933"/>
                </a:lnTo>
                <a:lnTo>
                  <a:pt x="790762" y="308789"/>
                </a:lnTo>
                <a:lnTo>
                  <a:pt x="777985" y="265531"/>
                </a:lnTo>
                <a:lnTo>
                  <a:pt x="760619" y="224456"/>
                </a:lnTo>
                <a:lnTo>
                  <a:pt x="738964" y="185867"/>
                </a:lnTo>
                <a:lnTo>
                  <a:pt x="713321" y="150064"/>
                </a:lnTo>
                <a:lnTo>
                  <a:pt x="683990" y="117348"/>
                </a:lnTo>
                <a:lnTo>
                  <a:pt x="651272" y="88018"/>
                </a:lnTo>
                <a:lnTo>
                  <a:pt x="615467" y="62376"/>
                </a:lnTo>
                <a:lnTo>
                  <a:pt x="576877" y="40722"/>
                </a:lnTo>
                <a:lnTo>
                  <a:pt x="535802" y="23357"/>
                </a:lnTo>
                <a:lnTo>
                  <a:pt x="492542" y="10581"/>
                </a:lnTo>
                <a:lnTo>
                  <a:pt x="447399" y="2695"/>
                </a:lnTo>
                <a:lnTo>
                  <a:pt x="400672" y="0"/>
                </a:lnTo>
                <a:close/>
              </a:path>
            </a:pathLst>
          </a:custGeom>
          <a:solidFill>
            <a:srgbClr val="9D62E2">
              <a:alpha val="23999"/>
            </a:srgbClr>
          </a:solidFill>
        </p:spPr>
        <p:txBody>
          <a:bodyPr wrap="square" lIns="0" tIns="0" rIns="0" bIns="0" rtlCol="0"/>
          <a:lstStyle/>
          <a:p>
            <a:endParaRPr/>
          </a:p>
        </p:txBody>
      </p:sp>
      <p:sp>
        <p:nvSpPr>
          <p:cNvPr id="28" name="object 14">
            <a:extLst>
              <a:ext uri="{FF2B5EF4-FFF2-40B4-BE49-F238E27FC236}">
                <a16:creationId xmlns:a16="http://schemas.microsoft.com/office/drawing/2014/main" id="{8F872847-C3B1-760C-F4AC-93DE0329412F}"/>
              </a:ext>
            </a:extLst>
          </p:cNvPr>
          <p:cNvSpPr/>
          <p:nvPr userDrawn="1"/>
        </p:nvSpPr>
        <p:spPr>
          <a:xfrm>
            <a:off x="1216272" y="5587712"/>
            <a:ext cx="726683" cy="726683"/>
          </a:xfrm>
          <a:custGeom>
            <a:avLst/>
            <a:gdLst/>
            <a:ahLst/>
            <a:cxnLst/>
            <a:rect l="l" t="t" r="r" b="b"/>
            <a:pathLst>
              <a:path w="801369" h="801370">
                <a:moveTo>
                  <a:pt x="400672" y="0"/>
                </a:moveTo>
                <a:lnTo>
                  <a:pt x="353945" y="2695"/>
                </a:lnTo>
                <a:lnTo>
                  <a:pt x="308801" y="10582"/>
                </a:lnTo>
                <a:lnTo>
                  <a:pt x="265542" y="23358"/>
                </a:lnTo>
                <a:lnTo>
                  <a:pt x="224466" y="40724"/>
                </a:lnTo>
                <a:lnTo>
                  <a:pt x="185876" y="62379"/>
                </a:lnTo>
                <a:lnTo>
                  <a:pt x="150072" y="88023"/>
                </a:lnTo>
                <a:lnTo>
                  <a:pt x="117354" y="117354"/>
                </a:lnTo>
                <a:lnTo>
                  <a:pt x="88023" y="150072"/>
                </a:lnTo>
                <a:lnTo>
                  <a:pt x="62379" y="185876"/>
                </a:lnTo>
                <a:lnTo>
                  <a:pt x="40724" y="224466"/>
                </a:lnTo>
                <a:lnTo>
                  <a:pt x="23358" y="265542"/>
                </a:lnTo>
                <a:lnTo>
                  <a:pt x="10582" y="308801"/>
                </a:lnTo>
                <a:lnTo>
                  <a:pt x="2695" y="353945"/>
                </a:lnTo>
                <a:lnTo>
                  <a:pt x="0" y="400672"/>
                </a:lnTo>
                <a:lnTo>
                  <a:pt x="2695" y="447398"/>
                </a:lnTo>
                <a:lnTo>
                  <a:pt x="10582" y="492541"/>
                </a:lnTo>
                <a:lnTo>
                  <a:pt x="23358" y="535800"/>
                </a:lnTo>
                <a:lnTo>
                  <a:pt x="40724" y="576875"/>
                </a:lnTo>
                <a:lnTo>
                  <a:pt x="62379" y="615464"/>
                </a:lnTo>
                <a:lnTo>
                  <a:pt x="88023" y="651267"/>
                </a:lnTo>
                <a:lnTo>
                  <a:pt x="117354" y="683983"/>
                </a:lnTo>
                <a:lnTo>
                  <a:pt x="150072" y="713313"/>
                </a:lnTo>
                <a:lnTo>
                  <a:pt x="185876" y="738955"/>
                </a:lnTo>
                <a:lnTo>
                  <a:pt x="224466" y="760609"/>
                </a:lnTo>
                <a:lnTo>
                  <a:pt x="265542" y="777974"/>
                </a:lnTo>
                <a:lnTo>
                  <a:pt x="308801" y="790750"/>
                </a:lnTo>
                <a:lnTo>
                  <a:pt x="353945" y="798636"/>
                </a:lnTo>
                <a:lnTo>
                  <a:pt x="400672" y="801331"/>
                </a:lnTo>
                <a:lnTo>
                  <a:pt x="447399" y="798636"/>
                </a:lnTo>
                <a:lnTo>
                  <a:pt x="492542" y="790750"/>
                </a:lnTo>
                <a:lnTo>
                  <a:pt x="535802" y="777974"/>
                </a:lnTo>
                <a:lnTo>
                  <a:pt x="576877" y="760609"/>
                </a:lnTo>
                <a:lnTo>
                  <a:pt x="615467" y="738955"/>
                </a:lnTo>
                <a:lnTo>
                  <a:pt x="651272" y="713313"/>
                </a:lnTo>
                <a:lnTo>
                  <a:pt x="683990" y="683983"/>
                </a:lnTo>
                <a:lnTo>
                  <a:pt x="713321" y="651267"/>
                </a:lnTo>
                <a:lnTo>
                  <a:pt x="738964" y="615464"/>
                </a:lnTo>
                <a:lnTo>
                  <a:pt x="760619" y="576875"/>
                </a:lnTo>
                <a:lnTo>
                  <a:pt x="777985" y="535800"/>
                </a:lnTo>
                <a:lnTo>
                  <a:pt x="790762" y="492541"/>
                </a:lnTo>
                <a:lnTo>
                  <a:pt x="798648" y="447398"/>
                </a:lnTo>
                <a:lnTo>
                  <a:pt x="801344" y="400672"/>
                </a:lnTo>
                <a:lnTo>
                  <a:pt x="798648" y="353945"/>
                </a:lnTo>
                <a:lnTo>
                  <a:pt x="790762" y="308801"/>
                </a:lnTo>
                <a:lnTo>
                  <a:pt x="777985" y="265542"/>
                </a:lnTo>
                <a:lnTo>
                  <a:pt x="760619" y="224466"/>
                </a:lnTo>
                <a:lnTo>
                  <a:pt x="738964" y="185876"/>
                </a:lnTo>
                <a:lnTo>
                  <a:pt x="713321" y="150072"/>
                </a:lnTo>
                <a:lnTo>
                  <a:pt x="683990" y="117354"/>
                </a:lnTo>
                <a:lnTo>
                  <a:pt x="651272" y="88023"/>
                </a:lnTo>
                <a:lnTo>
                  <a:pt x="615467" y="62379"/>
                </a:lnTo>
                <a:lnTo>
                  <a:pt x="576877" y="40724"/>
                </a:lnTo>
                <a:lnTo>
                  <a:pt x="535802" y="23358"/>
                </a:lnTo>
                <a:lnTo>
                  <a:pt x="492542" y="10582"/>
                </a:lnTo>
                <a:lnTo>
                  <a:pt x="447399" y="2695"/>
                </a:lnTo>
                <a:lnTo>
                  <a:pt x="400672" y="0"/>
                </a:lnTo>
                <a:close/>
              </a:path>
            </a:pathLst>
          </a:custGeom>
          <a:solidFill>
            <a:srgbClr val="9D62E2">
              <a:alpha val="23999"/>
            </a:srgbClr>
          </a:solidFill>
        </p:spPr>
        <p:txBody>
          <a:bodyPr wrap="square" lIns="0" tIns="0" rIns="0" bIns="0" rtlCol="0"/>
          <a:lstStyle/>
          <a:p>
            <a:endParaRPr/>
          </a:p>
        </p:txBody>
      </p:sp>
      <p:sp>
        <p:nvSpPr>
          <p:cNvPr id="29" name="object 15">
            <a:extLst>
              <a:ext uri="{FF2B5EF4-FFF2-40B4-BE49-F238E27FC236}">
                <a16:creationId xmlns:a16="http://schemas.microsoft.com/office/drawing/2014/main" id="{53AA02F4-3E33-4C39-33D6-76AA82402885}"/>
              </a:ext>
            </a:extLst>
          </p:cNvPr>
          <p:cNvSpPr/>
          <p:nvPr userDrawn="1"/>
        </p:nvSpPr>
        <p:spPr>
          <a:xfrm>
            <a:off x="1412140" y="6469124"/>
            <a:ext cx="726683" cy="386373"/>
          </a:xfrm>
          <a:custGeom>
            <a:avLst/>
            <a:gdLst/>
            <a:ahLst/>
            <a:cxnLst/>
            <a:rect l="l" t="t" r="r" b="b"/>
            <a:pathLst>
              <a:path w="801369" h="426084">
                <a:moveTo>
                  <a:pt x="400672" y="0"/>
                </a:moveTo>
                <a:lnTo>
                  <a:pt x="353945" y="2695"/>
                </a:lnTo>
                <a:lnTo>
                  <a:pt x="308801" y="10582"/>
                </a:lnTo>
                <a:lnTo>
                  <a:pt x="265542" y="23358"/>
                </a:lnTo>
                <a:lnTo>
                  <a:pt x="224466" y="40724"/>
                </a:lnTo>
                <a:lnTo>
                  <a:pt x="185876" y="62379"/>
                </a:lnTo>
                <a:lnTo>
                  <a:pt x="150072" y="88023"/>
                </a:lnTo>
                <a:lnTo>
                  <a:pt x="117354" y="117354"/>
                </a:lnTo>
                <a:lnTo>
                  <a:pt x="88023" y="150072"/>
                </a:lnTo>
                <a:lnTo>
                  <a:pt x="62379" y="185876"/>
                </a:lnTo>
                <a:lnTo>
                  <a:pt x="40724" y="224466"/>
                </a:lnTo>
                <a:lnTo>
                  <a:pt x="23358" y="265542"/>
                </a:lnTo>
                <a:lnTo>
                  <a:pt x="10582" y="308801"/>
                </a:lnTo>
                <a:lnTo>
                  <a:pt x="2695" y="353945"/>
                </a:lnTo>
                <a:lnTo>
                  <a:pt x="0" y="400672"/>
                </a:lnTo>
                <a:lnTo>
                  <a:pt x="1461" y="425998"/>
                </a:lnTo>
                <a:lnTo>
                  <a:pt x="799883" y="425998"/>
                </a:lnTo>
                <a:lnTo>
                  <a:pt x="801344" y="400672"/>
                </a:lnTo>
                <a:lnTo>
                  <a:pt x="798648" y="353945"/>
                </a:lnTo>
                <a:lnTo>
                  <a:pt x="790762" y="308801"/>
                </a:lnTo>
                <a:lnTo>
                  <a:pt x="777985" y="265542"/>
                </a:lnTo>
                <a:lnTo>
                  <a:pt x="760619" y="224466"/>
                </a:lnTo>
                <a:lnTo>
                  <a:pt x="738964" y="185876"/>
                </a:lnTo>
                <a:lnTo>
                  <a:pt x="713321" y="150072"/>
                </a:lnTo>
                <a:lnTo>
                  <a:pt x="683990" y="117354"/>
                </a:lnTo>
                <a:lnTo>
                  <a:pt x="651272" y="88023"/>
                </a:lnTo>
                <a:lnTo>
                  <a:pt x="615467" y="62379"/>
                </a:lnTo>
                <a:lnTo>
                  <a:pt x="576877" y="40724"/>
                </a:lnTo>
                <a:lnTo>
                  <a:pt x="535802" y="23358"/>
                </a:lnTo>
                <a:lnTo>
                  <a:pt x="492542" y="10582"/>
                </a:lnTo>
                <a:lnTo>
                  <a:pt x="447399" y="2695"/>
                </a:lnTo>
                <a:lnTo>
                  <a:pt x="400672" y="0"/>
                </a:lnTo>
                <a:close/>
              </a:path>
            </a:pathLst>
          </a:custGeom>
          <a:solidFill>
            <a:srgbClr val="9D62E2">
              <a:alpha val="23999"/>
            </a:srgbClr>
          </a:solidFill>
        </p:spPr>
        <p:txBody>
          <a:bodyPr wrap="square" lIns="0" tIns="0" rIns="0" bIns="0" rtlCol="0"/>
          <a:lstStyle/>
          <a:p>
            <a:endParaRPr/>
          </a:p>
        </p:txBody>
      </p:sp>
      <p:sp>
        <p:nvSpPr>
          <p:cNvPr id="31" name="object 14">
            <a:extLst>
              <a:ext uri="{FF2B5EF4-FFF2-40B4-BE49-F238E27FC236}">
                <a16:creationId xmlns:a16="http://schemas.microsoft.com/office/drawing/2014/main" id="{6424BFED-D43D-B183-B5D0-83BFB42B63F4}"/>
              </a:ext>
            </a:extLst>
          </p:cNvPr>
          <p:cNvSpPr/>
          <p:nvPr userDrawn="1"/>
        </p:nvSpPr>
        <p:spPr>
          <a:xfrm>
            <a:off x="6266493" y="1757951"/>
            <a:ext cx="726683" cy="726683"/>
          </a:xfrm>
          <a:custGeom>
            <a:avLst/>
            <a:gdLst/>
            <a:ahLst/>
            <a:cxnLst/>
            <a:rect l="l" t="t" r="r" b="b"/>
            <a:pathLst>
              <a:path w="801369" h="801370">
                <a:moveTo>
                  <a:pt x="400672" y="0"/>
                </a:moveTo>
                <a:lnTo>
                  <a:pt x="353945" y="2695"/>
                </a:lnTo>
                <a:lnTo>
                  <a:pt x="308801" y="10582"/>
                </a:lnTo>
                <a:lnTo>
                  <a:pt x="265542" y="23358"/>
                </a:lnTo>
                <a:lnTo>
                  <a:pt x="224466" y="40724"/>
                </a:lnTo>
                <a:lnTo>
                  <a:pt x="185876" y="62379"/>
                </a:lnTo>
                <a:lnTo>
                  <a:pt x="150072" y="88023"/>
                </a:lnTo>
                <a:lnTo>
                  <a:pt x="117354" y="117354"/>
                </a:lnTo>
                <a:lnTo>
                  <a:pt x="88023" y="150072"/>
                </a:lnTo>
                <a:lnTo>
                  <a:pt x="62379" y="185876"/>
                </a:lnTo>
                <a:lnTo>
                  <a:pt x="40724" y="224466"/>
                </a:lnTo>
                <a:lnTo>
                  <a:pt x="23358" y="265542"/>
                </a:lnTo>
                <a:lnTo>
                  <a:pt x="10582" y="308801"/>
                </a:lnTo>
                <a:lnTo>
                  <a:pt x="2695" y="353945"/>
                </a:lnTo>
                <a:lnTo>
                  <a:pt x="0" y="400672"/>
                </a:lnTo>
                <a:lnTo>
                  <a:pt x="2695" y="447398"/>
                </a:lnTo>
                <a:lnTo>
                  <a:pt x="10582" y="492541"/>
                </a:lnTo>
                <a:lnTo>
                  <a:pt x="23358" y="535800"/>
                </a:lnTo>
                <a:lnTo>
                  <a:pt x="40724" y="576875"/>
                </a:lnTo>
                <a:lnTo>
                  <a:pt x="62379" y="615464"/>
                </a:lnTo>
                <a:lnTo>
                  <a:pt x="88023" y="651267"/>
                </a:lnTo>
                <a:lnTo>
                  <a:pt x="117354" y="683983"/>
                </a:lnTo>
                <a:lnTo>
                  <a:pt x="150072" y="713313"/>
                </a:lnTo>
                <a:lnTo>
                  <a:pt x="185876" y="738955"/>
                </a:lnTo>
                <a:lnTo>
                  <a:pt x="224466" y="760609"/>
                </a:lnTo>
                <a:lnTo>
                  <a:pt x="265542" y="777974"/>
                </a:lnTo>
                <a:lnTo>
                  <a:pt x="308801" y="790750"/>
                </a:lnTo>
                <a:lnTo>
                  <a:pt x="353945" y="798636"/>
                </a:lnTo>
                <a:lnTo>
                  <a:pt x="400672" y="801331"/>
                </a:lnTo>
                <a:lnTo>
                  <a:pt x="447399" y="798636"/>
                </a:lnTo>
                <a:lnTo>
                  <a:pt x="492542" y="790750"/>
                </a:lnTo>
                <a:lnTo>
                  <a:pt x="535802" y="777974"/>
                </a:lnTo>
                <a:lnTo>
                  <a:pt x="576877" y="760609"/>
                </a:lnTo>
                <a:lnTo>
                  <a:pt x="615467" y="738955"/>
                </a:lnTo>
                <a:lnTo>
                  <a:pt x="651272" y="713313"/>
                </a:lnTo>
                <a:lnTo>
                  <a:pt x="683990" y="683983"/>
                </a:lnTo>
                <a:lnTo>
                  <a:pt x="713321" y="651267"/>
                </a:lnTo>
                <a:lnTo>
                  <a:pt x="738964" y="615464"/>
                </a:lnTo>
                <a:lnTo>
                  <a:pt x="760619" y="576875"/>
                </a:lnTo>
                <a:lnTo>
                  <a:pt x="777985" y="535800"/>
                </a:lnTo>
                <a:lnTo>
                  <a:pt x="790762" y="492541"/>
                </a:lnTo>
                <a:lnTo>
                  <a:pt x="798648" y="447398"/>
                </a:lnTo>
                <a:lnTo>
                  <a:pt x="801344" y="400672"/>
                </a:lnTo>
                <a:lnTo>
                  <a:pt x="798648" y="353945"/>
                </a:lnTo>
                <a:lnTo>
                  <a:pt x="790762" y="308801"/>
                </a:lnTo>
                <a:lnTo>
                  <a:pt x="777985" y="265542"/>
                </a:lnTo>
                <a:lnTo>
                  <a:pt x="760619" y="224466"/>
                </a:lnTo>
                <a:lnTo>
                  <a:pt x="738964" y="185876"/>
                </a:lnTo>
                <a:lnTo>
                  <a:pt x="713321" y="150072"/>
                </a:lnTo>
                <a:lnTo>
                  <a:pt x="683990" y="117354"/>
                </a:lnTo>
                <a:lnTo>
                  <a:pt x="651272" y="88023"/>
                </a:lnTo>
                <a:lnTo>
                  <a:pt x="615467" y="62379"/>
                </a:lnTo>
                <a:lnTo>
                  <a:pt x="576877" y="40724"/>
                </a:lnTo>
                <a:lnTo>
                  <a:pt x="535802" y="23358"/>
                </a:lnTo>
                <a:lnTo>
                  <a:pt x="492542" y="10582"/>
                </a:lnTo>
                <a:lnTo>
                  <a:pt x="447399" y="2695"/>
                </a:lnTo>
                <a:lnTo>
                  <a:pt x="400672" y="0"/>
                </a:lnTo>
                <a:close/>
              </a:path>
            </a:pathLst>
          </a:custGeom>
          <a:solidFill>
            <a:srgbClr val="9D62E2">
              <a:alpha val="23999"/>
            </a:srgbClr>
          </a:solidFill>
        </p:spPr>
        <p:txBody>
          <a:bodyPr wrap="square" lIns="0" tIns="0" rIns="0" bIns="0" rtlCol="0"/>
          <a:lstStyle/>
          <a:p>
            <a:endParaRPr/>
          </a:p>
        </p:txBody>
      </p:sp>
      <p:sp>
        <p:nvSpPr>
          <p:cNvPr id="32" name="object 14">
            <a:extLst>
              <a:ext uri="{FF2B5EF4-FFF2-40B4-BE49-F238E27FC236}">
                <a16:creationId xmlns:a16="http://schemas.microsoft.com/office/drawing/2014/main" id="{323976F1-F0C5-8B3E-79EC-251D18A92F44}"/>
              </a:ext>
            </a:extLst>
          </p:cNvPr>
          <p:cNvSpPr/>
          <p:nvPr userDrawn="1"/>
        </p:nvSpPr>
        <p:spPr>
          <a:xfrm>
            <a:off x="5464115" y="1757951"/>
            <a:ext cx="461393" cy="461393"/>
          </a:xfrm>
          <a:custGeom>
            <a:avLst/>
            <a:gdLst/>
            <a:ahLst/>
            <a:cxnLst/>
            <a:rect l="l" t="t" r="r" b="b"/>
            <a:pathLst>
              <a:path w="801369" h="801370">
                <a:moveTo>
                  <a:pt x="400672" y="0"/>
                </a:moveTo>
                <a:lnTo>
                  <a:pt x="353945" y="2695"/>
                </a:lnTo>
                <a:lnTo>
                  <a:pt x="308801" y="10582"/>
                </a:lnTo>
                <a:lnTo>
                  <a:pt x="265542" y="23358"/>
                </a:lnTo>
                <a:lnTo>
                  <a:pt x="224466" y="40724"/>
                </a:lnTo>
                <a:lnTo>
                  <a:pt x="185876" y="62379"/>
                </a:lnTo>
                <a:lnTo>
                  <a:pt x="150072" y="88023"/>
                </a:lnTo>
                <a:lnTo>
                  <a:pt x="117354" y="117354"/>
                </a:lnTo>
                <a:lnTo>
                  <a:pt x="88023" y="150072"/>
                </a:lnTo>
                <a:lnTo>
                  <a:pt x="62379" y="185876"/>
                </a:lnTo>
                <a:lnTo>
                  <a:pt x="40724" y="224466"/>
                </a:lnTo>
                <a:lnTo>
                  <a:pt x="23358" y="265542"/>
                </a:lnTo>
                <a:lnTo>
                  <a:pt x="10582" y="308801"/>
                </a:lnTo>
                <a:lnTo>
                  <a:pt x="2695" y="353945"/>
                </a:lnTo>
                <a:lnTo>
                  <a:pt x="0" y="400672"/>
                </a:lnTo>
                <a:lnTo>
                  <a:pt x="2695" y="447398"/>
                </a:lnTo>
                <a:lnTo>
                  <a:pt x="10582" y="492541"/>
                </a:lnTo>
                <a:lnTo>
                  <a:pt x="23358" y="535800"/>
                </a:lnTo>
                <a:lnTo>
                  <a:pt x="40724" y="576875"/>
                </a:lnTo>
                <a:lnTo>
                  <a:pt x="62379" y="615464"/>
                </a:lnTo>
                <a:lnTo>
                  <a:pt x="88023" y="651267"/>
                </a:lnTo>
                <a:lnTo>
                  <a:pt x="117354" y="683983"/>
                </a:lnTo>
                <a:lnTo>
                  <a:pt x="150072" y="713313"/>
                </a:lnTo>
                <a:lnTo>
                  <a:pt x="185876" y="738955"/>
                </a:lnTo>
                <a:lnTo>
                  <a:pt x="224466" y="760609"/>
                </a:lnTo>
                <a:lnTo>
                  <a:pt x="265542" y="777974"/>
                </a:lnTo>
                <a:lnTo>
                  <a:pt x="308801" y="790750"/>
                </a:lnTo>
                <a:lnTo>
                  <a:pt x="353945" y="798636"/>
                </a:lnTo>
                <a:lnTo>
                  <a:pt x="400672" y="801331"/>
                </a:lnTo>
                <a:lnTo>
                  <a:pt x="447399" y="798636"/>
                </a:lnTo>
                <a:lnTo>
                  <a:pt x="492542" y="790750"/>
                </a:lnTo>
                <a:lnTo>
                  <a:pt x="535802" y="777974"/>
                </a:lnTo>
                <a:lnTo>
                  <a:pt x="576877" y="760609"/>
                </a:lnTo>
                <a:lnTo>
                  <a:pt x="615467" y="738955"/>
                </a:lnTo>
                <a:lnTo>
                  <a:pt x="651272" y="713313"/>
                </a:lnTo>
                <a:lnTo>
                  <a:pt x="683990" y="683983"/>
                </a:lnTo>
                <a:lnTo>
                  <a:pt x="713321" y="651267"/>
                </a:lnTo>
                <a:lnTo>
                  <a:pt x="738964" y="615464"/>
                </a:lnTo>
                <a:lnTo>
                  <a:pt x="760619" y="576875"/>
                </a:lnTo>
                <a:lnTo>
                  <a:pt x="777985" y="535800"/>
                </a:lnTo>
                <a:lnTo>
                  <a:pt x="790762" y="492541"/>
                </a:lnTo>
                <a:lnTo>
                  <a:pt x="798648" y="447398"/>
                </a:lnTo>
                <a:lnTo>
                  <a:pt x="801344" y="400672"/>
                </a:lnTo>
                <a:lnTo>
                  <a:pt x="798648" y="353945"/>
                </a:lnTo>
                <a:lnTo>
                  <a:pt x="790762" y="308801"/>
                </a:lnTo>
                <a:lnTo>
                  <a:pt x="777985" y="265542"/>
                </a:lnTo>
                <a:lnTo>
                  <a:pt x="760619" y="224466"/>
                </a:lnTo>
                <a:lnTo>
                  <a:pt x="738964" y="185876"/>
                </a:lnTo>
                <a:lnTo>
                  <a:pt x="713321" y="150072"/>
                </a:lnTo>
                <a:lnTo>
                  <a:pt x="683990" y="117354"/>
                </a:lnTo>
                <a:lnTo>
                  <a:pt x="651272" y="88023"/>
                </a:lnTo>
                <a:lnTo>
                  <a:pt x="615467" y="62379"/>
                </a:lnTo>
                <a:lnTo>
                  <a:pt x="576877" y="40724"/>
                </a:lnTo>
                <a:lnTo>
                  <a:pt x="535802" y="23358"/>
                </a:lnTo>
                <a:lnTo>
                  <a:pt x="492542" y="10582"/>
                </a:lnTo>
                <a:lnTo>
                  <a:pt x="447399" y="2695"/>
                </a:lnTo>
                <a:lnTo>
                  <a:pt x="400672" y="0"/>
                </a:lnTo>
                <a:close/>
              </a:path>
            </a:pathLst>
          </a:custGeom>
          <a:solidFill>
            <a:srgbClr val="9D62E2">
              <a:alpha val="23999"/>
            </a:srgbClr>
          </a:solidFill>
        </p:spPr>
        <p:txBody>
          <a:bodyPr wrap="square" lIns="0" tIns="0" rIns="0" bIns="0" rtlCol="0"/>
          <a:lstStyle/>
          <a:p>
            <a:endParaRPr/>
          </a:p>
        </p:txBody>
      </p:sp>
      <p:sp>
        <p:nvSpPr>
          <p:cNvPr id="40" name="object 14">
            <a:extLst>
              <a:ext uri="{FF2B5EF4-FFF2-40B4-BE49-F238E27FC236}">
                <a16:creationId xmlns:a16="http://schemas.microsoft.com/office/drawing/2014/main" id="{85B9E685-8F26-653C-637B-4560BD554CAC}"/>
              </a:ext>
            </a:extLst>
          </p:cNvPr>
          <p:cNvSpPr/>
          <p:nvPr userDrawn="1"/>
        </p:nvSpPr>
        <p:spPr>
          <a:xfrm>
            <a:off x="11179577" y="5951053"/>
            <a:ext cx="726683" cy="726683"/>
          </a:xfrm>
          <a:custGeom>
            <a:avLst/>
            <a:gdLst/>
            <a:ahLst/>
            <a:cxnLst/>
            <a:rect l="l" t="t" r="r" b="b"/>
            <a:pathLst>
              <a:path w="801369" h="801370">
                <a:moveTo>
                  <a:pt x="400672" y="0"/>
                </a:moveTo>
                <a:lnTo>
                  <a:pt x="353945" y="2695"/>
                </a:lnTo>
                <a:lnTo>
                  <a:pt x="308801" y="10582"/>
                </a:lnTo>
                <a:lnTo>
                  <a:pt x="265542" y="23358"/>
                </a:lnTo>
                <a:lnTo>
                  <a:pt x="224466" y="40724"/>
                </a:lnTo>
                <a:lnTo>
                  <a:pt x="185876" y="62379"/>
                </a:lnTo>
                <a:lnTo>
                  <a:pt x="150072" y="88023"/>
                </a:lnTo>
                <a:lnTo>
                  <a:pt x="117354" y="117354"/>
                </a:lnTo>
                <a:lnTo>
                  <a:pt x="88023" y="150072"/>
                </a:lnTo>
                <a:lnTo>
                  <a:pt x="62379" y="185876"/>
                </a:lnTo>
                <a:lnTo>
                  <a:pt x="40724" y="224466"/>
                </a:lnTo>
                <a:lnTo>
                  <a:pt x="23358" y="265542"/>
                </a:lnTo>
                <a:lnTo>
                  <a:pt x="10582" y="308801"/>
                </a:lnTo>
                <a:lnTo>
                  <a:pt x="2695" y="353945"/>
                </a:lnTo>
                <a:lnTo>
                  <a:pt x="0" y="400672"/>
                </a:lnTo>
                <a:lnTo>
                  <a:pt x="2695" y="447398"/>
                </a:lnTo>
                <a:lnTo>
                  <a:pt x="10582" y="492541"/>
                </a:lnTo>
                <a:lnTo>
                  <a:pt x="23358" y="535800"/>
                </a:lnTo>
                <a:lnTo>
                  <a:pt x="40724" y="576875"/>
                </a:lnTo>
                <a:lnTo>
                  <a:pt x="62379" y="615464"/>
                </a:lnTo>
                <a:lnTo>
                  <a:pt x="88023" y="651267"/>
                </a:lnTo>
                <a:lnTo>
                  <a:pt x="117354" y="683983"/>
                </a:lnTo>
                <a:lnTo>
                  <a:pt x="150072" y="713313"/>
                </a:lnTo>
                <a:lnTo>
                  <a:pt x="185876" y="738955"/>
                </a:lnTo>
                <a:lnTo>
                  <a:pt x="224466" y="760609"/>
                </a:lnTo>
                <a:lnTo>
                  <a:pt x="265542" y="777974"/>
                </a:lnTo>
                <a:lnTo>
                  <a:pt x="308801" y="790750"/>
                </a:lnTo>
                <a:lnTo>
                  <a:pt x="353945" y="798636"/>
                </a:lnTo>
                <a:lnTo>
                  <a:pt x="400672" y="801331"/>
                </a:lnTo>
                <a:lnTo>
                  <a:pt x="447399" y="798636"/>
                </a:lnTo>
                <a:lnTo>
                  <a:pt x="492542" y="790750"/>
                </a:lnTo>
                <a:lnTo>
                  <a:pt x="535802" y="777974"/>
                </a:lnTo>
                <a:lnTo>
                  <a:pt x="576877" y="760609"/>
                </a:lnTo>
                <a:lnTo>
                  <a:pt x="615467" y="738955"/>
                </a:lnTo>
                <a:lnTo>
                  <a:pt x="651272" y="713313"/>
                </a:lnTo>
                <a:lnTo>
                  <a:pt x="683990" y="683983"/>
                </a:lnTo>
                <a:lnTo>
                  <a:pt x="713321" y="651267"/>
                </a:lnTo>
                <a:lnTo>
                  <a:pt x="738964" y="615464"/>
                </a:lnTo>
                <a:lnTo>
                  <a:pt x="760619" y="576875"/>
                </a:lnTo>
                <a:lnTo>
                  <a:pt x="777985" y="535800"/>
                </a:lnTo>
                <a:lnTo>
                  <a:pt x="790762" y="492541"/>
                </a:lnTo>
                <a:lnTo>
                  <a:pt x="798648" y="447398"/>
                </a:lnTo>
                <a:lnTo>
                  <a:pt x="801344" y="400672"/>
                </a:lnTo>
                <a:lnTo>
                  <a:pt x="798648" y="353945"/>
                </a:lnTo>
                <a:lnTo>
                  <a:pt x="790762" y="308801"/>
                </a:lnTo>
                <a:lnTo>
                  <a:pt x="777985" y="265542"/>
                </a:lnTo>
                <a:lnTo>
                  <a:pt x="760619" y="224466"/>
                </a:lnTo>
                <a:lnTo>
                  <a:pt x="738964" y="185876"/>
                </a:lnTo>
                <a:lnTo>
                  <a:pt x="713321" y="150072"/>
                </a:lnTo>
                <a:lnTo>
                  <a:pt x="683990" y="117354"/>
                </a:lnTo>
                <a:lnTo>
                  <a:pt x="651272" y="88023"/>
                </a:lnTo>
                <a:lnTo>
                  <a:pt x="615467" y="62379"/>
                </a:lnTo>
                <a:lnTo>
                  <a:pt x="576877" y="40724"/>
                </a:lnTo>
                <a:lnTo>
                  <a:pt x="535802" y="23358"/>
                </a:lnTo>
                <a:lnTo>
                  <a:pt x="492542" y="10582"/>
                </a:lnTo>
                <a:lnTo>
                  <a:pt x="447399" y="2695"/>
                </a:lnTo>
                <a:lnTo>
                  <a:pt x="400672" y="0"/>
                </a:lnTo>
                <a:close/>
              </a:path>
            </a:pathLst>
          </a:custGeom>
          <a:solidFill>
            <a:srgbClr val="9D62E2">
              <a:alpha val="23999"/>
            </a:srgbClr>
          </a:solidFill>
        </p:spPr>
        <p:txBody>
          <a:bodyPr wrap="square" lIns="0" tIns="0" rIns="0" bIns="0" rtlCol="0"/>
          <a:lstStyle/>
          <a:p>
            <a:endParaRPr/>
          </a:p>
        </p:txBody>
      </p:sp>
      <p:sp>
        <p:nvSpPr>
          <p:cNvPr id="2" name="Picture Placeholder 2">
            <a:extLst>
              <a:ext uri="{FF2B5EF4-FFF2-40B4-BE49-F238E27FC236}">
                <a16:creationId xmlns:a16="http://schemas.microsoft.com/office/drawing/2014/main" id="{0DD70F8A-7EFD-5D5B-1E28-80954C36380C}"/>
              </a:ext>
            </a:extLst>
          </p:cNvPr>
          <p:cNvSpPr>
            <a:spLocks noGrp="1"/>
          </p:cNvSpPr>
          <p:nvPr>
            <p:ph type="pic" idx="15"/>
          </p:nvPr>
        </p:nvSpPr>
        <p:spPr>
          <a:xfrm>
            <a:off x="-675252" y="3608859"/>
            <a:ext cx="2541584" cy="2507461"/>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GB" dirty="0"/>
          </a:p>
        </p:txBody>
      </p:sp>
      <p:sp>
        <p:nvSpPr>
          <p:cNvPr id="3" name="Picture Placeholder 2">
            <a:extLst>
              <a:ext uri="{FF2B5EF4-FFF2-40B4-BE49-F238E27FC236}">
                <a16:creationId xmlns:a16="http://schemas.microsoft.com/office/drawing/2014/main" id="{FA716E89-11E9-0EE9-B918-701C3474FC65}"/>
              </a:ext>
            </a:extLst>
          </p:cNvPr>
          <p:cNvSpPr>
            <a:spLocks noGrp="1"/>
          </p:cNvSpPr>
          <p:nvPr>
            <p:ph type="pic" idx="16"/>
          </p:nvPr>
        </p:nvSpPr>
        <p:spPr>
          <a:xfrm>
            <a:off x="397941" y="157862"/>
            <a:ext cx="3133347" cy="3091279"/>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GB" dirty="0"/>
          </a:p>
        </p:txBody>
      </p:sp>
      <p:sp>
        <p:nvSpPr>
          <p:cNvPr id="4" name="Picture Placeholder 2">
            <a:extLst>
              <a:ext uri="{FF2B5EF4-FFF2-40B4-BE49-F238E27FC236}">
                <a16:creationId xmlns:a16="http://schemas.microsoft.com/office/drawing/2014/main" id="{AE0D997F-9BA9-D907-D51C-98EE52536447}"/>
              </a:ext>
            </a:extLst>
          </p:cNvPr>
          <p:cNvSpPr>
            <a:spLocks noGrp="1"/>
          </p:cNvSpPr>
          <p:nvPr>
            <p:ph type="pic" idx="17"/>
          </p:nvPr>
        </p:nvSpPr>
        <p:spPr>
          <a:xfrm>
            <a:off x="7165783" y="337721"/>
            <a:ext cx="3133347" cy="3091279"/>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GB" dirty="0"/>
          </a:p>
        </p:txBody>
      </p:sp>
      <p:sp>
        <p:nvSpPr>
          <p:cNvPr id="8" name="Picture Placeholder 2">
            <a:extLst>
              <a:ext uri="{FF2B5EF4-FFF2-40B4-BE49-F238E27FC236}">
                <a16:creationId xmlns:a16="http://schemas.microsoft.com/office/drawing/2014/main" id="{06699D40-1F2D-3294-96EC-2A152766E695}"/>
              </a:ext>
            </a:extLst>
          </p:cNvPr>
          <p:cNvSpPr>
            <a:spLocks noGrp="1"/>
          </p:cNvSpPr>
          <p:nvPr>
            <p:ph type="pic" idx="18"/>
          </p:nvPr>
        </p:nvSpPr>
        <p:spPr>
          <a:xfrm>
            <a:off x="2610263" y="2722475"/>
            <a:ext cx="4695781" cy="4632736"/>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GB" dirty="0"/>
          </a:p>
        </p:txBody>
      </p:sp>
    </p:spTree>
    <p:extLst>
      <p:ext uri="{BB962C8B-B14F-4D97-AF65-F5344CB8AC3E}">
        <p14:creationId xmlns:p14="http://schemas.microsoft.com/office/powerpoint/2010/main" val="12584313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Resources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E88070B-C0E0-2DFA-FBCE-FF205B25449F}"/>
              </a:ext>
            </a:extLst>
          </p:cNvPr>
          <p:cNvSpPr/>
          <p:nvPr userDrawn="1"/>
        </p:nvSpPr>
        <p:spPr>
          <a:xfrm>
            <a:off x="0" y="0"/>
            <a:ext cx="12192000" cy="561109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Content Placeholder 2">
            <a:extLst>
              <a:ext uri="{FF2B5EF4-FFF2-40B4-BE49-F238E27FC236}">
                <a16:creationId xmlns:a16="http://schemas.microsoft.com/office/drawing/2014/main" id="{3B92D793-C5B9-290F-8A51-998397F1596E}"/>
              </a:ext>
            </a:extLst>
          </p:cNvPr>
          <p:cNvSpPr>
            <a:spLocks noGrp="1"/>
          </p:cNvSpPr>
          <p:nvPr>
            <p:ph idx="10"/>
          </p:nvPr>
        </p:nvSpPr>
        <p:spPr>
          <a:xfrm>
            <a:off x="711200" y="1606551"/>
            <a:ext cx="5201227" cy="3732068"/>
          </a:xfrm>
          <a:prstGeom prst="rect">
            <a:avLst/>
          </a:prstGeom>
        </p:spPr>
        <p:txBody>
          <a:bodyPr>
            <a:normAutofit/>
          </a:bodyPr>
          <a:lstStyle>
            <a:lvl1pPr>
              <a:defRPr sz="2400">
                <a:solidFill>
                  <a:schemeClr val="bg1"/>
                </a:solidFill>
              </a:defRPr>
            </a:lvl1pPr>
            <a:lvl2pPr marL="180000" indent="-176213">
              <a:buClr>
                <a:schemeClr val="bg2"/>
              </a:buClr>
              <a:buFont typeface="Arial" panose="020B0604020202020204" pitchFamily="34" charset="0"/>
              <a:buChar char="•"/>
              <a:defRPr sz="1600">
                <a:solidFill>
                  <a:schemeClr val="bg1"/>
                </a:solidFill>
              </a:defRPr>
            </a:lvl2pPr>
            <a:lvl3pPr marL="360000" indent="-176213">
              <a:buClr>
                <a:schemeClr val="bg2"/>
              </a:buClr>
              <a:buFont typeface="System Font Regular"/>
              <a:buChar char="-"/>
              <a:defRPr sz="1600">
                <a:solidFill>
                  <a:schemeClr val="bg1"/>
                </a:solidFill>
              </a:defRPr>
            </a:lvl3pPr>
            <a:lvl4pPr marL="540000" indent="-176213">
              <a:buClr>
                <a:schemeClr val="bg2"/>
              </a:buClr>
              <a:buFont typeface="Arial" panose="020B0604020202020204" pitchFamily="34" charset="0"/>
              <a:buChar char="•"/>
              <a:defRPr sz="1600">
                <a:solidFill>
                  <a:schemeClr val="bg1"/>
                </a:solidFill>
              </a:defRPr>
            </a:lvl4pPr>
            <a:lvl5pPr marL="720000" indent="-176213">
              <a:buClr>
                <a:schemeClr val="bg2"/>
              </a:buClr>
              <a:buFont typeface="System Font Regular"/>
              <a:buChar char="-"/>
              <a:defRPr sz="1600">
                <a:solidFill>
                  <a:schemeClr val="bg1"/>
                </a:solidFill>
              </a:defRPr>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1" name="Rectangle 10">
            <a:extLst>
              <a:ext uri="{FF2B5EF4-FFF2-40B4-BE49-F238E27FC236}">
                <a16:creationId xmlns:a16="http://schemas.microsoft.com/office/drawing/2014/main" id="{44D02AAC-2E9A-297E-5FBA-6A1DB2DEBD44}"/>
              </a:ext>
            </a:extLst>
          </p:cNvPr>
          <p:cNvSpPr/>
          <p:nvPr userDrawn="1"/>
        </p:nvSpPr>
        <p:spPr>
          <a:xfrm>
            <a:off x="0" y="5611091"/>
            <a:ext cx="12192000" cy="124142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Icon&#10;&#10;Description automatically generated">
            <a:extLst>
              <a:ext uri="{FF2B5EF4-FFF2-40B4-BE49-F238E27FC236}">
                <a16:creationId xmlns:a16="http://schemas.microsoft.com/office/drawing/2014/main" id="{20E7A881-0BBB-45B8-4AF2-117BF87335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6192" y="365125"/>
            <a:ext cx="729786" cy="791002"/>
          </a:xfrm>
          <a:prstGeom prst="rect">
            <a:avLst/>
          </a:prstGeom>
        </p:spPr>
      </p:pic>
      <p:sp>
        <p:nvSpPr>
          <p:cNvPr id="4" name="Title 3">
            <a:extLst>
              <a:ext uri="{FF2B5EF4-FFF2-40B4-BE49-F238E27FC236}">
                <a16:creationId xmlns:a16="http://schemas.microsoft.com/office/drawing/2014/main" id="{2719D4C6-1C25-B2AF-91D9-FF7F9035E7B3}"/>
              </a:ext>
            </a:extLst>
          </p:cNvPr>
          <p:cNvSpPr>
            <a:spLocks noGrp="1"/>
          </p:cNvSpPr>
          <p:nvPr>
            <p:ph type="title" hasCustomPrompt="1"/>
          </p:nvPr>
        </p:nvSpPr>
        <p:spPr>
          <a:xfrm>
            <a:off x="708297" y="430440"/>
            <a:ext cx="10819673" cy="1039132"/>
          </a:xfrm>
        </p:spPr>
        <p:txBody>
          <a:bodyPr/>
          <a:lstStyle/>
          <a:p>
            <a:r>
              <a:rPr lang="en-GB" dirty="0"/>
              <a:t>Resources slide</a:t>
            </a:r>
          </a:p>
        </p:txBody>
      </p:sp>
      <p:sp>
        <p:nvSpPr>
          <p:cNvPr id="7" name="Content Placeholder 6">
            <a:extLst>
              <a:ext uri="{FF2B5EF4-FFF2-40B4-BE49-F238E27FC236}">
                <a16:creationId xmlns:a16="http://schemas.microsoft.com/office/drawing/2014/main" id="{9F89E646-3B5B-1D2E-C5EA-A57DCB1769C2}"/>
              </a:ext>
            </a:extLst>
          </p:cNvPr>
          <p:cNvSpPr>
            <a:spLocks noGrp="1"/>
          </p:cNvSpPr>
          <p:nvPr>
            <p:ph sz="quarter" idx="11" hasCustomPrompt="1"/>
          </p:nvPr>
        </p:nvSpPr>
        <p:spPr>
          <a:xfrm>
            <a:off x="739775" y="5845175"/>
            <a:ext cx="10820854" cy="665163"/>
          </a:xfrm>
          <a:prstGeom prst="rect">
            <a:avLst/>
          </a:prstGeom>
        </p:spPr>
        <p:txBody>
          <a:bodyPr/>
          <a:lstStyle>
            <a:lvl1pPr algn="ctr">
              <a:defRPr>
                <a:solidFill>
                  <a:schemeClr val="accent5">
                    <a:lumMod val="60000"/>
                    <a:lumOff val="40000"/>
                  </a:schemeClr>
                </a:solidFill>
              </a:defRPr>
            </a:lvl1pPr>
          </a:lstStyle>
          <a:p>
            <a:pPr lvl="0"/>
            <a:r>
              <a:rPr lang="en-GB" dirty="0"/>
              <a:t>Please add your logos here</a:t>
            </a:r>
          </a:p>
        </p:txBody>
      </p:sp>
      <p:sp>
        <p:nvSpPr>
          <p:cNvPr id="2" name="Content Placeholder 2">
            <a:extLst>
              <a:ext uri="{FF2B5EF4-FFF2-40B4-BE49-F238E27FC236}">
                <a16:creationId xmlns:a16="http://schemas.microsoft.com/office/drawing/2014/main" id="{33C8DD06-2D99-DAD9-0309-30004B9AC860}"/>
              </a:ext>
            </a:extLst>
          </p:cNvPr>
          <p:cNvSpPr>
            <a:spLocks noGrp="1"/>
          </p:cNvSpPr>
          <p:nvPr>
            <p:ph idx="12"/>
          </p:nvPr>
        </p:nvSpPr>
        <p:spPr>
          <a:xfrm>
            <a:off x="6320183" y="1619803"/>
            <a:ext cx="5201227" cy="3732068"/>
          </a:xfrm>
          <a:prstGeom prst="rect">
            <a:avLst/>
          </a:prstGeom>
        </p:spPr>
        <p:txBody>
          <a:bodyPr>
            <a:normAutofit/>
          </a:bodyPr>
          <a:lstStyle>
            <a:lvl1pPr>
              <a:defRPr sz="2400">
                <a:solidFill>
                  <a:schemeClr val="bg1"/>
                </a:solidFill>
              </a:defRPr>
            </a:lvl1pPr>
            <a:lvl2pPr marL="180000" indent="-176213">
              <a:buClr>
                <a:schemeClr val="accent1"/>
              </a:buClr>
              <a:buFont typeface="Arial" panose="020B0604020202020204" pitchFamily="34" charset="0"/>
              <a:buChar char="•"/>
              <a:defRPr sz="1600">
                <a:solidFill>
                  <a:schemeClr val="bg1"/>
                </a:solidFill>
              </a:defRPr>
            </a:lvl2pPr>
            <a:lvl3pPr marL="360000" indent="-176213">
              <a:buClr>
                <a:schemeClr val="accent1"/>
              </a:buClr>
              <a:buFont typeface="System Font Regular"/>
              <a:buChar char="-"/>
              <a:defRPr sz="1600">
                <a:solidFill>
                  <a:schemeClr val="bg1"/>
                </a:solidFill>
              </a:defRPr>
            </a:lvl3pPr>
            <a:lvl4pPr marL="540000" indent="-176213">
              <a:buClr>
                <a:schemeClr val="accent1"/>
              </a:buClr>
              <a:buFont typeface="Arial" panose="020B0604020202020204" pitchFamily="34" charset="0"/>
              <a:buChar char="•"/>
              <a:defRPr sz="1600">
                <a:solidFill>
                  <a:schemeClr val="bg1"/>
                </a:solidFill>
              </a:defRPr>
            </a:lvl4pPr>
            <a:lvl5pPr marL="720000" indent="-176213">
              <a:buClr>
                <a:schemeClr val="accent1"/>
              </a:buClr>
              <a:buFont typeface="System Font Regular"/>
              <a:buChar char="-"/>
              <a:defRPr sz="1600">
                <a:solidFill>
                  <a:schemeClr val="bg1"/>
                </a:solidFill>
              </a:defRPr>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550334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n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2953E05-4FEC-729D-CA30-2C2C9BA4EE9C}"/>
              </a:ext>
            </a:extLst>
          </p:cNvPr>
          <p:cNvSpPr/>
          <p:nvPr userDrawn="1"/>
        </p:nvSpPr>
        <p:spPr>
          <a:xfrm>
            <a:off x="10558914" y="5736657"/>
            <a:ext cx="837398" cy="837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9695745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Slide">
    <p:spTree>
      <p:nvGrpSpPr>
        <p:cNvPr id="1" name=""/>
        <p:cNvGrpSpPr/>
        <p:nvPr/>
      </p:nvGrpSpPr>
      <p:grpSpPr>
        <a:xfrm>
          <a:off x="0" y="0"/>
          <a:ext cx="0" cy="0"/>
          <a:chOff x="0" y="0"/>
          <a:chExt cx="0" cy="0"/>
        </a:xfrm>
      </p:grpSpPr>
      <p:sp>
        <p:nvSpPr>
          <p:cNvPr id="4" name="object 2">
            <a:extLst>
              <a:ext uri="{FF2B5EF4-FFF2-40B4-BE49-F238E27FC236}">
                <a16:creationId xmlns:a16="http://schemas.microsoft.com/office/drawing/2014/main" id="{3EBB3160-CA27-C8B6-D23F-CD3FF6DEF018}"/>
              </a:ext>
            </a:extLst>
          </p:cNvPr>
          <p:cNvSpPr/>
          <p:nvPr userDrawn="1"/>
        </p:nvSpPr>
        <p:spPr>
          <a:xfrm>
            <a:off x="0" y="2304"/>
            <a:ext cx="12192000" cy="6855696"/>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rgbClr val="0E5C77"/>
          </a:solidFill>
        </p:spPr>
        <p:txBody>
          <a:bodyPr wrap="square" lIns="0" tIns="0" rIns="0" bIns="0" rtlCol="0"/>
          <a:lstStyle/>
          <a:p>
            <a:endParaRPr/>
          </a:p>
        </p:txBody>
      </p:sp>
      <p:grpSp>
        <p:nvGrpSpPr>
          <p:cNvPr id="6" name="object 41">
            <a:extLst>
              <a:ext uri="{FF2B5EF4-FFF2-40B4-BE49-F238E27FC236}">
                <a16:creationId xmlns:a16="http://schemas.microsoft.com/office/drawing/2014/main" id="{1F265747-21F4-F8D5-7000-0C7551B15B3B}"/>
              </a:ext>
            </a:extLst>
          </p:cNvPr>
          <p:cNvGrpSpPr/>
          <p:nvPr userDrawn="1"/>
        </p:nvGrpSpPr>
        <p:grpSpPr>
          <a:xfrm>
            <a:off x="10681097" y="5820975"/>
            <a:ext cx="651156" cy="708550"/>
            <a:chOff x="5598848" y="1620229"/>
            <a:chExt cx="2190115" cy="2383155"/>
          </a:xfrm>
        </p:grpSpPr>
        <p:pic>
          <p:nvPicPr>
            <p:cNvPr id="7" name="object 42">
              <a:extLst>
                <a:ext uri="{FF2B5EF4-FFF2-40B4-BE49-F238E27FC236}">
                  <a16:creationId xmlns:a16="http://schemas.microsoft.com/office/drawing/2014/main" id="{E1D2DE1E-9BDB-B3F5-F4EF-84B8C6E76140}"/>
                </a:ext>
              </a:extLst>
            </p:cNvPr>
            <p:cNvPicPr/>
            <p:nvPr/>
          </p:nvPicPr>
          <p:blipFill>
            <a:blip r:embed="rId2" cstate="print"/>
            <a:stretch>
              <a:fillRect/>
            </a:stretch>
          </p:blipFill>
          <p:spPr>
            <a:xfrm>
              <a:off x="7161630" y="1899091"/>
              <a:ext cx="113817" cy="115671"/>
            </a:xfrm>
            <a:prstGeom prst="rect">
              <a:avLst/>
            </a:prstGeom>
          </p:spPr>
        </p:pic>
        <p:pic>
          <p:nvPicPr>
            <p:cNvPr id="8" name="object 43">
              <a:extLst>
                <a:ext uri="{FF2B5EF4-FFF2-40B4-BE49-F238E27FC236}">
                  <a16:creationId xmlns:a16="http://schemas.microsoft.com/office/drawing/2014/main" id="{5D372F6C-7566-B498-043D-AF7E960D8B59}"/>
                </a:ext>
              </a:extLst>
            </p:cNvPr>
            <p:cNvPicPr/>
            <p:nvPr/>
          </p:nvPicPr>
          <p:blipFill>
            <a:blip r:embed="rId3" cstate="print"/>
            <a:stretch>
              <a:fillRect/>
            </a:stretch>
          </p:blipFill>
          <p:spPr>
            <a:xfrm>
              <a:off x="5598848" y="1620229"/>
              <a:ext cx="2189904" cy="2382902"/>
            </a:xfrm>
            <a:prstGeom prst="rect">
              <a:avLst/>
            </a:prstGeom>
          </p:spPr>
        </p:pic>
        <p:pic>
          <p:nvPicPr>
            <p:cNvPr id="9" name="object 44">
              <a:extLst>
                <a:ext uri="{FF2B5EF4-FFF2-40B4-BE49-F238E27FC236}">
                  <a16:creationId xmlns:a16="http://schemas.microsoft.com/office/drawing/2014/main" id="{1E0FB701-E23F-08F2-0FF8-429E562EFBA0}"/>
                </a:ext>
              </a:extLst>
            </p:cNvPr>
            <p:cNvPicPr/>
            <p:nvPr/>
          </p:nvPicPr>
          <p:blipFill>
            <a:blip r:embed="rId4" cstate="print"/>
            <a:stretch>
              <a:fillRect/>
            </a:stretch>
          </p:blipFill>
          <p:spPr>
            <a:xfrm>
              <a:off x="6871611" y="1669224"/>
              <a:ext cx="175945" cy="178803"/>
            </a:xfrm>
            <a:prstGeom prst="rect">
              <a:avLst/>
            </a:prstGeom>
          </p:spPr>
        </p:pic>
      </p:grpSp>
      <p:sp>
        <p:nvSpPr>
          <p:cNvPr id="10" name="bg object 22">
            <a:extLst>
              <a:ext uri="{FF2B5EF4-FFF2-40B4-BE49-F238E27FC236}">
                <a16:creationId xmlns:a16="http://schemas.microsoft.com/office/drawing/2014/main" id="{E49E1922-67A9-AF82-FCD4-D491460A739C}"/>
              </a:ext>
            </a:extLst>
          </p:cNvPr>
          <p:cNvSpPr/>
          <p:nvPr userDrawn="1"/>
        </p:nvSpPr>
        <p:spPr>
          <a:xfrm>
            <a:off x="7798070" y="0"/>
            <a:ext cx="4398117" cy="4355492"/>
          </a:xfrm>
          <a:custGeom>
            <a:avLst/>
            <a:gdLst/>
            <a:ahLst/>
            <a:cxnLst/>
            <a:rect l="l" t="t" r="r" b="b"/>
            <a:pathLst>
              <a:path w="4842509" h="4803140">
                <a:moveTo>
                  <a:pt x="747268" y="1282877"/>
                </a:moveTo>
                <a:lnTo>
                  <a:pt x="744347" y="1235252"/>
                </a:lnTo>
                <a:lnTo>
                  <a:pt x="735850" y="1189393"/>
                </a:lnTo>
                <a:lnTo>
                  <a:pt x="722109" y="1145654"/>
                </a:lnTo>
                <a:lnTo>
                  <a:pt x="703478" y="1104379"/>
                </a:lnTo>
                <a:lnTo>
                  <a:pt x="680313" y="1065949"/>
                </a:lnTo>
                <a:lnTo>
                  <a:pt x="652957" y="1030706"/>
                </a:lnTo>
                <a:lnTo>
                  <a:pt x="621766" y="999007"/>
                </a:lnTo>
                <a:lnTo>
                  <a:pt x="587095" y="971207"/>
                </a:lnTo>
                <a:lnTo>
                  <a:pt x="549275" y="947661"/>
                </a:lnTo>
                <a:lnTo>
                  <a:pt x="508673" y="928738"/>
                </a:lnTo>
                <a:lnTo>
                  <a:pt x="465620" y="914781"/>
                </a:lnTo>
                <a:lnTo>
                  <a:pt x="420497" y="906132"/>
                </a:lnTo>
                <a:lnTo>
                  <a:pt x="373634" y="903173"/>
                </a:lnTo>
                <a:lnTo>
                  <a:pt x="326758" y="906132"/>
                </a:lnTo>
                <a:lnTo>
                  <a:pt x="281635" y="914781"/>
                </a:lnTo>
                <a:lnTo>
                  <a:pt x="238582" y="928738"/>
                </a:lnTo>
                <a:lnTo>
                  <a:pt x="197980" y="947661"/>
                </a:lnTo>
                <a:lnTo>
                  <a:pt x="160159" y="971207"/>
                </a:lnTo>
                <a:lnTo>
                  <a:pt x="125488" y="999007"/>
                </a:lnTo>
                <a:lnTo>
                  <a:pt x="94297" y="1030706"/>
                </a:lnTo>
                <a:lnTo>
                  <a:pt x="66941" y="1065949"/>
                </a:lnTo>
                <a:lnTo>
                  <a:pt x="43776" y="1104379"/>
                </a:lnTo>
                <a:lnTo>
                  <a:pt x="25146" y="1145654"/>
                </a:lnTo>
                <a:lnTo>
                  <a:pt x="11404" y="1189393"/>
                </a:lnTo>
                <a:lnTo>
                  <a:pt x="2908" y="1235252"/>
                </a:lnTo>
                <a:lnTo>
                  <a:pt x="0" y="1282877"/>
                </a:lnTo>
                <a:lnTo>
                  <a:pt x="2908" y="1330515"/>
                </a:lnTo>
                <a:lnTo>
                  <a:pt x="11404" y="1376375"/>
                </a:lnTo>
                <a:lnTo>
                  <a:pt x="25146" y="1420126"/>
                </a:lnTo>
                <a:lnTo>
                  <a:pt x="43776" y="1461389"/>
                </a:lnTo>
                <a:lnTo>
                  <a:pt x="66941" y="1499819"/>
                </a:lnTo>
                <a:lnTo>
                  <a:pt x="94297" y="1535074"/>
                </a:lnTo>
                <a:lnTo>
                  <a:pt x="125488" y="1566773"/>
                </a:lnTo>
                <a:lnTo>
                  <a:pt x="160159" y="1594573"/>
                </a:lnTo>
                <a:lnTo>
                  <a:pt x="197980" y="1618107"/>
                </a:lnTo>
                <a:lnTo>
                  <a:pt x="238582" y="1637042"/>
                </a:lnTo>
                <a:lnTo>
                  <a:pt x="281635" y="1651000"/>
                </a:lnTo>
                <a:lnTo>
                  <a:pt x="326758" y="1659636"/>
                </a:lnTo>
                <a:lnTo>
                  <a:pt x="373634" y="1662595"/>
                </a:lnTo>
                <a:lnTo>
                  <a:pt x="420497" y="1659636"/>
                </a:lnTo>
                <a:lnTo>
                  <a:pt x="465620" y="1651000"/>
                </a:lnTo>
                <a:lnTo>
                  <a:pt x="508673" y="1637042"/>
                </a:lnTo>
                <a:lnTo>
                  <a:pt x="549275" y="1618107"/>
                </a:lnTo>
                <a:lnTo>
                  <a:pt x="587095" y="1594573"/>
                </a:lnTo>
                <a:lnTo>
                  <a:pt x="621766" y="1566773"/>
                </a:lnTo>
                <a:lnTo>
                  <a:pt x="652957" y="1535074"/>
                </a:lnTo>
                <a:lnTo>
                  <a:pt x="680313" y="1499819"/>
                </a:lnTo>
                <a:lnTo>
                  <a:pt x="703478" y="1461389"/>
                </a:lnTo>
                <a:lnTo>
                  <a:pt x="722109" y="1420126"/>
                </a:lnTo>
                <a:lnTo>
                  <a:pt x="735850" y="1376375"/>
                </a:lnTo>
                <a:lnTo>
                  <a:pt x="744347" y="1330515"/>
                </a:lnTo>
                <a:lnTo>
                  <a:pt x="747268" y="1282877"/>
                </a:lnTo>
                <a:close/>
              </a:path>
              <a:path w="4842509" h="4803140">
                <a:moveTo>
                  <a:pt x="1038237" y="2266010"/>
                </a:moveTo>
                <a:lnTo>
                  <a:pt x="1033195" y="2221458"/>
                </a:lnTo>
                <a:lnTo>
                  <a:pt x="1018806" y="2180552"/>
                </a:lnTo>
                <a:lnTo>
                  <a:pt x="996238" y="2144471"/>
                </a:lnTo>
                <a:lnTo>
                  <a:pt x="966635" y="2114385"/>
                </a:lnTo>
                <a:lnTo>
                  <a:pt x="931125" y="2091448"/>
                </a:lnTo>
                <a:lnTo>
                  <a:pt x="890879" y="2076831"/>
                </a:lnTo>
                <a:lnTo>
                  <a:pt x="847039" y="2071700"/>
                </a:lnTo>
                <a:lnTo>
                  <a:pt x="803198" y="2076831"/>
                </a:lnTo>
                <a:lnTo>
                  <a:pt x="762952" y="2091448"/>
                </a:lnTo>
                <a:lnTo>
                  <a:pt x="727456" y="2114385"/>
                </a:lnTo>
                <a:lnTo>
                  <a:pt x="697852" y="2144471"/>
                </a:lnTo>
                <a:lnTo>
                  <a:pt x="675284" y="2180552"/>
                </a:lnTo>
                <a:lnTo>
                  <a:pt x="660895" y="2221458"/>
                </a:lnTo>
                <a:lnTo>
                  <a:pt x="655840" y="2266010"/>
                </a:lnTo>
                <a:lnTo>
                  <a:pt x="660895" y="2310561"/>
                </a:lnTo>
                <a:lnTo>
                  <a:pt x="675284" y="2351455"/>
                </a:lnTo>
                <a:lnTo>
                  <a:pt x="697852" y="2387536"/>
                </a:lnTo>
                <a:lnTo>
                  <a:pt x="727456" y="2417635"/>
                </a:lnTo>
                <a:lnTo>
                  <a:pt x="762952" y="2440571"/>
                </a:lnTo>
                <a:lnTo>
                  <a:pt x="803198" y="2455189"/>
                </a:lnTo>
                <a:lnTo>
                  <a:pt x="847039" y="2460320"/>
                </a:lnTo>
                <a:lnTo>
                  <a:pt x="890879" y="2455189"/>
                </a:lnTo>
                <a:lnTo>
                  <a:pt x="931125" y="2440571"/>
                </a:lnTo>
                <a:lnTo>
                  <a:pt x="966635" y="2417635"/>
                </a:lnTo>
                <a:lnTo>
                  <a:pt x="996238" y="2387536"/>
                </a:lnTo>
                <a:lnTo>
                  <a:pt x="1018806" y="2351455"/>
                </a:lnTo>
                <a:lnTo>
                  <a:pt x="1033195" y="2310561"/>
                </a:lnTo>
                <a:lnTo>
                  <a:pt x="1038237" y="2266010"/>
                </a:lnTo>
                <a:close/>
              </a:path>
              <a:path w="4842509" h="4803140">
                <a:moveTo>
                  <a:pt x="1353693" y="196011"/>
                </a:moveTo>
                <a:lnTo>
                  <a:pt x="1349044" y="149148"/>
                </a:lnTo>
                <a:lnTo>
                  <a:pt x="1335709" y="105486"/>
                </a:lnTo>
                <a:lnTo>
                  <a:pt x="1314615" y="65989"/>
                </a:lnTo>
                <a:lnTo>
                  <a:pt x="1286675" y="31572"/>
                </a:lnTo>
                <a:lnTo>
                  <a:pt x="1252804" y="3175"/>
                </a:lnTo>
                <a:lnTo>
                  <a:pt x="1247063" y="0"/>
                </a:lnTo>
                <a:lnTo>
                  <a:pt x="1002677" y="0"/>
                </a:lnTo>
                <a:lnTo>
                  <a:pt x="963053" y="31572"/>
                </a:lnTo>
                <a:lnTo>
                  <a:pt x="935113" y="65989"/>
                </a:lnTo>
                <a:lnTo>
                  <a:pt x="914019" y="105486"/>
                </a:lnTo>
                <a:lnTo>
                  <a:pt x="900684" y="149148"/>
                </a:lnTo>
                <a:lnTo>
                  <a:pt x="896035" y="196011"/>
                </a:lnTo>
                <a:lnTo>
                  <a:pt x="900684" y="242874"/>
                </a:lnTo>
                <a:lnTo>
                  <a:pt x="914019" y="286524"/>
                </a:lnTo>
                <a:lnTo>
                  <a:pt x="935113" y="326034"/>
                </a:lnTo>
                <a:lnTo>
                  <a:pt x="963053" y="360451"/>
                </a:lnTo>
                <a:lnTo>
                  <a:pt x="996924" y="388848"/>
                </a:lnTo>
                <a:lnTo>
                  <a:pt x="1035799" y="410286"/>
                </a:lnTo>
                <a:lnTo>
                  <a:pt x="1078750" y="423837"/>
                </a:lnTo>
                <a:lnTo>
                  <a:pt x="1124864" y="428561"/>
                </a:lnTo>
                <a:lnTo>
                  <a:pt x="1170978" y="423837"/>
                </a:lnTo>
                <a:lnTo>
                  <a:pt x="1213929" y="410286"/>
                </a:lnTo>
                <a:lnTo>
                  <a:pt x="1252804" y="388848"/>
                </a:lnTo>
                <a:lnTo>
                  <a:pt x="1286675" y="360451"/>
                </a:lnTo>
                <a:lnTo>
                  <a:pt x="1314615" y="326034"/>
                </a:lnTo>
                <a:lnTo>
                  <a:pt x="1335709" y="286524"/>
                </a:lnTo>
                <a:lnTo>
                  <a:pt x="1349044" y="242874"/>
                </a:lnTo>
                <a:lnTo>
                  <a:pt x="1353693" y="196011"/>
                </a:lnTo>
                <a:close/>
              </a:path>
              <a:path w="4842509" h="4803140">
                <a:moveTo>
                  <a:pt x="2336165" y="3322891"/>
                </a:moveTo>
                <a:lnTo>
                  <a:pt x="2331415" y="3275126"/>
                </a:lnTo>
                <a:lnTo>
                  <a:pt x="2317826" y="3230638"/>
                </a:lnTo>
                <a:lnTo>
                  <a:pt x="2296325" y="3190392"/>
                </a:lnTo>
                <a:lnTo>
                  <a:pt x="2267851" y="3155315"/>
                </a:lnTo>
                <a:lnTo>
                  <a:pt x="2233333" y="3126371"/>
                </a:lnTo>
                <a:lnTo>
                  <a:pt x="2193721" y="3104527"/>
                </a:lnTo>
                <a:lnTo>
                  <a:pt x="2149945" y="3090710"/>
                </a:lnTo>
                <a:lnTo>
                  <a:pt x="2102954" y="3085896"/>
                </a:lnTo>
                <a:lnTo>
                  <a:pt x="2055952" y="3090710"/>
                </a:lnTo>
                <a:lnTo>
                  <a:pt x="2012175" y="3104527"/>
                </a:lnTo>
                <a:lnTo>
                  <a:pt x="1972564" y="3126371"/>
                </a:lnTo>
                <a:lnTo>
                  <a:pt x="1938058" y="3155315"/>
                </a:lnTo>
                <a:lnTo>
                  <a:pt x="1909572" y="3190392"/>
                </a:lnTo>
                <a:lnTo>
                  <a:pt x="1888070" y="3230638"/>
                </a:lnTo>
                <a:lnTo>
                  <a:pt x="1874494" y="3275126"/>
                </a:lnTo>
                <a:lnTo>
                  <a:pt x="1869757" y="3322891"/>
                </a:lnTo>
                <a:lnTo>
                  <a:pt x="1874494" y="3370656"/>
                </a:lnTo>
                <a:lnTo>
                  <a:pt x="1888070" y="3415144"/>
                </a:lnTo>
                <a:lnTo>
                  <a:pt x="1909572" y="3455403"/>
                </a:lnTo>
                <a:lnTo>
                  <a:pt x="1938058" y="3490480"/>
                </a:lnTo>
                <a:lnTo>
                  <a:pt x="1972564" y="3519424"/>
                </a:lnTo>
                <a:lnTo>
                  <a:pt x="2012175" y="3541280"/>
                </a:lnTo>
                <a:lnTo>
                  <a:pt x="2055952" y="3555085"/>
                </a:lnTo>
                <a:lnTo>
                  <a:pt x="2102954" y="3559899"/>
                </a:lnTo>
                <a:lnTo>
                  <a:pt x="2149945" y="3555085"/>
                </a:lnTo>
                <a:lnTo>
                  <a:pt x="2193721" y="3541280"/>
                </a:lnTo>
                <a:lnTo>
                  <a:pt x="2233333" y="3519424"/>
                </a:lnTo>
                <a:lnTo>
                  <a:pt x="2267851" y="3490480"/>
                </a:lnTo>
                <a:lnTo>
                  <a:pt x="2296325" y="3455403"/>
                </a:lnTo>
                <a:lnTo>
                  <a:pt x="2317826" y="3415144"/>
                </a:lnTo>
                <a:lnTo>
                  <a:pt x="2331415" y="3370656"/>
                </a:lnTo>
                <a:lnTo>
                  <a:pt x="2336165" y="3322891"/>
                </a:lnTo>
                <a:close/>
              </a:path>
              <a:path w="4842509" h="4803140">
                <a:moveTo>
                  <a:pt x="2815031" y="1449959"/>
                </a:moveTo>
                <a:lnTo>
                  <a:pt x="2805074" y="1400657"/>
                </a:lnTo>
                <a:lnTo>
                  <a:pt x="2777921" y="1360385"/>
                </a:lnTo>
                <a:lnTo>
                  <a:pt x="2737650" y="1333233"/>
                </a:lnTo>
                <a:lnTo>
                  <a:pt x="2688348" y="1323276"/>
                </a:lnTo>
                <a:lnTo>
                  <a:pt x="1587842" y="1323276"/>
                </a:lnTo>
                <a:lnTo>
                  <a:pt x="1594739" y="1293037"/>
                </a:lnTo>
                <a:lnTo>
                  <a:pt x="1611210" y="1231938"/>
                </a:lnTo>
                <a:lnTo>
                  <a:pt x="1635810" y="1161021"/>
                </a:lnTo>
                <a:lnTo>
                  <a:pt x="1653717" y="1120343"/>
                </a:lnTo>
                <a:lnTo>
                  <a:pt x="1674545" y="1079030"/>
                </a:lnTo>
                <a:lnTo>
                  <a:pt x="1698117" y="1037107"/>
                </a:lnTo>
                <a:lnTo>
                  <a:pt x="1724279" y="994613"/>
                </a:lnTo>
                <a:lnTo>
                  <a:pt x="1724837" y="994613"/>
                </a:lnTo>
                <a:lnTo>
                  <a:pt x="1725358" y="994778"/>
                </a:lnTo>
                <a:lnTo>
                  <a:pt x="2587726" y="994778"/>
                </a:lnTo>
                <a:lnTo>
                  <a:pt x="2588539" y="994613"/>
                </a:lnTo>
                <a:lnTo>
                  <a:pt x="2637028" y="984821"/>
                </a:lnTo>
                <a:lnTo>
                  <a:pt x="2677299" y="957668"/>
                </a:lnTo>
                <a:lnTo>
                  <a:pt x="2704452" y="917409"/>
                </a:lnTo>
                <a:lnTo>
                  <a:pt x="2714409" y="868095"/>
                </a:lnTo>
                <a:lnTo>
                  <a:pt x="2704452" y="818794"/>
                </a:lnTo>
                <a:lnTo>
                  <a:pt x="2677299" y="778522"/>
                </a:lnTo>
                <a:lnTo>
                  <a:pt x="2637028" y="751370"/>
                </a:lnTo>
                <a:lnTo>
                  <a:pt x="2587726" y="741413"/>
                </a:lnTo>
                <a:lnTo>
                  <a:pt x="1918449" y="741413"/>
                </a:lnTo>
                <a:lnTo>
                  <a:pt x="1948662" y="707326"/>
                </a:lnTo>
                <a:lnTo>
                  <a:pt x="1979866" y="672985"/>
                </a:lnTo>
                <a:lnTo>
                  <a:pt x="2012010" y="638390"/>
                </a:lnTo>
                <a:lnTo>
                  <a:pt x="2045055" y="603554"/>
                </a:lnTo>
                <a:lnTo>
                  <a:pt x="2078926" y="568502"/>
                </a:lnTo>
                <a:lnTo>
                  <a:pt x="2113610" y="533209"/>
                </a:lnTo>
                <a:lnTo>
                  <a:pt x="2149030" y="497700"/>
                </a:lnTo>
                <a:lnTo>
                  <a:pt x="2185162" y="461987"/>
                </a:lnTo>
                <a:lnTo>
                  <a:pt x="2221954" y="426072"/>
                </a:lnTo>
                <a:lnTo>
                  <a:pt x="2297303" y="353644"/>
                </a:lnTo>
                <a:lnTo>
                  <a:pt x="2414079" y="243662"/>
                </a:lnTo>
                <a:lnTo>
                  <a:pt x="2677630" y="12"/>
                </a:lnTo>
                <a:lnTo>
                  <a:pt x="2136800" y="12"/>
                </a:lnTo>
                <a:lnTo>
                  <a:pt x="2069376" y="63487"/>
                </a:lnTo>
                <a:lnTo>
                  <a:pt x="1987892" y="141401"/>
                </a:lnTo>
                <a:lnTo>
                  <a:pt x="1947964" y="180200"/>
                </a:lnTo>
                <a:lnTo>
                  <a:pt x="1908632" y="218884"/>
                </a:lnTo>
                <a:lnTo>
                  <a:pt x="1869922" y="257467"/>
                </a:lnTo>
                <a:lnTo>
                  <a:pt x="1831911" y="295948"/>
                </a:lnTo>
                <a:lnTo>
                  <a:pt x="1794637" y="334327"/>
                </a:lnTo>
                <a:lnTo>
                  <a:pt x="1758124" y="372618"/>
                </a:lnTo>
                <a:lnTo>
                  <a:pt x="1722450" y="410806"/>
                </a:lnTo>
                <a:lnTo>
                  <a:pt x="1687626" y="448906"/>
                </a:lnTo>
                <a:lnTo>
                  <a:pt x="1653730" y="486918"/>
                </a:lnTo>
                <a:lnTo>
                  <a:pt x="1620786" y="524840"/>
                </a:lnTo>
                <a:lnTo>
                  <a:pt x="1588846" y="562686"/>
                </a:lnTo>
                <a:lnTo>
                  <a:pt x="1557959" y="600443"/>
                </a:lnTo>
                <a:lnTo>
                  <a:pt x="1528152" y="638124"/>
                </a:lnTo>
                <a:lnTo>
                  <a:pt x="1499501" y="675716"/>
                </a:lnTo>
                <a:lnTo>
                  <a:pt x="1472018" y="713244"/>
                </a:lnTo>
                <a:lnTo>
                  <a:pt x="1445780" y="750697"/>
                </a:lnTo>
                <a:lnTo>
                  <a:pt x="1420812" y="788073"/>
                </a:lnTo>
                <a:lnTo>
                  <a:pt x="1397165" y="825385"/>
                </a:lnTo>
                <a:lnTo>
                  <a:pt x="1374889" y="862634"/>
                </a:lnTo>
                <a:lnTo>
                  <a:pt x="1354023" y="899820"/>
                </a:lnTo>
                <a:lnTo>
                  <a:pt x="1334604" y="936955"/>
                </a:lnTo>
                <a:lnTo>
                  <a:pt x="1316697" y="974013"/>
                </a:lnTo>
                <a:lnTo>
                  <a:pt x="1300340" y="1011021"/>
                </a:lnTo>
                <a:lnTo>
                  <a:pt x="1285570" y="1047978"/>
                </a:lnTo>
                <a:lnTo>
                  <a:pt x="1272451" y="1084884"/>
                </a:lnTo>
                <a:lnTo>
                  <a:pt x="1251242" y="1153655"/>
                </a:lnTo>
                <a:lnTo>
                  <a:pt x="1233639" y="1221536"/>
                </a:lnTo>
                <a:lnTo>
                  <a:pt x="1219492" y="1288491"/>
                </a:lnTo>
                <a:lnTo>
                  <a:pt x="1208646" y="1354493"/>
                </a:lnTo>
                <a:lnTo>
                  <a:pt x="1200962" y="1419517"/>
                </a:lnTo>
                <a:lnTo>
                  <a:pt x="1196276" y="1483499"/>
                </a:lnTo>
                <a:lnTo>
                  <a:pt x="1194447" y="1546440"/>
                </a:lnTo>
                <a:lnTo>
                  <a:pt x="1195324" y="1608264"/>
                </a:lnTo>
                <a:lnTo>
                  <a:pt x="1198753" y="1668970"/>
                </a:lnTo>
                <a:lnTo>
                  <a:pt x="1204595" y="1728508"/>
                </a:lnTo>
                <a:lnTo>
                  <a:pt x="1212684" y="1786839"/>
                </a:lnTo>
                <a:lnTo>
                  <a:pt x="1222870" y="1843925"/>
                </a:lnTo>
                <a:lnTo>
                  <a:pt x="1235024" y="1899742"/>
                </a:lnTo>
                <a:lnTo>
                  <a:pt x="1248981" y="1954237"/>
                </a:lnTo>
                <a:lnTo>
                  <a:pt x="1264589" y="2007400"/>
                </a:lnTo>
                <a:lnTo>
                  <a:pt x="1281709" y="2059178"/>
                </a:lnTo>
                <a:lnTo>
                  <a:pt x="1300175" y="2109533"/>
                </a:lnTo>
                <a:lnTo>
                  <a:pt x="1319860" y="2158441"/>
                </a:lnTo>
                <a:lnTo>
                  <a:pt x="1340586" y="2205863"/>
                </a:lnTo>
                <a:lnTo>
                  <a:pt x="1362227" y="2251748"/>
                </a:lnTo>
                <a:lnTo>
                  <a:pt x="1384617" y="2296083"/>
                </a:lnTo>
                <a:lnTo>
                  <a:pt x="1407617" y="2338819"/>
                </a:lnTo>
                <a:lnTo>
                  <a:pt x="1431074" y="2379916"/>
                </a:lnTo>
                <a:lnTo>
                  <a:pt x="1454835" y="2419350"/>
                </a:lnTo>
                <a:lnTo>
                  <a:pt x="1478749" y="2457081"/>
                </a:lnTo>
                <a:lnTo>
                  <a:pt x="1502676" y="2493073"/>
                </a:lnTo>
                <a:lnTo>
                  <a:pt x="1526451" y="2527300"/>
                </a:lnTo>
                <a:lnTo>
                  <a:pt x="1549946" y="2559710"/>
                </a:lnTo>
                <a:lnTo>
                  <a:pt x="1572983" y="2590266"/>
                </a:lnTo>
                <a:lnTo>
                  <a:pt x="1617141" y="2645714"/>
                </a:lnTo>
                <a:lnTo>
                  <a:pt x="1657718" y="2693352"/>
                </a:lnTo>
                <a:lnTo>
                  <a:pt x="1693532" y="2732887"/>
                </a:lnTo>
                <a:lnTo>
                  <a:pt x="1723364" y="2764040"/>
                </a:lnTo>
                <a:lnTo>
                  <a:pt x="1754289" y="2794431"/>
                </a:lnTo>
                <a:lnTo>
                  <a:pt x="1791779" y="2824124"/>
                </a:lnTo>
                <a:lnTo>
                  <a:pt x="1853996" y="2847721"/>
                </a:lnTo>
                <a:lnTo>
                  <a:pt x="1886724" y="2850654"/>
                </a:lnTo>
                <a:lnTo>
                  <a:pt x="1923973" y="2846857"/>
                </a:lnTo>
                <a:lnTo>
                  <a:pt x="1993277" y="2816644"/>
                </a:lnTo>
                <a:lnTo>
                  <a:pt x="2022830" y="2790367"/>
                </a:lnTo>
                <a:lnTo>
                  <a:pt x="2050745" y="2749880"/>
                </a:lnTo>
                <a:lnTo>
                  <a:pt x="2066505" y="2705011"/>
                </a:lnTo>
                <a:lnTo>
                  <a:pt x="2070239" y="2658224"/>
                </a:lnTo>
                <a:lnTo>
                  <a:pt x="2062073" y="2611996"/>
                </a:lnTo>
                <a:lnTo>
                  <a:pt x="2042134" y="2568778"/>
                </a:lnTo>
                <a:lnTo>
                  <a:pt x="2010562" y="2531059"/>
                </a:lnTo>
                <a:lnTo>
                  <a:pt x="2002307" y="2523312"/>
                </a:lnTo>
                <a:lnTo>
                  <a:pt x="1986203" y="2507475"/>
                </a:lnTo>
                <a:lnTo>
                  <a:pt x="1934933" y="2452725"/>
                </a:lnTo>
                <a:lnTo>
                  <a:pt x="1902015" y="2414397"/>
                </a:lnTo>
                <a:lnTo>
                  <a:pt x="1865718" y="2369159"/>
                </a:lnTo>
                <a:lnTo>
                  <a:pt x="1827174" y="2317305"/>
                </a:lnTo>
                <a:lnTo>
                  <a:pt x="1787486" y="2259114"/>
                </a:lnTo>
                <a:lnTo>
                  <a:pt x="1747786" y="2194903"/>
                </a:lnTo>
                <a:lnTo>
                  <a:pt x="1709204" y="2124951"/>
                </a:lnTo>
                <a:lnTo>
                  <a:pt x="2085060" y="2124951"/>
                </a:lnTo>
                <a:lnTo>
                  <a:pt x="2134362" y="2114994"/>
                </a:lnTo>
                <a:lnTo>
                  <a:pt x="2174633" y="2087841"/>
                </a:lnTo>
                <a:lnTo>
                  <a:pt x="2201786" y="2047582"/>
                </a:lnTo>
                <a:lnTo>
                  <a:pt x="2211743" y="1998268"/>
                </a:lnTo>
                <a:lnTo>
                  <a:pt x="2201786" y="1948967"/>
                </a:lnTo>
                <a:lnTo>
                  <a:pt x="2174633" y="1908695"/>
                </a:lnTo>
                <a:lnTo>
                  <a:pt x="2134362" y="1881543"/>
                </a:lnTo>
                <a:lnTo>
                  <a:pt x="2085060" y="1871586"/>
                </a:lnTo>
                <a:lnTo>
                  <a:pt x="1607959" y="1871586"/>
                </a:lnTo>
                <a:lnTo>
                  <a:pt x="1595729" y="1825244"/>
                </a:lnTo>
                <a:lnTo>
                  <a:pt x="1585214" y="1777720"/>
                </a:lnTo>
                <a:lnTo>
                  <a:pt x="1576565" y="1729054"/>
                </a:lnTo>
                <a:lnTo>
                  <a:pt x="1569910" y="1679295"/>
                </a:lnTo>
                <a:lnTo>
                  <a:pt x="1565402" y="1628482"/>
                </a:lnTo>
                <a:lnTo>
                  <a:pt x="1563192" y="1576641"/>
                </a:lnTo>
                <a:lnTo>
                  <a:pt x="2688348" y="1576641"/>
                </a:lnTo>
                <a:lnTo>
                  <a:pt x="2737650" y="1566697"/>
                </a:lnTo>
                <a:lnTo>
                  <a:pt x="2777921" y="1539544"/>
                </a:lnTo>
                <a:lnTo>
                  <a:pt x="2805074" y="1499273"/>
                </a:lnTo>
                <a:lnTo>
                  <a:pt x="2815031" y="1449959"/>
                </a:lnTo>
                <a:close/>
              </a:path>
              <a:path w="4842509" h="4803140">
                <a:moveTo>
                  <a:pt x="3022498" y="1998268"/>
                </a:moveTo>
                <a:lnTo>
                  <a:pt x="3012541" y="1948967"/>
                </a:lnTo>
                <a:lnTo>
                  <a:pt x="2985389" y="1908695"/>
                </a:lnTo>
                <a:lnTo>
                  <a:pt x="2945130" y="1881543"/>
                </a:lnTo>
                <a:lnTo>
                  <a:pt x="2895816" y="1871586"/>
                </a:lnTo>
                <a:lnTo>
                  <a:pt x="2492959" y="1871586"/>
                </a:lnTo>
                <a:lnTo>
                  <a:pt x="2443645" y="1881543"/>
                </a:lnTo>
                <a:lnTo>
                  <a:pt x="2403373" y="1908695"/>
                </a:lnTo>
                <a:lnTo>
                  <a:pt x="2376220" y="1948967"/>
                </a:lnTo>
                <a:lnTo>
                  <a:pt x="2366264" y="1998268"/>
                </a:lnTo>
                <a:lnTo>
                  <a:pt x="2376220" y="2047582"/>
                </a:lnTo>
                <a:lnTo>
                  <a:pt x="2403373" y="2087854"/>
                </a:lnTo>
                <a:lnTo>
                  <a:pt x="2443645" y="2114994"/>
                </a:lnTo>
                <a:lnTo>
                  <a:pt x="2492959" y="2124951"/>
                </a:lnTo>
                <a:lnTo>
                  <a:pt x="2895816" y="2124951"/>
                </a:lnTo>
                <a:lnTo>
                  <a:pt x="2945130" y="2114994"/>
                </a:lnTo>
                <a:lnTo>
                  <a:pt x="2985389" y="2087854"/>
                </a:lnTo>
                <a:lnTo>
                  <a:pt x="3012541" y="2047582"/>
                </a:lnTo>
                <a:lnTo>
                  <a:pt x="3022498" y="1998268"/>
                </a:lnTo>
                <a:close/>
              </a:path>
              <a:path w="4842509" h="4803140">
                <a:moveTo>
                  <a:pt x="3290455" y="860463"/>
                </a:moveTo>
                <a:lnTo>
                  <a:pt x="3285413" y="815911"/>
                </a:lnTo>
                <a:lnTo>
                  <a:pt x="3271024" y="775017"/>
                </a:lnTo>
                <a:lnTo>
                  <a:pt x="3248456" y="738936"/>
                </a:lnTo>
                <a:lnTo>
                  <a:pt x="3218853" y="708850"/>
                </a:lnTo>
                <a:lnTo>
                  <a:pt x="3183344" y="685914"/>
                </a:lnTo>
                <a:lnTo>
                  <a:pt x="3143097" y="671296"/>
                </a:lnTo>
                <a:lnTo>
                  <a:pt x="3099257" y="666165"/>
                </a:lnTo>
                <a:lnTo>
                  <a:pt x="3055429" y="671296"/>
                </a:lnTo>
                <a:lnTo>
                  <a:pt x="3015183" y="685914"/>
                </a:lnTo>
                <a:lnTo>
                  <a:pt x="2979674" y="708850"/>
                </a:lnTo>
                <a:lnTo>
                  <a:pt x="2950070" y="738936"/>
                </a:lnTo>
                <a:lnTo>
                  <a:pt x="2927502" y="775017"/>
                </a:lnTo>
                <a:lnTo>
                  <a:pt x="2913113" y="815911"/>
                </a:lnTo>
                <a:lnTo>
                  <a:pt x="2908058" y="860463"/>
                </a:lnTo>
                <a:lnTo>
                  <a:pt x="2913113" y="905027"/>
                </a:lnTo>
                <a:lnTo>
                  <a:pt x="2927502" y="945921"/>
                </a:lnTo>
                <a:lnTo>
                  <a:pt x="2950070" y="982002"/>
                </a:lnTo>
                <a:lnTo>
                  <a:pt x="2979674" y="1012088"/>
                </a:lnTo>
                <a:lnTo>
                  <a:pt x="3015183" y="1035024"/>
                </a:lnTo>
                <a:lnTo>
                  <a:pt x="3055429" y="1049642"/>
                </a:lnTo>
                <a:lnTo>
                  <a:pt x="3099257" y="1054773"/>
                </a:lnTo>
                <a:lnTo>
                  <a:pt x="3143097" y="1049642"/>
                </a:lnTo>
                <a:lnTo>
                  <a:pt x="3183344" y="1035024"/>
                </a:lnTo>
                <a:lnTo>
                  <a:pt x="3218853" y="1012088"/>
                </a:lnTo>
                <a:lnTo>
                  <a:pt x="3248456" y="982002"/>
                </a:lnTo>
                <a:lnTo>
                  <a:pt x="3271024" y="945921"/>
                </a:lnTo>
                <a:lnTo>
                  <a:pt x="3285413" y="905027"/>
                </a:lnTo>
                <a:lnTo>
                  <a:pt x="3290455" y="860463"/>
                </a:lnTo>
                <a:close/>
              </a:path>
              <a:path w="4842509" h="4803140">
                <a:moveTo>
                  <a:pt x="3455378" y="1436839"/>
                </a:moveTo>
                <a:lnTo>
                  <a:pt x="3449624" y="1393291"/>
                </a:lnTo>
                <a:lnTo>
                  <a:pt x="3433368" y="1354150"/>
                </a:lnTo>
                <a:lnTo>
                  <a:pt x="3408159" y="1320990"/>
                </a:lnTo>
                <a:lnTo>
                  <a:pt x="3375533" y="1295374"/>
                </a:lnTo>
                <a:lnTo>
                  <a:pt x="3337026" y="1278864"/>
                </a:lnTo>
                <a:lnTo>
                  <a:pt x="3294164" y="1273009"/>
                </a:lnTo>
                <a:lnTo>
                  <a:pt x="3251314" y="1278864"/>
                </a:lnTo>
                <a:lnTo>
                  <a:pt x="3212795" y="1295374"/>
                </a:lnTo>
                <a:lnTo>
                  <a:pt x="3180169" y="1320990"/>
                </a:lnTo>
                <a:lnTo>
                  <a:pt x="3154959" y="1354150"/>
                </a:lnTo>
                <a:lnTo>
                  <a:pt x="3138716" y="1393291"/>
                </a:lnTo>
                <a:lnTo>
                  <a:pt x="3132950" y="1436839"/>
                </a:lnTo>
                <a:lnTo>
                  <a:pt x="3138716" y="1480388"/>
                </a:lnTo>
                <a:lnTo>
                  <a:pt x="3154959" y="1519529"/>
                </a:lnTo>
                <a:lnTo>
                  <a:pt x="3180169" y="1552689"/>
                </a:lnTo>
                <a:lnTo>
                  <a:pt x="3212795" y="1578305"/>
                </a:lnTo>
                <a:lnTo>
                  <a:pt x="3251314" y="1594815"/>
                </a:lnTo>
                <a:lnTo>
                  <a:pt x="3294164" y="1600669"/>
                </a:lnTo>
                <a:lnTo>
                  <a:pt x="3337026" y="1594815"/>
                </a:lnTo>
                <a:lnTo>
                  <a:pt x="3375533" y="1578305"/>
                </a:lnTo>
                <a:lnTo>
                  <a:pt x="3408159" y="1552689"/>
                </a:lnTo>
                <a:lnTo>
                  <a:pt x="3433368" y="1519529"/>
                </a:lnTo>
                <a:lnTo>
                  <a:pt x="3449624" y="1480388"/>
                </a:lnTo>
                <a:lnTo>
                  <a:pt x="3455378" y="1436839"/>
                </a:lnTo>
                <a:close/>
              </a:path>
              <a:path w="4842509" h="4803140">
                <a:moveTo>
                  <a:pt x="3677882" y="141617"/>
                </a:moveTo>
                <a:lnTo>
                  <a:pt x="3669868" y="91109"/>
                </a:lnTo>
                <a:lnTo>
                  <a:pt x="3647541" y="47244"/>
                </a:lnTo>
                <a:lnTo>
                  <a:pt x="3613505" y="12661"/>
                </a:lnTo>
                <a:lnTo>
                  <a:pt x="3589439" y="0"/>
                </a:lnTo>
                <a:lnTo>
                  <a:pt x="3451847" y="0"/>
                </a:lnTo>
                <a:lnTo>
                  <a:pt x="3427780" y="12661"/>
                </a:lnTo>
                <a:lnTo>
                  <a:pt x="3393744" y="47244"/>
                </a:lnTo>
                <a:lnTo>
                  <a:pt x="3371418" y="91109"/>
                </a:lnTo>
                <a:lnTo>
                  <a:pt x="3363404" y="141617"/>
                </a:lnTo>
                <a:lnTo>
                  <a:pt x="3371418" y="192125"/>
                </a:lnTo>
                <a:lnTo>
                  <a:pt x="3393744" y="235991"/>
                </a:lnTo>
                <a:lnTo>
                  <a:pt x="3427780" y="270573"/>
                </a:lnTo>
                <a:lnTo>
                  <a:pt x="3470935" y="293268"/>
                </a:lnTo>
                <a:lnTo>
                  <a:pt x="3520643" y="301409"/>
                </a:lnTo>
                <a:lnTo>
                  <a:pt x="3570338" y="293268"/>
                </a:lnTo>
                <a:lnTo>
                  <a:pt x="3613505" y="270573"/>
                </a:lnTo>
                <a:lnTo>
                  <a:pt x="3647541" y="235991"/>
                </a:lnTo>
                <a:lnTo>
                  <a:pt x="3669868" y="192125"/>
                </a:lnTo>
                <a:lnTo>
                  <a:pt x="3677882" y="141617"/>
                </a:lnTo>
                <a:close/>
              </a:path>
              <a:path w="4842509" h="4803140">
                <a:moveTo>
                  <a:pt x="3887127" y="709460"/>
                </a:moveTo>
                <a:lnTo>
                  <a:pt x="3882085" y="664908"/>
                </a:lnTo>
                <a:lnTo>
                  <a:pt x="3867696" y="624001"/>
                </a:lnTo>
                <a:lnTo>
                  <a:pt x="3845128" y="587933"/>
                </a:lnTo>
                <a:lnTo>
                  <a:pt x="3815524" y="557834"/>
                </a:lnTo>
                <a:lnTo>
                  <a:pt x="3780015" y="534898"/>
                </a:lnTo>
                <a:lnTo>
                  <a:pt x="3739769" y="520280"/>
                </a:lnTo>
                <a:lnTo>
                  <a:pt x="3695928" y="515150"/>
                </a:lnTo>
                <a:lnTo>
                  <a:pt x="3652101" y="520280"/>
                </a:lnTo>
                <a:lnTo>
                  <a:pt x="3611854" y="534898"/>
                </a:lnTo>
                <a:lnTo>
                  <a:pt x="3576345" y="557834"/>
                </a:lnTo>
                <a:lnTo>
                  <a:pt x="3546741" y="587933"/>
                </a:lnTo>
                <a:lnTo>
                  <a:pt x="3524173" y="624001"/>
                </a:lnTo>
                <a:lnTo>
                  <a:pt x="3509784" y="664908"/>
                </a:lnTo>
                <a:lnTo>
                  <a:pt x="3504730" y="709460"/>
                </a:lnTo>
                <a:lnTo>
                  <a:pt x="3509784" y="754011"/>
                </a:lnTo>
                <a:lnTo>
                  <a:pt x="3524173" y="794918"/>
                </a:lnTo>
                <a:lnTo>
                  <a:pt x="3546741" y="830986"/>
                </a:lnTo>
                <a:lnTo>
                  <a:pt x="3576345" y="861085"/>
                </a:lnTo>
                <a:lnTo>
                  <a:pt x="3611854" y="884021"/>
                </a:lnTo>
                <a:lnTo>
                  <a:pt x="3652101" y="898639"/>
                </a:lnTo>
                <a:lnTo>
                  <a:pt x="3695928" y="903770"/>
                </a:lnTo>
                <a:lnTo>
                  <a:pt x="3739769" y="898639"/>
                </a:lnTo>
                <a:lnTo>
                  <a:pt x="3780015" y="884021"/>
                </a:lnTo>
                <a:lnTo>
                  <a:pt x="3815524" y="861085"/>
                </a:lnTo>
                <a:lnTo>
                  <a:pt x="3845128" y="830986"/>
                </a:lnTo>
                <a:lnTo>
                  <a:pt x="3867696" y="794918"/>
                </a:lnTo>
                <a:lnTo>
                  <a:pt x="3882085" y="754011"/>
                </a:lnTo>
                <a:lnTo>
                  <a:pt x="3887127" y="709460"/>
                </a:lnTo>
                <a:close/>
              </a:path>
              <a:path w="4842509" h="4803140">
                <a:moveTo>
                  <a:pt x="4802949" y="2817431"/>
                </a:moveTo>
                <a:lnTo>
                  <a:pt x="4797895" y="2772880"/>
                </a:lnTo>
                <a:lnTo>
                  <a:pt x="4783518" y="2731973"/>
                </a:lnTo>
                <a:lnTo>
                  <a:pt x="4760950" y="2695892"/>
                </a:lnTo>
                <a:lnTo>
                  <a:pt x="4731334" y="2665806"/>
                </a:lnTo>
                <a:lnTo>
                  <a:pt x="4695837" y="2642870"/>
                </a:lnTo>
                <a:lnTo>
                  <a:pt x="4655591" y="2628252"/>
                </a:lnTo>
                <a:lnTo>
                  <a:pt x="4611751" y="2623121"/>
                </a:lnTo>
                <a:lnTo>
                  <a:pt x="4567910" y="2628252"/>
                </a:lnTo>
                <a:lnTo>
                  <a:pt x="4527664" y="2642870"/>
                </a:lnTo>
                <a:lnTo>
                  <a:pt x="4492168" y="2665806"/>
                </a:lnTo>
                <a:lnTo>
                  <a:pt x="4462551" y="2695892"/>
                </a:lnTo>
                <a:lnTo>
                  <a:pt x="4439983" y="2731973"/>
                </a:lnTo>
                <a:lnTo>
                  <a:pt x="4425607" y="2772880"/>
                </a:lnTo>
                <a:lnTo>
                  <a:pt x="4420552" y="2817431"/>
                </a:lnTo>
                <a:lnTo>
                  <a:pt x="4425607" y="2861983"/>
                </a:lnTo>
                <a:lnTo>
                  <a:pt x="4439983" y="2902877"/>
                </a:lnTo>
                <a:lnTo>
                  <a:pt x="4462551" y="2938957"/>
                </a:lnTo>
                <a:lnTo>
                  <a:pt x="4492168" y="2969056"/>
                </a:lnTo>
                <a:lnTo>
                  <a:pt x="4527664" y="2991993"/>
                </a:lnTo>
                <a:lnTo>
                  <a:pt x="4567910" y="3006610"/>
                </a:lnTo>
                <a:lnTo>
                  <a:pt x="4611751" y="3011741"/>
                </a:lnTo>
                <a:lnTo>
                  <a:pt x="4655591" y="3006610"/>
                </a:lnTo>
                <a:lnTo>
                  <a:pt x="4695837" y="2991993"/>
                </a:lnTo>
                <a:lnTo>
                  <a:pt x="4731334" y="2969056"/>
                </a:lnTo>
                <a:lnTo>
                  <a:pt x="4760950" y="2938957"/>
                </a:lnTo>
                <a:lnTo>
                  <a:pt x="4783518" y="2902877"/>
                </a:lnTo>
                <a:lnTo>
                  <a:pt x="4797895" y="2861983"/>
                </a:lnTo>
                <a:lnTo>
                  <a:pt x="4802949" y="2817431"/>
                </a:lnTo>
                <a:close/>
              </a:path>
              <a:path w="4842509" h="4803140">
                <a:moveTo>
                  <a:pt x="4841951" y="3202800"/>
                </a:moveTo>
                <a:lnTo>
                  <a:pt x="4773104" y="3204997"/>
                </a:lnTo>
                <a:lnTo>
                  <a:pt x="4732858" y="3219615"/>
                </a:lnTo>
                <a:lnTo>
                  <a:pt x="4697349" y="3242551"/>
                </a:lnTo>
                <a:lnTo>
                  <a:pt x="4667745" y="3272650"/>
                </a:lnTo>
                <a:lnTo>
                  <a:pt x="4645177" y="3308718"/>
                </a:lnTo>
                <a:lnTo>
                  <a:pt x="4630788" y="3349625"/>
                </a:lnTo>
                <a:lnTo>
                  <a:pt x="4625746" y="3394176"/>
                </a:lnTo>
                <a:lnTo>
                  <a:pt x="4630788" y="3438728"/>
                </a:lnTo>
                <a:lnTo>
                  <a:pt x="4645177" y="3479635"/>
                </a:lnTo>
                <a:lnTo>
                  <a:pt x="4667745" y="3515703"/>
                </a:lnTo>
                <a:lnTo>
                  <a:pt x="4697349" y="3545802"/>
                </a:lnTo>
                <a:lnTo>
                  <a:pt x="4732858" y="3568738"/>
                </a:lnTo>
                <a:lnTo>
                  <a:pt x="4773104" y="3583355"/>
                </a:lnTo>
                <a:lnTo>
                  <a:pt x="4816945" y="3588486"/>
                </a:lnTo>
                <a:lnTo>
                  <a:pt x="4841951" y="3585553"/>
                </a:lnTo>
                <a:lnTo>
                  <a:pt x="4841951" y="3202800"/>
                </a:lnTo>
                <a:close/>
              </a:path>
              <a:path w="4842509" h="4803140">
                <a:moveTo>
                  <a:pt x="4841951" y="1842350"/>
                </a:moveTo>
                <a:lnTo>
                  <a:pt x="4807712" y="1875828"/>
                </a:lnTo>
                <a:lnTo>
                  <a:pt x="4783315" y="1910905"/>
                </a:lnTo>
                <a:lnTo>
                  <a:pt x="4765014" y="1950059"/>
                </a:lnTo>
                <a:lnTo>
                  <a:pt x="4753534" y="1992579"/>
                </a:lnTo>
                <a:lnTo>
                  <a:pt x="4749546" y="2037765"/>
                </a:lnTo>
                <a:lnTo>
                  <a:pt x="4753534" y="2082939"/>
                </a:lnTo>
                <a:lnTo>
                  <a:pt x="4765014" y="2125459"/>
                </a:lnTo>
                <a:lnTo>
                  <a:pt x="4783315" y="2164626"/>
                </a:lnTo>
                <a:lnTo>
                  <a:pt x="4807712" y="2199703"/>
                </a:lnTo>
                <a:lnTo>
                  <a:pt x="4837519" y="2229993"/>
                </a:lnTo>
                <a:lnTo>
                  <a:pt x="4841951" y="2233180"/>
                </a:lnTo>
                <a:lnTo>
                  <a:pt x="4841951" y="1842350"/>
                </a:lnTo>
                <a:close/>
              </a:path>
              <a:path w="4842509" h="4803140">
                <a:moveTo>
                  <a:pt x="4841951" y="573493"/>
                </a:moveTo>
                <a:lnTo>
                  <a:pt x="4189387" y="573493"/>
                </a:lnTo>
                <a:lnTo>
                  <a:pt x="4140073" y="583450"/>
                </a:lnTo>
                <a:lnTo>
                  <a:pt x="4099814" y="610603"/>
                </a:lnTo>
                <a:lnTo>
                  <a:pt x="4072674" y="650875"/>
                </a:lnTo>
                <a:lnTo>
                  <a:pt x="4062730" y="700176"/>
                </a:lnTo>
                <a:lnTo>
                  <a:pt x="4072674" y="749490"/>
                </a:lnTo>
                <a:lnTo>
                  <a:pt x="4099814" y="789749"/>
                </a:lnTo>
                <a:lnTo>
                  <a:pt x="4140073" y="816902"/>
                </a:lnTo>
                <a:lnTo>
                  <a:pt x="4189387" y="826858"/>
                </a:lnTo>
                <a:lnTo>
                  <a:pt x="4767542" y="826858"/>
                </a:lnTo>
                <a:lnTo>
                  <a:pt x="4736668" y="864552"/>
                </a:lnTo>
                <a:lnTo>
                  <a:pt x="4705045" y="902195"/>
                </a:lnTo>
                <a:lnTo>
                  <a:pt x="4672723" y="939787"/>
                </a:lnTo>
                <a:lnTo>
                  <a:pt x="4639742" y="977303"/>
                </a:lnTo>
                <a:lnTo>
                  <a:pt x="4606137" y="1014742"/>
                </a:lnTo>
                <a:lnTo>
                  <a:pt x="4571949" y="1052106"/>
                </a:lnTo>
                <a:lnTo>
                  <a:pt x="4537214" y="1089380"/>
                </a:lnTo>
                <a:lnTo>
                  <a:pt x="4501985" y="1126578"/>
                </a:lnTo>
                <a:lnTo>
                  <a:pt x="4466285" y="1163675"/>
                </a:lnTo>
                <a:lnTo>
                  <a:pt x="4430166" y="1200658"/>
                </a:lnTo>
                <a:lnTo>
                  <a:pt x="4393654" y="1237538"/>
                </a:lnTo>
                <a:lnTo>
                  <a:pt x="4356811" y="1274305"/>
                </a:lnTo>
                <a:lnTo>
                  <a:pt x="4319663" y="1310957"/>
                </a:lnTo>
                <a:lnTo>
                  <a:pt x="4282249" y="1347470"/>
                </a:lnTo>
                <a:lnTo>
                  <a:pt x="4206786" y="1420114"/>
                </a:lnTo>
                <a:lnTo>
                  <a:pt x="4092625" y="1527962"/>
                </a:lnTo>
                <a:lnTo>
                  <a:pt x="3735552" y="1858314"/>
                </a:lnTo>
                <a:lnTo>
                  <a:pt x="3567468" y="2015528"/>
                </a:lnTo>
                <a:lnTo>
                  <a:pt x="3485985" y="2093442"/>
                </a:lnTo>
                <a:lnTo>
                  <a:pt x="3446056" y="2132241"/>
                </a:lnTo>
                <a:lnTo>
                  <a:pt x="3406711" y="2170925"/>
                </a:lnTo>
                <a:lnTo>
                  <a:pt x="3368014" y="2209508"/>
                </a:lnTo>
                <a:lnTo>
                  <a:pt x="3330003" y="2247989"/>
                </a:lnTo>
                <a:lnTo>
                  <a:pt x="3292716" y="2286381"/>
                </a:lnTo>
                <a:lnTo>
                  <a:pt x="3256216" y="2324658"/>
                </a:lnTo>
                <a:lnTo>
                  <a:pt x="3220529" y="2362860"/>
                </a:lnTo>
                <a:lnTo>
                  <a:pt x="3185718" y="2400960"/>
                </a:lnTo>
                <a:lnTo>
                  <a:pt x="3151809" y="2438971"/>
                </a:lnTo>
                <a:lnTo>
                  <a:pt x="3118866" y="2476893"/>
                </a:lnTo>
                <a:lnTo>
                  <a:pt x="3086925" y="2514727"/>
                </a:lnTo>
                <a:lnTo>
                  <a:pt x="3056039" y="2552484"/>
                </a:lnTo>
                <a:lnTo>
                  <a:pt x="3026245" y="2590165"/>
                </a:lnTo>
                <a:lnTo>
                  <a:pt x="2997581" y="2627757"/>
                </a:lnTo>
                <a:lnTo>
                  <a:pt x="2970111" y="2665285"/>
                </a:lnTo>
                <a:lnTo>
                  <a:pt x="2943860" y="2702737"/>
                </a:lnTo>
                <a:lnTo>
                  <a:pt x="2918904" y="2740126"/>
                </a:lnTo>
                <a:lnTo>
                  <a:pt x="2895257" y="2777439"/>
                </a:lnTo>
                <a:lnTo>
                  <a:pt x="2872981" y="2814688"/>
                </a:lnTo>
                <a:lnTo>
                  <a:pt x="2852102" y="2851874"/>
                </a:lnTo>
                <a:lnTo>
                  <a:pt x="2832697" y="2888996"/>
                </a:lnTo>
                <a:lnTo>
                  <a:pt x="2814790" y="2926054"/>
                </a:lnTo>
                <a:lnTo>
                  <a:pt x="2798432" y="2963075"/>
                </a:lnTo>
                <a:lnTo>
                  <a:pt x="2783662" y="3000032"/>
                </a:lnTo>
                <a:lnTo>
                  <a:pt x="2770543" y="3036938"/>
                </a:lnTo>
                <a:lnTo>
                  <a:pt x="2749334" y="3105696"/>
                </a:lnTo>
                <a:lnTo>
                  <a:pt x="2731732" y="3173577"/>
                </a:lnTo>
                <a:lnTo>
                  <a:pt x="2717584" y="3240532"/>
                </a:lnTo>
                <a:lnTo>
                  <a:pt x="2706751" y="3306546"/>
                </a:lnTo>
                <a:lnTo>
                  <a:pt x="2699054" y="3371558"/>
                </a:lnTo>
                <a:lnTo>
                  <a:pt x="2694368" y="3435553"/>
                </a:lnTo>
                <a:lnTo>
                  <a:pt x="2692539" y="3498481"/>
                </a:lnTo>
                <a:lnTo>
                  <a:pt x="2693416" y="3560318"/>
                </a:lnTo>
                <a:lnTo>
                  <a:pt x="2696845" y="3621024"/>
                </a:lnTo>
                <a:lnTo>
                  <a:pt x="2702687" y="3680549"/>
                </a:lnTo>
                <a:lnTo>
                  <a:pt x="2710777" y="3738880"/>
                </a:lnTo>
                <a:lnTo>
                  <a:pt x="2720975" y="3795979"/>
                </a:lnTo>
                <a:lnTo>
                  <a:pt x="2733116" y="3851795"/>
                </a:lnTo>
                <a:lnTo>
                  <a:pt x="2747073" y="3906291"/>
                </a:lnTo>
                <a:lnTo>
                  <a:pt x="2762681" y="3959453"/>
                </a:lnTo>
                <a:lnTo>
                  <a:pt x="2779801" y="4011231"/>
                </a:lnTo>
                <a:lnTo>
                  <a:pt x="2798267" y="4061587"/>
                </a:lnTo>
                <a:lnTo>
                  <a:pt x="2817952" y="4110494"/>
                </a:lnTo>
                <a:lnTo>
                  <a:pt x="2838678" y="4157903"/>
                </a:lnTo>
                <a:lnTo>
                  <a:pt x="2860319" y="4203801"/>
                </a:lnTo>
                <a:lnTo>
                  <a:pt x="2882709" y="4248137"/>
                </a:lnTo>
                <a:lnTo>
                  <a:pt x="2905709" y="4290860"/>
                </a:lnTo>
                <a:lnTo>
                  <a:pt x="2929166" y="4331970"/>
                </a:lnTo>
                <a:lnTo>
                  <a:pt x="2952927" y="4371403"/>
                </a:lnTo>
                <a:lnTo>
                  <a:pt x="2976854" y="4409135"/>
                </a:lnTo>
                <a:lnTo>
                  <a:pt x="3000768" y="4445127"/>
                </a:lnTo>
                <a:lnTo>
                  <a:pt x="3024555" y="4479353"/>
                </a:lnTo>
                <a:lnTo>
                  <a:pt x="3048038" y="4511764"/>
                </a:lnTo>
                <a:lnTo>
                  <a:pt x="3071076" y="4542320"/>
                </a:lnTo>
                <a:lnTo>
                  <a:pt x="3115233" y="4597768"/>
                </a:lnTo>
                <a:lnTo>
                  <a:pt x="3155810" y="4645406"/>
                </a:lnTo>
                <a:lnTo>
                  <a:pt x="3191624" y="4684941"/>
                </a:lnTo>
                <a:lnTo>
                  <a:pt x="3221456" y="4716094"/>
                </a:lnTo>
                <a:lnTo>
                  <a:pt x="3252393" y="4746498"/>
                </a:lnTo>
                <a:lnTo>
                  <a:pt x="3289871" y="4776190"/>
                </a:lnTo>
                <a:lnTo>
                  <a:pt x="3352101" y="4799800"/>
                </a:lnTo>
                <a:lnTo>
                  <a:pt x="3384816" y="4802733"/>
                </a:lnTo>
                <a:lnTo>
                  <a:pt x="3422065" y="4798923"/>
                </a:lnTo>
                <a:lnTo>
                  <a:pt x="3491369" y="4768710"/>
                </a:lnTo>
                <a:lnTo>
                  <a:pt x="3520922" y="4742446"/>
                </a:lnTo>
                <a:lnTo>
                  <a:pt x="3548837" y="4701959"/>
                </a:lnTo>
                <a:lnTo>
                  <a:pt x="3564598" y="4657090"/>
                </a:lnTo>
                <a:lnTo>
                  <a:pt x="3568331" y="4610303"/>
                </a:lnTo>
                <a:lnTo>
                  <a:pt x="3560165" y="4564062"/>
                </a:lnTo>
                <a:lnTo>
                  <a:pt x="3540239" y="4520857"/>
                </a:lnTo>
                <a:lnTo>
                  <a:pt x="3508654" y="4483138"/>
                </a:lnTo>
                <a:lnTo>
                  <a:pt x="3500399" y="4475378"/>
                </a:lnTo>
                <a:lnTo>
                  <a:pt x="3484295" y="4459541"/>
                </a:lnTo>
                <a:lnTo>
                  <a:pt x="3433026" y="4404792"/>
                </a:lnTo>
                <a:lnTo>
                  <a:pt x="3400107" y="4366463"/>
                </a:lnTo>
                <a:lnTo>
                  <a:pt x="3363798" y="4321213"/>
                </a:lnTo>
                <a:lnTo>
                  <a:pt x="3325253" y="4269359"/>
                </a:lnTo>
                <a:lnTo>
                  <a:pt x="3285566" y="4211167"/>
                </a:lnTo>
                <a:lnTo>
                  <a:pt x="3245878" y="4146956"/>
                </a:lnTo>
                <a:lnTo>
                  <a:pt x="3207283" y="4077004"/>
                </a:lnTo>
                <a:lnTo>
                  <a:pt x="3803065" y="4077004"/>
                </a:lnTo>
                <a:lnTo>
                  <a:pt x="3852380" y="4067048"/>
                </a:lnTo>
                <a:lnTo>
                  <a:pt x="3892639" y="4039895"/>
                </a:lnTo>
                <a:lnTo>
                  <a:pt x="3919766" y="3999623"/>
                </a:lnTo>
                <a:lnTo>
                  <a:pt x="3929723" y="3950322"/>
                </a:lnTo>
                <a:lnTo>
                  <a:pt x="3919766" y="3901008"/>
                </a:lnTo>
                <a:lnTo>
                  <a:pt x="3892639" y="3860736"/>
                </a:lnTo>
                <a:lnTo>
                  <a:pt x="3852380" y="3833596"/>
                </a:lnTo>
                <a:lnTo>
                  <a:pt x="3803065" y="3823639"/>
                </a:lnTo>
                <a:lnTo>
                  <a:pt x="3106051" y="3823639"/>
                </a:lnTo>
                <a:lnTo>
                  <a:pt x="3093821" y="3777284"/>
                </a:lnTo>
                <a:lnTo>
                  <a:pt x="3083318" y="3729761"/>
                </a:lnTo>
                <a:lnTo>
                  <a:pt x="3074657" y="3681095"/>
                </a:lnTo>
                <a:lnTo>
                  <a:pt x="3068002" y="3631336"/>
                </a:lnTo>
                <a:lnTo>
                  <a:pt x="3063494" y="3580523"/>
                </a:lnTo>
                <a:lnTo>
                  <a:pt x="3061284" y="3528695"/>
                </a:lnTo>
                <a:lnTo>
                  <a:pt x="4186415" y="3528695"/>
                </a:lnTo>
                <a:lnTo>
                  <a:pt x="4235729" y="3518738"/>
                </a:lnTo>
                <a:lnTo>
                  <a:pt x="4275988" y="3491585"/>
                </a:lnTo>
                <a:lnTo>
                  <a:pt x="4303128" y="3451326"/>
                </a:lnTo>
                <a:lnTo>
                  <a:pt x="4313072" y="3402012"/>
                </a:lnTo>
                <a:lnTo>
                  <a:pt x="4303128" y="3352711"/>
                </a:lnTo>
                <a:lnTo>
                  <a:pt x="4275988" y="3312439"/>
                </a:lnTo>
                <a:lnTo>
                  <a:pt x="4235729" y="3285286"/>
                </a:lnTo>
                <a:lnTo>
                  <a:pt x="4186415" y="3275330"/>
                </a:lnTo>
                <a:lnTo>
                  <a:pt x="3085935" y="3275330"/>
                </a:lnTo>
                <a:lnTo>
                  <a:pt x="3092831" y="3245078"/>
                </a:lnTo>
                <a:lnTo>
                  <a:pt x="3109315" y="3183979"/>
                </a:lnTo>
                <a:lnTo>
                  <a:pt x="3133902" y="3113087"/>
                </a:lnTo>
                <a:lnTo>
                  <a:pt x="3151809" y="3072396"/>
                </a:lnTo>
                <a:lnTo>
                  <a:pt x="3172637" y="3031083"/>
                </a:lnTo>
                <a:lnTo>
                  <a:pt x="3196209" y="2989161"/>
                </a:lnTo>
                <a:lnTo>
                  <a:pt x="3222371" y="2946666"/>
                </a:lnTo>
                <a:lnTo>
                  <a:pt x="3222929" y="2946666"/>
                </a:lnTo>
                <a:lnTo>
                  <a:pt x="3223450" y="2946831"/>
                </a:lnTo>
                <a:lnTo>
                  <a:pt x="4085818" y="2946831"/>
                </a:lnTo>
                <a:lnTo>
                  <a:pt x="4086631" y="2946666"/>
                </a:lnTo>
                <a:lnTo>
                  <a:pt x="4135132" y="2936875"/>
                </a:lnTo>
                <a:lnTo>
                  <a:pt x="4175391" y="2909722"/>
                </a:lnTo>
                <a:lnTo>
                  <a:pt x="4202519" y="2869450"/>
                </a:lnTo>
                <a:lnTo>
                  <a:pt x="4212475" y="2820149"/>
                </a:lnTo>
                <a:lnTo>
                  <a:pt x="4202519" y="2770835"/>
                </a:lnTo>
                <a:lnTo>
                  <a:pt x="4175391" y="2730563"/>
                </a:lnTo>
                <a:lnTo>
                  <a:pt x="4135132" y="2703423"/>
                </a:lnTo>
                <a:lnTo>
                  <a:pt x="4085818" y="2693466"/>
                </a:lnTo>
                <a:lnTo>
                  <a:pt x="3416541" y="2693466"/>
                </a:lnTo>
                <a:lnTo>
                  <a:pt x="3446754" y="2659380"/>
                </a:lnTo>
                <a:lnTo>
                  <a:pt x="3477958" y="2625026"/>
                </a:lnTo>
                <a:lnTo>
                  <a:pt x="3510102" y="2590444"/>
                </a:lnTo>
                <a:lnTo>
                  <a:pt x="3543135" y="2555608"/>
                </a:lnTo>
                <a:lnTo>
                  <a:pt x="3577018" y="2520543"/>
                </a:lnTo>
                <a:lnTo>
                  <a:pt x="3611702" y="2485263"/>
                </a:lnTo>
                <a:lnTo>
                  <a:pt x="3647122" y="2449753"/>
                </a:lnTo>
                <a:lnTo>
                  <a:pt x="3683254" y="2414041"/>
                </a:lnTo>
                <a:lnTo>
                  <a:pt x="3720046" y="2378125"/>
                </a:lnTo>
                <a:lnTo>
                  <a:pt x="3795395" y="2305697"/>
                </a:lnTo>
                <a:lnTo>
                  <a:pt x="3912184" y="2195715"/>
                </a:lnTo>
                <a:lnTo>
                  <a:pt x="4351325" y="1789176"/>
                </a:lnTo>
                <a:lnTo>
                  <a:pt x="4468863" y="1678254"/>
                </a:lnTo>
                <a:lnTo>
                  <a:pt x="4546206" y="1603908"/>
                </a:lnTo>
                <a:lnTo>
                  <a:pt x="4584484" y="1566621"/>
                </a:lnTo>
                <a:lnTo>
                  <a:pt x="4622444" y="1529245"/>
                </a:lnTo>
                <a:lnTo>
                  <a:pt x="4660087" y="1491767"/>
                </a:lnTo>
                <a:lnTo>
                  <a:pt x="4697361" y="1454213"/>
                </a:lnTo>
                <a:lnTo>
                  <a:pt x="4734242" y="1416545"/>
                </a:lnTo>
                <a:lnTo>
                  <a:pt x="4770691" y="1378788"/>
                </a:lnTo>
                <a:lnTo>
                  <a:pt x="4806696" y="1340929"/>
                </a:lnTo>
                <a:lnTo>
                  <a:pt x="4841951" y="1303248"/>
                </a:lnTo>
                <a:lnTo>
                  <a:pt x="4841951" y="573493"/>
                </a:lnTo>
                <a:close/>
              </a:path>
              <a:path w="4842509" h="4803140">
                <a:moveTo>
                  <a:pt x="4841951" y="12"/>
                </a:moveTo>
                <a:lnTo>
                  <a:pt x="4128516" y="12"/>
                </a:lnTo>
                <a:lnTo>
                  <a:pt x="4084472" y="8902"/>
                </a:lnTo>
                <a:lnTo>
                  <a:pt x="4044213" y="36055"/>
                </a:lnTo>
                <a:lnTo>
                  <a:pt x="4017073" y="76327"/>
                </a:lnTo>
                <a:lnTo>
                  <a:pt x="4007129" y="125628"/>
                </a:lnTo>
                <a:lnTo>
                  <a:pt x="4017073" y="174942"/>
                </a:lnTo>
                <a:lnTo>
                  <a:pt x="4044213" y="215214"/>
                </a:lnTo>
                <a:lnTo>
                  <a:pt x="4084472" y="242366"/>
                </a:lnTo>
                <a:lnTo>
                  <a:pt x="4133786" y="252323"/>
                </a:lnTo>
                <a:lnTo>
                  <a:pt x="4841951" y="252323"/>
                </a:lnTo>
                <a:lnTo>
                  <a:pt x="4841951" y="12"/>
                </a:lnTo>
                <a:close/>
              </a:path>
            </a:pathLst>
          </a:custGeom>
          <a:solidFill>
            <a:srgbClr val="00AFFF">
              <a:alpha val="25000"/>
            </a:srgbClr>
          </a:solidFill>
        </p:spPr>
        <p:txBody>
          <a:bodyPr wrap="square" lIns="0" tIns="0" rIns="0" bIns="0" rtlCol="0"/>
          <a:lstStyle/>
          <a:p>
            <a:endParaRPr/>
          </a:p>
        </p:txBody>
      </p:sp>
      <p:grpSp>
        <p:nvGrpSpPr>
          <p:cNvPr id="11" name="Group 10">
            <a:extLst>
              <a:ext uri="{FF2B5EF4-FFF2-40B4-BE49-F238E27FC236}">
                <a16:creationId xmlns:a16="http://schemas.microsoft.com/office/drawing/2014/main" id="{01179DA6-2F44-5B6F-989D-DAE932BB98EB}"/>
              </a:ext>
            </a:extLst>
          </p:cNvPr>
          <p:cNvGrpSpPr/>
          <p:nvPr userDrawn="1"/>
        </p:nvGrpSpPr>
        <p:grpSpPr>
          <a:xfrm>
            <a:off x="0" y="4184585"/>
            <a:ext cx="2767043" cy="2671139"/>
            <a:chOff x="0" y="4184585"/>
            <a:chExt cx="2767043" cy="2671139"/>
          </a:xfrm>
        </p:grpSpPr>
        <p:sp>
          <p:nvSpPr>
            <p:cNvPr id="12" name="bg object 23">
              <a:extLst>
                <a:ext uri="{FF2B5EF4-FFF2-40B4-BE49-F238E27FC236}">
                  <a16:creationId xmlns:a16="http://schemas.microsoft.com/office/drawing/2014/main" id="{012FF536-9F0D-1AF8-B975-16A4030FE206}"/>
                </a:ext>
              </a:extLst>
            </p:cNvPr>
            <p:cNvSpPr/>
            <p:nvPr/>
          </p:nvSpPr>
          <p:spPr>
            <a:xfrm>
              <a:off x="112905" y="6434855"/>
              <a:ext cx="625748" cy="229752"/>
            </a:xfrm>
            <a:custGeom>
              <a:avLst/>
              <a:gdLst/>
              <a:ahLst/>
              <a:cxnLst/>
              <a:rect l="l" t="t" r="r" b="b"/>
              <a:pathLst>
                <a:path w="688975" h="253365">
                  <a:moveTo>
                    <a:pt x="562178" y="0"/>
                  </a:moveTo>
                  <a:lnTo>
                    <a:pt x="126657" y="0"/>
                  </a:lnTo>
                  <a:lnTo>
                    <a:pt x="77340" y="9955"/>
                  </a:lnTo>
                  <a:lnTo>
                    <a:pt x="37082" y="37104"/>
                  </a:lnTo>
                  <a:lnTo>
                    <a:pt x="9947" y="77372"/>
                  </a:lnTo>
                  <a:lnTo>
                    <a:pt x="0" y="126682"/>
                  </a:lnTo>
                  <a:lnTo>
                    <a:pt x="9947" y="175992"/>
                  </a:lnTo>
                  <a:lnTo>
                    <a:pt x="37082" y="216260"/>
                  </a:lnTo>
                  <a:lnTo>
                    <a:pt x="77340" y="243409"/>
                  </a:lnTo>
                  <a:lnTo>
                    <a:pt x="126657" y="253365"/>
                  </a:lnTo>
                  <a:lnTo>
                    <a:pt x="562178" y="253365"/>
                  </a:lnTo>
                  <a:lnTo>
                    <a:pt x="611495" y="243409"/>
                  </a:lnTo>
                  <a:lnTo>
                    <a:pt x="651752" y="216260"/>
                  </a:lnTo>
                  <a:lnTo>
                    <a:pt x="678887" y="175992"/>
                  </a:lnTo>
                  <a:lnTo>
                    <a:pt x="688835" y="126682"/>
                  </a:lnTo>
                  <a:lnTo>
                    <a:pt x="678887" y="77372"/>
                  </a:lnTo>
                  <a:lnTo>
                    <a:pt x="651752" y="37104"/>
                  </a:lnTo>
                  <a:lnTo>
                    <a:pt x="611495" y="9955"/>
                  </a:lnTo>
                  <a:lnTo>
                    <a:pt x="562178" y="0"/>
                  </a:lnTo>
                  <a:close/>
                </a:path>
              </a:pathLst>
            </a:custGeom>
            <a:solidFill>
              <a:srgbClr val="00AFFF">
                <a:alpha val="25000"/>
              </a:srgbClr>
            </a:solidFill>
          </p:spPr>
          <p:txBody>
            <a:bodyPr wrap="square" lIns="0" tIns="0" rIns="0" bIns="0" rtlCol="0"/>
            <a:lstStyle/>
            <a:p>
              <a:endParaRPr/>
            </a:p>
          </p:txBody>
        </p:sp>
        <p:sp>
          <p:nvSpPr>
            <p:cNvPr id="13" name="bg object 24">
              <a:extLst>
                <a:ext uri="{FF2B5EF4-FFF2-40B4-BE49-F238E27FC236}">
                  <a16:creationId xmlns:a16="http://schemas.microsoft.com/office/drawing/2014/main" id="{DC9193E7-CBF6-B6CC-E025-5DABC39F5ECA}"/>
                </a:ext>
              </a:extLst>
            </p:cNvPr>
            <p:cNvSpPr/>
            <p:nvPr/>
          </p:nvSpPr>
          <p:spPr>
            <a:xfrm>
              <a:off x="859747" y="5805431"/>
              <a:ext cx="827026" cy="1050293"/>
            </a:xfrm>
            <a:custGeom>
              <a:avLst/>
              <a:gdLst/>
              <a:ahLst/>
              <a:cxnLst/>
              <a:rect l="l" t="t" r="r" b="b"/>
              <a:pathLst>
                <a:path w="910589" h="1158240">
                  <a:moveTo>
                    <a:pt x="291990" y="0"/>
                  </a:moveTo>
                  <a:lnTo>
                    <a:pt x="246330" y="10089"/>
                  </a:lnTo>
                  <a:lnTo>
                    <a:pt x="204131" y="31774"/>
                  </a:lnTo>
                  <a:lnTo>
                    <a:pt x="167817" y="64816"/>
                  </a:lnTo>
                  <a:lnTo>
                    <a:pt x="141493" y="106257"/>
                  </a:lnTo>
                  <a:lnTo>
                    <a:pt x="127449" y="151637"/>
                  </a:lnTo>
                  <a:lnTo>
                    <a:pt x="125461" y="198494"/>
                  </a:lnTo>
                  <a:lnTo>
                    <a:pt x="135309" y="244368"/>
                  </a:lnTo>
                  <a:lnTo>
                    <a:pt x="156770" y="286798"/>
                  </a:lnTo>
                  <a:lnTo>
                    <a:pt x="189623" y="323324"/>
                  </a:lnTo>
                  <a:lnTo>
                    <a:pt x="197954" y="330740"/>
                  </a:lnTo>
                  <a:lnTo>
                    <a:pt x="215065" y="347032"/>
                  </a:lnTo>
                  <a:lnTo>
                    <a:pt x="269445" y="405507"/>
                  </a:lnTo>
                  <a:lnTo>
                    <a:pt x="303623" y="447320"/>
                  </a:lnTo>
                  <a:lnTo>
                    <a:pt x="340399" y="497272"/>
                  </a:lnTo>
                  <a:lnTo>
                    <a:pt x="378225" y="555177"/>
                  </a:lnTo>
                  <a:lnTo>
                    <a:pt x="415557" y="620853"/>
                  </a:lnTo>
                  <a:lnTo>
                    <a:pt x="450850" y="694113"/>
                  </a:lnTo>
                  <a:lnTo>
                    <a:pt x="126657" y="694113"/>
                  </a:lnTo>
                  <a:lnTo>
                    <a:pt x="77340" y="704069"/>
                  </a:lnTo>
                  <a:lnTo>
                    <a:pt x="37082" y="731218"/>
                  </a:lnTo>
                  <a:lnTo>
                    <a:pt x="9947" y="771485"/>
                  </a:lnTo>
                  <a:lnTo>
                    <a:pt x="0" y="820796"/>
                  </a:lnTo>
                  <a:lnTo>
                    <a:pt x="9947" y="870106"/>
                  </a:lnTo>
                  <a:lnTo>
                    <a:pt x="37082" y="910374"/>
                  </a:lnTo>
                  <a:lnTo>
                    <a:pt x="77340" y="937523"/>
                  </a:lnTo>
                  <a:lnTo>
                    <a:pt x="126657" y="947478"/>
                  </a:lnTo>
                  <a:lnTo>
                    <a:pt x="527037" y="947478"/>
                  </a:lnTo>
                  <a:lnTo>
                    <a:pt x="534042" y="994520"/>
                  </a:lnTo>
                  <a:lnTo>
                    <a:pt x="539062" y="1043080"/>
                  </a:lnTo>
                  <a:lnTo>
                    <a:pt x="541939" y="1093149"/>
                  </a:lnTo>
                  <a:lnTo>
                    <a:pt x="542511" y="1144718"/>
                  </a:lnTo>
                  <a:lnTo>
                    <a:pt x="542041" y="1157905"/>
                  </a:lnTo>
                  <a:lnTo>
                    <a:pt x="910242" y="1157905"/>
                  </a:lnTo>
                  <a:lnTo>
                    <a:pt x="909792" y="1082442"/>
                  </a:lnTo>
                  <a:lnTo>
                    <a:pt x="905768" y="1011691"/>
                  </a:lnTo>
                  <a:lnTo>
                    <a:pt x="898533" y="943192"/>
                  </a:lnTo>
                  <a:lnTo>
                    <a:pt x="888342" y="876971"/>
                  </a:lnTo>
                  <a:lnTo>
                    <a:pt x="875454" y="813056"/>
                  </a:lnTo>
                  <a:lnTo>
                    <a:pt x="860125" y="751473"/>
                  </a:lnTo>
                  <a:lnTo>
                    <a:pt x="842612" y="692250"/>
                  </a:lnTo>
                  <a:lnTo>
                    <a:pt x="823173" y="635413"/>
                  </a:lnTo>
                  <a:lnTo>
                    <a:pt x="802063" y="580991"/>
                  </a:lnTo>
                  <a:lnTo>
                    <a:pt x="779541" y="529010"/>
                  </a:lnTo>
                  <a:lnTo>
                    <a:pt x="755862" y="479497"/>
                  </a:lnTo>
                  <a:lnTo>
                    <a:pt x="731285" y="432480"/>
                  </a:lnTo>
                  <a:lnTo>
                    <a:pt x="706066" y="387985"/>
                  </a:lnTo>
                  <a:lnTo>
                    <a:pt x="680461" y="346039"/>
                  </a:lnTo>
                  <a:lnTo>
                    <a:pt x="654729" y="306670"/>
                  </a:lnTo>
                  <a:lnTo>
                    <a:pt x="629126" y="269906"/>
                  </a:lnTo>
                  <a:lnTo>
                    <a:pt x="603908" y="235772"/>
                  </a:lnTo>
                  <a:lnTo>
                    <a:pt x="579334" y="204296"/>
                  </a:lnTo>
                  <a:lnTo>
                    <a:pt x="533142" y="149427"/>
                  </a:lnTo>
                  <a:lnTo>
                    <a:pt x="492605" y="105516"/>
                  </a:lnTo>
                  <a:lnTo>
                    <a:pt x="459780" y="72781"/>
                  </a:lnTo>
                  <a:lnTo>
                    <a:pt x="425488" y="41702"/>
                  </a:lnTo>
                  <a:lnTo>
                    <a:pt x="383993" y="15566"/>
                  </a:lnTo>
                  <a:lnTo>
                    <a:pt x="338686" y="1745"/>
                  </a:lnTo>
                  <a:lnTo>
                    <a:pt x="291990" y="0"/>
                  </a:lnTo>
                  <a:close/>
                </a:path>
              </a:pathLst>
            </a:custGeom>
            <a:solidFill>
              <a:srgbClr val="00AFFF">
                <a:alpha val="25000"/>
              </a:srgbClr>
            </a:solidFill>
          </p:spPr>
          <p:txBody>
            <a:bodyPr wrap="square" lIns="0" tIns="0" rIns="0" bIns="0" rtlCol="0"/>
            <a:lstStyle/>
            <a:p>
              <a:endParaRPr/>
            </a:p>
          </p:txBody>
        </p:sp>
        <p:sp>
          <p:nvSpPr>
            <p:cNvPr id="14" name="bg object 25">
              <a:extLst>
                <a:ext uri="{FF2B5EF4-FFF2-40B4-BE49-F238E27FC236}">
                  <a16:creationId xmlns:a16="http://schemas.microsoft.com/office/drawing/2014/main" id="{C1499BA4-E8C7-3B13-EB73-D7E5A024F6F1}"/>
                </a:ext>
              </a:extLst>
            </p:cNvPr>
            <p:cNvSpPr/>
            <p:nvPr/>
          </p:nvSpPr>
          <p:spPr>
            <a:xfrm>
              <a:off x="465830" y="5649760"/>
              <a:ext cx="347766" cy="352401"/>
            </a:xfrm>
            <a:custGeom>
              <a:avLst/>
              <a:gdLst/>
              <a:ahLst/>
              <a:cxnLst/>
              <a:rect l="l" t="t" r="r" b="b"/>
              <a:pathLst>
                <a:path w="382905" h="388620">
                  <a:moveTo>
                    <a:pt x="191198" y="0"/>
                  </a:moveTo>
                  <a:lnTo>
                    <a:pt x="147357" y="5131"/>
                  </a:lnTo>
                  <a:lnTo>
                    <a:pt x="107112" y="19749"/>
                  </a:lnTo>
                  <a:lnTo>
                    <a:pt x="71611" y="42686"/>
                  </a:lnTo>
                  <a:lnTo>
                    <a:pt x="42002" y="72776"/>
                  </a:lnTo>
                  <a:lnTo>
                    <a:pt x="19432" y="108852"/>
                  </a:lnTo>
                  <a:lnTo>
                    <a:pt x="5049" y="149748"/>
                  </a:lnTo>
                  <a:lnTo>
                    <a:pt x="0" y="194297"/>
                  </a:lnTo>
                  <a:lnTo>
                    <a:pt x="5049" y="238850"/>
                  </a:lnTo>
                  <a:lnTo>
                    <a:pt x="19432" y="279750"/>
                  </a:lnTo>
                  <a:lnTo>
                    <a:pt x="42002" y="315828"/>
                  </a:lnTo>
                  <a:lnTo>
                    <a:pt x="71611" y="345919"/>
                  </a:lnTo>
                  <a:lnTo>
                    <a:pt x="107112" y="368857"/>
                  </a:lnTo>
                  <a:lnTo>
                    <a:pt x="147357" y="383475"/>
                  </a:lnTo>
                  <a:lnTo>
                    <a:pt x="191198" y="388607"/>
                  </a:lnTo>
                  <a:lnTo>
                    <a:pt x="235039" y="383475"/>
                  </a:lnTo>
                  <a:lnTo>
                    <a:pt x="275284" y="368857"/>
                  </a:lnTo>
                  <a:lnTo>
                    <a:pt x="310785" y="345919"/>
                  </a:lnTo>
                  <a:lnTo>
                    <a:pt x="340394" y="315828"/>
                  </a:lnTo>
                  <a:lnTo>
                    <a:pt x="362964" y="279750"/>
                  </a:lnTo>
                  <a:lnTo>
                    <a:pt x="377347" y="238850"/>
                  </a:lnTo>
                  <a:lnTo>
                    <a:pt x="382397" y="194297"/>
                  </a:lnTo>
                  <a:lnTo>
                    <a:pt x="377347" y="149748"/>
                  </a:lnTo>
                  <a:lnTo>
                    <a:pt x="362964" y="108852"/>
                  </a:lnTo>
                  <a:lnTo>
                    <a:pt x="340394" y="72776"/>
                  </a:lnTo>
                  <a:lnTo>
                    <a:pt x="310785" y="42686"/>
                  </a:lnTo>
                  <a:lnTo>
                    <a:pt x="275284" y="19749"/>
                  </a:lnTo>
                  <a:lnTo>
                    <a:pt x="235039" y="5131"/>
                  </a:lnTo>
                  <a:lnTo>
                    <a:pt x="191198" y="0"/>
                  </a:lnTo>
                  <a:close/>
                </a:path>
              </a:pathLst>
            </a:custGeom>
            <a:solidFill>
              <a:srgbClr val="00AFFF">
                <a:alpha val="25000"/>
              </a:srgbClr>
            </a:solidFill>
          </p:spPr>
          <p:txBody>
            <a:bodyPr wrap="square" lIns="0" tIns="0" rIns="0" bIns="0" rtlCol="0"/>
            <a:lstStyle/>
            <a:p>
              <a:endParaRPr/>
            </a:p>
          </p:txBody>
        </p:sp>
        <p:sp>
          <p:nvSpPr>
            <p:cNvPr id="15" name="bg object 26">
              <a:extLst>
                <a:ext uri="{FF2B5EF4-FFF2-40B4-BE49-F238E27FC236}">
                  <a16:creationId xmlns:a16="http://schemas.microsoft.com/office/drawing/2014/main" id="{BAF2F270-F520-5256-1A13-88753B966785}"/>
                </a:ext>
              </a:extLst>
            </p:cNvPr>
            <p:cNvSpPr/>
            <p:nvPr/>
          </p:nvSpPr>
          <p:spPr>
            <a:xfrm>
              <a:off x="1538145" y="5485645"/>
              <a:ext cx="347766" cy="352401"/>
            </a:xfrm>
            <a:custGeom>
              <a:avLst/>
              <a:gdLst/>
              <a:ahLst/>
              <a:cxnLst/>
              <a:rect l="l" t="t" r="r" b="b"/>
              <a:pathLst>
                <a:path w="382905" h="388620">
                  <a:moveTo>
                    <a:pt x="191198" y="0"/>
                  </a:moveTo>
                  <a:lnTo>
                    <a:pt x="147357" y="5131"/>
                  </a:lnTo>
                  <a:lnTo>
                    <a:pt x="107112" y="19749"/>
                  </a:lnTo>
                  <a:lnTo>
                    <a:pt x="71611" y="42687"/>
                  </a:lnTo>
                  <a:lnTo>
                    <a:pt x="42002" y="72778"/>
                  </a:lnTo>
                  <a:lnTo>
                    <a:pt x="19432" y="108857"/>
                  </a:lnTo>
                  <a:lnTo>
                    <a:pt x="5049" y="149756"/>
                  </a:lnTo>
                  <a:lnTo>
                    <a:pt x="0" y="194309"/>
                  </a:lnTo>
                  <a:lnTo>
                    <a:pt x="5049" y="238863"/>
                  </a:lnTo>
                  <a:lnTo>
                    <a:pt x="19432" y="279762"/>
                  </a:lnTo>
                  <a:lnTo>
                    <a:pt x="42002" y="315841"/>
                  </a:lnTo>
                  <a:lnTo>
                    <a:pt x="71611" y="345932"/>
                  </a:lnTo>
                  <a:lnTo>
                    <a:pt x="107112" y="368870"/>
                  </a:lnTo>
                  <a:lnTo>
                    <a:pt x="147357" y="383488"/>
                  </a:lnTo>
                  <a:lnTo>
                    <a:pt x="191198" y="388620"/>
                  </a:lnTo>
                  <a:lnTo>
                    <a:pt x="235035" y="383488"/>
                  </a:lnTo>
                  <a:lnTo>
                    <a:pt x="275279" y="368870"/>
                  </a:lnTo>
                  <a:lnTo>
                    <a:pt x="310779" y="345932"/>
                  </a:lnTo>
                  <a:lnTo>
                    <a:pt x="340390" y="315841"/>
                  </a:lnTo>
                  <a:lnTo>
                    <a:pt x="362961" y="279762"/>
                  </a:lnTo>
                  <a:lnTo>
                    <a:pt x="377346" y="238863"/>
                  </a:lnTo>
                  <a:lnTo>
                    <a:pt x="382397" y="194309"/>
                  </a:lnTo>
                  <a:lnTo>
                    <a:pt x="377346" y="149756"/>
                  </a:lnTo>
                  <a:lnTo>
                    <a:pt x="362961" y="108857"/>
                  </a:lnTo>
                  <a:lnTo>
                    <a:pt x="340390" y="72778"/>
                  </a:lnTo>
                  <a:lnTo>
                    <a:pt x="310779" y="42687"/>
                  </a:lnTo>
                  <a:lnTo>
                    <a:pt x="275279" y="19749"/>
                  </a:lnTo>
                  <a:lnTo>
                    <a:pt x="235035" y="5131"/>
                  </a:lnTo>
                  <a:lnTo>
                    <a:pt x="191198" y="0"/>
                  </a:lnTo>
                  <a:close/>
                </a:path>
              </a:pathLst>
            </a:custGeom>
            <a:solidFill>
              <a:srgbClr val="00AFFF">
                <a:alpha val="25000"/>
              </a:srgbClr>
            </a:solidFill>
          </p:spPr>
          <p:txBody>
            <a:bodyPr wrap="square" lIns="0" tIns="0" rIns="0" bIns="0" rtlCol="0"/>
            <a:lstStyle/>
            <a:p>
              <a:endParaRPr/>
            </a:p>
          </p:txBody>
        </p:sp>
        <p:sp>
          <p:nvSpPr>
            <p:cNvPr id="16" name="bg object 27">
              <a:extLst>
                <a:ext uri="{FF2B5EF4-FFF2-40B4-BE49-F238E27FC236}">
                  <a16:creationId xmlns:a16="http://schemas.microsoft.com/office/drawing/2014/main" id="{8680BA9C-5F31-C21D-A980-22CC149FCB08}"/>
                </a:ext>
              </a:extLst>
            </p:cNvPr>
            <p:cNvSpPr/>
            <p:nvPr/>
          </p:nvSpPr>
          <p:spPr>
            <a:xfrm>
              <a:off x="1413231" y="4884901"/>
              <a:ext cx="347766" cy="352401"/>
            </a:xfrm>
            <a:custGeom>
              <a:avLst/>
              <a:gdLst/>
              <a:ahLst/>
              <a:cxnLst/>
              <a:rect l="l" t="t" r="r" b="b"/>
              <a:pathLst>
                <a:path w="382905" h="388620">
                  <a:moveTo>
                    <a:pt x="191198" y="0"/>
                  </a:moveTo>
                  <a:lnTo>
                    <a:pt x="147357" y="5131"/>
                  </a:lnTo>
                  <a:lnTo>
                    <a:pt x="107112" y="19749"/>
                  </a:lnTo>
                  <a:lnTo>
                    <a:pt x="71611" y="42687"/>
                  </a:lnTo>
                  <a:lnTo>
                    <a:pt x="42002" y="72778"/>
                  </a:lnTo>
                  <a:lnTo>
                    <a:pt x="19432" y="108857"/>
                  </a:lnTo>
                  <a:lnTo>
                    <a:pt x="5049" y="149756"/>
                  </a:lnTo>
                  <a:lnTo>
                    <a:pt x="0" y="194310"/>
                  </a:lnTo>
                  <a:lnTo>
                    <a:pt x="5049" y="238863"/>
                  </a:lnTo>
                  <a:lnTo>
                    <a:pt x="19432" y="279762"/>
                  </a:lnTo>
                  <a:lnTo>
                    <a:pt x="42002" y="315841"/>
                  </a:lnTo>
                  <a:lnTo>
                    <a:pt x="71611" y="345932"/>
                  </a:lnTo>
                  <a:lnTo>
                    <a:pt x="107112" y="368870"/>
                  </a:lnTo>
                  <a:lnTo>
                    <a:pt x="147357" y="383488"/>
                  </a:lnTo>
                  <a:lnTo>
                    <a:pt x="191198" y="388620"/>
                  </a:lnTo>
                  <a:lnTo>
                    <a:pt x="235039" y="383488"/>
                  </a:lnTo>
                  <a:lnTo>
                    <a:pt x="275284" y="368870"/>
                  </a:lnTo>
                  <a:lnTo>
                    <a:pt x="310785" y="345932"/>
                  </a:lnTo>
                  <a:lnTo>
                    <a:pt x="340394" y="315841"/>
                  </a:lnTo>
                  <a:lnTo>
                    <a:pt x="362964" y="279762"/>
                  </a:lnTo>
                  <a:lnTo>
                    <a:pt x="377347" y="238863"/>
                  </a:lnTo>
                  <a:lnTo>
                    <a:pt x="382397" y="194310"/>
                  </a:lnTo>
                  <a:lnTo>
                    <a:pt x="377347" y="149756"/>
                  </a:lnTo>
                  <a:lnTo>
                    <a:pt x="362964" y="108857"/>
                  </a:lnTo>
                  <a:lnTo>
                    <a:pt x="340394" y="72778"/>
                  </a:lnTo>
                  <a:lnTo>
                    <a:pt x="310785" y="42687"/>
                  </a:lnTo>
                  <a:lnTo>
                    <a:pt x="275284" y="19749"/>
                  </a:lnTo>
                  <a:lnTo>
                    <a:pt x="235039" y="5131"/>
                  </a:lnTo>
                  <a:lnTo>
                    <a:pt x="191198" y="0"/>
                  </a:lnTo>
                  <a:close/>
                </a:path>
              </a:pathLst>
            </a:custGeom>
            <a:solidFill>
              <a:srgbClr val="00AFFF">
                <a:alpha val="25000"/>
              </a:srgbClr>
            </a:solidFill>
          </p:spPr>
          <p:txBody>
            <a:bodyPr wrap="square" lIns="0" tIns="0" rIns="0" bIns="0" rtlCol="0"/>
            <a:lstStyle/>
            <a:p>
              <a:endParaRPr/>
            </a:p>
          </p:txBody>
        </p:sp>
        <p:sp>
          <p:nvSpPr>
            <p:cNvPr id="17" name="bg object 28">
              <a:extLst>
                <a:ext uri="{FF2B5EF4-FFF2-40B4-BE49-F238E27FC236}">
                  <a16:creationId xmlns:a16="http://schemas.microsoft.com/office/drawing/2014/main" id="{764DA62F-52BC-833A-C4DD-A842EB4C2F92}"/>
                </a:ext>
              </a:extLst>
            </p:cNvPr>
            <p:cNvSpPr/>
            <p:nvPr/>
          </p:nvSpPr>
          <p:spPr>
            <a:xfrm>
              <a:off x="745586" y="5027755"/>
              <a:ext cx="416397" cy="422651"/>
            </a:xfrm>
            <a:custGeom>
              <a:avLst/>
              <a:gdLst/>
              <a:ahLst/>
              <a:cxnLst/>
              <a:rect l="l" t="t" r="r" b="b"/>
              <a:pathLst>
                <a:path w="458469" h="466089">
                  <a:moveTo>
                    <a:pt x="229044" y="0"/>
                  </a:moveTo>
                  <a:lnTo>
                    <a:pt x="182885" y="4728"/>
                  </a:lnTo>
                  <a:lnTo>
                    <a:pt x="139892" y="18290"/>
                  </a:lnTo>
                  <a:lnTo>
                    <a:pt x="100986" y="39750"/>
                  </a:lnTo>
                  <a:lnTo>
                    <a:pt x="67087" y="68172"/>
                  </a:lnTo>
                  <a:lnTo>
                    <a:pt x="39118" y="102620"/>
                  </a:lnTo>
                  <a:lnTo>
                    <a:pt x="18000" y="142158"/>
                  </a:lnTo>
                  <a:lnTo>
                    <a:pt x="4653" y="185852"/>
                  </a:lnTo>
                  <a:lnTo>
                    <a:pt x="0" y="232765"/>
                  </a:lnTo>
                  <a:lnTo>
                    <a:pt x="4653" y="279679"/>
                  </a:lnTo>
                  <a:lnTo>
                    <a:pt x="18000" y="323374"/>
                  </a:lnTo>
                  <a:lnTo>
                    <a:pt x="39118" y="362915"/>
                  </a:lnTo>
                  <a:lnTo>
                    <a:pt x="67087" y="397365"/>
                  </a:lnTo>
                  <a:lnTo>
                    <a:pt x="100986" y="425789"/>
                  </a:lnTo>
                  <a:lnTo>
                    <a:pt x="139892" y="447251"/>
                  </a:lnTo>
                  <a:lnTo>
                    <a:pt x="182885" y="460814"/>
                  </a:lnTo>
                  <a:lnTo>
                    <a:pt x="229044" y="465543"/>
                  </a:lnTo>
                  <a:lnTo>
                    <a:pt x="275207" y="460814"/>
                  </a:lnTo>
                  <a:lnTo>
                    <a:pt x="318203" y="447251"/>
                  </a:lnTo>
                  <a:lnTo>
                    <a:pt x="357112" y="425789"/>
                  </a:lnTo>
                  <a:lnTo>
                    <a:pt x="391012" y="397365"/>
                  </a:lnTo>
                  <a:lnTo>
                    <a:pt x="418982" y="362915"/>
                  </a:lnTo>
                  <a:lnTo>
                    <a:pt x="440101" y="323374"/>
                  </a:lnTo>
                  <a:lnTo>
                    <a:pt x="453448" y="279679"/>
                  </a:lnTo>
                  <a:lnTo>
                    <a:pt x="458101" y="232765"/>
                  </a:lnTo>
                  <a:lnTo>
                    <a:pt x="453448" y="185852"/>
                  </a:lnTo>
                  <a:lnTo>
                    <a:pt x="440101" y="142158"/>
                  </a:lnTo>
                  <a:lnTo>
                    <a:pt x="418982" y="102620"/>
                  </a:lnTo>
                  <a:lnTo>
                    <a:pt x="391012" y="68172"/>
                  </a:lnTo>
                  <a:lnTo>
                    <a:pt x="357112" y="39750"/>
                  </a:lnTo>
                  <a:lnTo>
                    <a:pt x="318203" y="18290"/>
                  </a:lnTo>
                  <a:lnTo>
                    <a:pt x="275207" y="4728"/>
                  </a:lnTo>
                  <a:lnTo>
                    <a:pt x="229044" y="0"/>
                  </a:lnTo>
                  <a:close/>
                </a:path>
              </a:pathLst>
            </a:custGeom>
            <a:solidFill>
              <a:srgbClr val="00AFFF">
                <a:alpha val="25000"/>
              </a:srgbClr>
            </a:solidFill>
          </p:spPr>
          <p:txBody>
            <a:bodyPr wrap="square" lIns="0" tIns="0" rIns="0" bIns="0" rtlCol="0"/>
            <a:lstStyle/>
            <a:p>
              <a:endParaRPr/>
            </a:p>
          </p:txBody>
        </p:sp>
        <p:sp>
          <p:nvSpPr>
            <p:cNvPr id="18" name="bg object 29">
              <a:extLst>
                <a:ext uri="{FF2B5EF4-FFF2-40B4-BE49-F238E27FC236}">
                  <a16:creationId xmlns:a16="http://schemas.microsoft.com/office/drawing/2014/main" id="{3E3A813A-BC09-90A1-0126-A506AD1F20D3}"/>
                </a:ext>
              </a:extLst>
            </p:cNvPr>
            <p:cNvSpPr/>
            <p:nvPr/>
          </p:nvSpPr>
          <p:spPr>
            <a:xfrm>
              <a:off x="2123992" y="5971316"/>
              <a:ext cx="643051" cy="652403"/>
            </a:xfrm>
            <a:custGeom>
              <a:avLst/>
              <a:gdLst/>
              <a:ahLst/>
              <a:cxnLst/>
              <a:rect l="l" t="t" r="r" b="b"/>
              <a:pathLst>
                <a:path w="708025" h="719454">
                  <a:moveTo>
                    <a:pt x="353898" y="0"/>
                  </a:moveTo>
                  <a:lnTo>
                    <a:pt x="305876" y="3283"/>
                  </a:lnTo>
                  <a:lnTo>
                    <a:pt x="259817" y="12847"/>
                  </a:lnTo>
                  <a:lnTo>
                    <a:pt x="216144" y="28263"/>
                  </a:lnTo>
                  <a:lnTo>
                    <a:pt x="175278" y="49103"/>
                  </a:lnTo>
                  <a:lnTo>
                    <a:pt x="137641" y="74938"/>
                  </a:lnTo>
                  <a:lnTo>
                    <a:pt x="103654" y="105340"/>
                  </a:lnTo>
                  <a:lnTo>
                    <a:pt x="73739" y="139879"/>
                  </a:lnTo>
                  <a:lnTo>
                    <a:pt x="48317" y="178129"/>
                  </a:lnTo>
                  <a:lnTo>
                    <a:pt x="27811" y="219659"/>
                  </a:lnTo>
                  <a:lnTo>
                    <a:pt x="12641" y="264042"/>
                  </a:lnTo>
                  <a:lnTo>
                    <a:pt x="3230" y="310849"/>
                  </a:lnTo>
                  <a:lnTo>
                    <a:pt x="0" y="359651"/>
                  </a:lnTo>
                  <a:lnTo>
                    <a:pt x="3230" y="408453"/>
                  </a:lnTo>
                  <a:lnTo>
                    <a:pt x="12641" y="455260"/>
                  </a:lnTo>
                  <a:lnTo>
                    <a:pt x="27811" y="499643"/>
                  </a:lnTo>
                  <a:lnTo>
                    <a:pt x="48317" y="541173"/>
                  </a:lnTo>
                  <a:lnTo>
                    <a:pt x="73739" y="579422"/>
                  </a:lnTo>
                  <a:lnTo>
                    <a:pt x="103654" y="613962"/>
                  </a:lnTo>
                  <a:lnTo>
                    <a:pt x="137641" y="644364"/>
                  </a:lnTo>
                  <a:lnTo>
                    <a:pt x="175278" y="670199"/>
                  </a:lnTo>
                  <a:lnTo>
                    <a:pt x="216144" y="691039"/>
                  </a:lnTo>
                  <a:lnTo>
                    <a:pt x="259817" y="706455"/>
                  </a:lnTo>
                  <a:lnTo>
                    <a:pt x="305876" y="716019"/>
                  </a:lnTo>
                  <a:lnTo>
                    <a:pt x="353898" y="719302"/>
                  </a:lnTo>
                  <a:lnTo>
                    <a:pt x="401920" y="716019"/>
                  </a:lnTo>
                  <a:lnTo>
                    <a:pt x="447978" y="706455"/>
                  </a:lnTo>
                  <a:lnTo>
                    <a:pt x="491651" y="691039"/>
                  </a:lnTo>
                  <a:lnTo>
                    <a:pt x="532517" y="670199"/>
                  </a:lnTo>
                  <a:lnTo>
                    <a:pt x="570155" y="644364"/>
                  </a:lnTo>
                  <a:lnTo>
                    <a:pt x="604142" y="613962"/>
                  </a:lnTo>
                  <a:lnTo>
                    <a:pt x="634057" y="579422"/>
                  </a:lnTo>
                  <a:lnTo>
                    <a:pt x="659479" y="541173"/>
                  </a:lnTo>
                  <a:lnTo>
                    <a:pt x="679985" y="499643"/>
                  </a:lnTo>
                  <a:lnTo>
                    <a:pt x="695154" y="455260"/>
                  </a:lnTo>
                  <a:lnTo>
                    <a:pt x="704565" y="408453"/>
                  </a:lnTo>
                  <a:lnTo>
                    <a:pt x="707796" y="359651"/>
                  </a:lnTo>
                  <a:lnTo>
                    <a:pt x="704565" y="310849"/>
                  </a:lnTo>
                  <a:lnTo>
                    <a:pt x="695154" y="264042"/>
                  </a:lnTo>
                  <a:lnTo>
                    <a:pt x="679985" y="219659"/>
                  </a:lnTo>
                  <a:lnTo>
                    <a:pt x="659479" y="178129"/>
                  </a:lnTo>
                  <a:lnTo>
                    <a:pt x="634057" y="139879"/>
                  </a:lnTo>
                  <a:lnTo>
                    <a:pt x="604142" y="105340"/>
                  </a:lnTo>
                  <a:lnTo>
                    <a:pt x="570155" y="74938"/>
                  </a:lnTo>
                  <a:lnTo>
                    <a:pt x="532517" y="49103"/>
                  </a:lnTo>
                  <a:lnTo>
                    <a:pt x="491651" y="28263"/>
                  </a:lnTo>
                  <a:lnTo>
                    <a:pt x="447978" y="12847"/>
                  </a:lnTo>
                  <a:lnTo>
                    <a:pt x="401920" y="3283"/>
                  </a:lnTo>
                  <a:lnTo>
                    <a:pt x="353898" y="0"/>
                  </a:lnTo>
                  <a:close/>
                </a:path>
              </a:pathLst>
            </a:custGeom>
            <a:solidFill>
              <a:srgbClr val="00AFFF">
                <a:alpha val="25000"/>
              </a:srgbClr>
            </a:solidFill>
          </p:spPr>
          <p:txBody>
            <a:bodyPr wrap="square" lIns="0" tIns="0" rIns="0" bIns="0" rtlCol="0"/>
            <a:lstStyle/>
            <a:p>
              <a:endParaRPr/>
            </a:p>
          </p:txBody>
        </p:sp>
        <p:sp>
          <p:nvSpPr>
            <p:cNvPr id="19" name="bg object 30">
              <a:extLst>
                <a:ext uri="{FF2B5EF4-FFF2-40B4-BE49-F238E27FC236}">
                  <a16:creationId xmlns:a16="http://schemas.microsoft.com/office/drawing/2014/main" id="{D80260F0-006F-80ED-A187-F278F9CDEA7B}"/>
                </a:ext>
              </a:extLst>
            </p:cNvPr>
            <p:cNvSpPr/>
            <p:nvPr/>
          </p:nvSpPr>
          <p:spPr>
            <a:xfrm>
              <a:off x="528270" y="4184585"/>
              <a:ext cx="536933" cy="545300"/>
            </a:xfrm>
            <a:custGeom>
              <a:avLst/>
              <a:gdLst/>
              <a:ahLst/>
              <a:cxnLst/>
              <a:rect l="l" t="t" r="r" b="b"/>
              <a:pathLst>
                <a:path w="591185" h="601345">
                  <a:moveTo>
                    <a:pt x="295554" y="0"/>
                  </a:moveTo>
                  <a:lnTo>
                    <a:pt x="247613" y="3930"/>
                  </a:lnTo>
                  <a:lnTo>
                    <a:pt x="202135" y="15311"/>
                  </a:lnTo>
                  <a:lnTo>
                    <a:pt x="159728" y="33523"/>
                  </a:lnTo>
                  <a:lnTo>
                    <a:pt x="121002" y="57949"/>
                  </a:lnTo>
                  <a:lnTo>
                    <a:pt x="86564" y="87969"/>
                  </a:lnTo>
                  <a:lnTo>
                    <a:pt x="57024" y="122966"/>
                  </a:lnTo>
                  <a:lnTo>
                    <a:pt x="32988" y="162321"/>
                  </a:lnTo>
                  <a:lnTo>
                    <a:pt x="15067" y="205417"/>
                  </a:lnTo>
                  <a:lnTo>
                    <a:pt x="3868" y="251634"/>
                  </a:lnTo>
                  <a:lnTo>
                    <a:pt x="0" y="300355"/>
                  </a:lnTo>
                  <a:lnTo>
                    <a:pt x="3868" y="349075"/>
                  </a:lnTo>
                  <a:lnTo>
                    <a:pt x="15067" y="395294"/>
                  </a:lnTo>
                  <a:lnTo>
                    <a:pt x="32988" y="438390"/>
                  </a:lnTo>
                  <a:lnTo>
                    <a:pt x="57024" y="477747"/>
                  </a:lnTo>
                  <a:lnTo>
                    <a:pt x="86564" y="512746"/>
                  </a:lnTo>
                  <a:lnTo>
                    <a:pt x="121002" y="542768"/>
                  </a:lnTo>
                  <a:lnTo>
                    <a:pt x="159728" y="567195"/>
                  </a:lnTo>
                  <a:lnTo>
                    <a:pt x="202135" y="585409"/>
                  </a:lnTo>
                  <a:lnTo>
                    <a:pt x="247613" y="596791"/>
                  </a:lnTo>
                  <a:lnTo>
                    <a:pt x="295554" y="600722"/>
                  </a:lnTo>
                  <a:lnTo>
                    <a:pt x="343495" y="596791"/>
                  </a:lnTo>
                  <a:lnTo>
                    <a:pt x="388973" y="585409"/>
                  </a:lnTo>
                  <a:lnTo>
                    <a:pt x="431379" y="567195"/>
                  </a:lnTo>
                  <a:lnTo>
                    <a:pt x="470106" y="542768"/>
                  </a:lnTo>
                  <a:lnTo>
                    <a:pt x="504544" y="512746"/>
                  </a:lnTo>
                  <a:lnTo>
                    <a:pt x="534084" y="477747"/>
                  </a:lnTo>
                  <a:lnTo>
                    <a:pt x="558120" y="438390"/>
                  </a:lnTo>
                  <a:lnTo>
                    <a:pt x="576041" y="395294"/>
                  </a:lnTo>
                  <a:lnTo>
                    <a:pt x="587240" y="349075"/>
                  </a:lnTo>
                  <a:lnTo>
                    <a:pt x="591108" y="300355"/>
                  </a:lnTo>
                  <a:lnTo>
                    <a:pt x="587240" y="251634"/>
                  </a:lnTo>
                  <a:lnTo>
                    <a:pt x="576041" y="205417"/>
                  </a:lnTo>
                  <a:lnTo>
                    <a:pt x="558120" y="162321"/>
                  </a:lnTo>
                  <a:lnTo>
                    <a:pt x="534084" y="122966"/>
                  </a:lnTo>
                  <a:lnTo>
                    <a:pt x="504544" y="87969"/>
                  </a:lnTo>
                  <a:lnTo>
                    <a:pt x="470106" y="57949"/>
                  </a:lnTo>
                  <a:lnTo>
                    <a:pt x="431379" y="33523"/>
                  </a:lnTo>
                  <a:lnTo>
                    <a:pt x="388973" y="15311"/>
                  </a:lnTo>
                  <a:lnTo>
                    <a:pt x="343495" y="3930"/>
                  </a:lnTo>
                  <a:lnTo>
                    <a:pt x="295554" y="0"/>
                  </a:lnTo>
                  <a:close/>
                </a:path>
              </a:pathLst>
            </a:custGeom>
            <a:solidFill>
              <a:srgbClr val="00AFFF">
                <a:alpha val="25000"/>
              </a:srgbClr>
            </a:solidFill>
          </p:spPr>
          <p:txBody>
            <a:bodyPr wrap="square" lIns="0" tIns="0" rIns="0" bIns="0" rtlCol="0"/>
            <a:lstStyle/>
            <a:p>
              <a:endParaRPr/>
            </a:p>
          </p:txBody>
        </p:sp>
        <p:sp>
          <p:nvSpPr>
            <p:cNvPr id="20" name="bg object 31">
              <a:extLst>
                <a:ext uri="{FF2B5EF4-FFF2-40B4-BE49-F238E27FC236}">
                  <a16:creationId xmlns:a16="http://schemas.microsoft.com/office/drawing/2014/main" id="{E23A1099-90BC-41AF-13CD-F62E1BE0DB67}"/>
                </a:ext>
              </a:extLst>
            </p:cNvPr>
            <p:cNvSpPr/>
            <p:nvPr/>
          </p:nvSpPr>
          <p:spPr>
            <a:xfrm>
              <a:off x="0" y="4190048"/>
              <a:ext cx="326428" cy="1775824"/>
            </a:xfrm>
            <a:custGeom>
              <a:avLst/>
              <a:gdLst/>
              <a:ahLst/>
              <a:cxnLst/>
              <a:rect l="l" t="t" r="r" b="b"/>
              <a:pathLst>
                <a:path w="359410" h="1958340">
                  <a:moveTo>
                    <a:pt x="0" y="0"/>
                  </a:moveTo>
                  <a:lnTo>
                    <a:pt x="0" y="1957935"/>
                  </a:lnTo>
                  <a:lnTo>
                    <a:pt x="27343" y="1918542"/>
                  </a:lnTo>
                  <a:lnTo>
                    <a:pt x="53873" y="1878921"/>
                  </a:lnTo>
                  <a:lnTo>
                    <a:pt x="79503" y="1839152"/>
                  </a:lnTo>
                  <a:lnTo>
                    <a:pt x="104202" y="1799230"/>
                  </a:lnTo>
                  <a:lnTo>
                    <a:pt x="127941" y="1759153"/>
                  </a:lnTo>
                  <a:lnTo>
                    <a:pt x="150691" y="1718918"/>
                  </a:lnTo>
                  <a:lnTo>
                    <a:pt x="172420" y="1678522"/>
                  </a:lnTo>
                  <a:lnTo>
                    <a:pt x="193101" y="1637961"/>
                  </a:lnTo>
                  <a:lnTo>
                    <a:pt x="212701" y="1597233"/>
                  </a:lnTo>
                  <a:lnTo>
                    <a:pt x="231193" y="1556334"/>
                  </a:lnTo>
                  <a:lnTo>
                    <a:pt x="248546" y="1515262"/>
                  </a:lnTo>
                  <a:lnTo>
                    <a:pt x="264730" y="1474013"/>
                  </a:lnTo>
                  <a:lnTo>
                    <a:pt x="279716" y="1432583"/>
                  </a:lnTo>
                  <a:lnTo>
                    <a:pt x="293473" y="1390971"/>
                  </a:lnTo>
                  <a:lnTo>
                    <a:pt x="305972" y="1349173"/>
                  </a:lnTo>
                  <a:lnTo>
                    <a:pt x="317182" y="1307186"/>
                  </a:lnTo>
                  <a:lnTo>
                    <a:pt x="327075" y="1265006"/>
                  </a:lnTo>
                  <a:lnTo>
                    <a:pt x="335620" y="1222631"/>
                  </a:lnTo>
                  <a:lnTo>
                    <a:pt x="342788" y="1180057"/>
                  </a:lnTo>
                  <a:lnTo>
                    <a:pt x="348549" y="1137282"/>
                  </a:lnTo>
                  <a:lnTo>
                    <a:pt x="355702" y="1059942"/>
                  </a:lnTo>
                  <a:lnTo>
                    <a:pt x="358873" y="984771"/>
                  </a:lnTo>
                  <a:lnTo>
                    <a:pt x="358318" y="911798"/>
                  </a:lnTo>
                  <a:lnTo>
                    <a:pt x="354295" y="841048"/>
                  </a:lnTo>
                  <a:lnTo>
                    <a:pt x="347060" y="772550"/>
                  </a:lnTo>
                  <a:lnTo>
                    <a:pt x="336870" y="706330"/>
                  </a:lnTo>
                  <a:lnTo>
                    <a:pt x="323983" y="642415"/>
                  </a:lnTo>
                  <a:lnTo>
                    <a:pt x="308655" y="580833"/>
                  </a:lnTo>
                  <a:lnTo>
                    <a:pt x="291143" y="521610"/>
                  </a:lnTo>
                  <a:lnTo>
                    <a:pt x="271705" y="464775"/>
                  </a:lnTo>
                  <a:lnTo>
                    <a:pt x="250596" y="410353"/>
                  </a:lnTo>
                  <a:lnTo>
                    <a:pt x="228075" y="358372"/>
                  </a:lnTo>
                  <a:lnTo>
                    <a:pt x="204398" y="308860"/>
                  </a:lnTo>
                  <a:lnTo>
                    <a:pt x="179822" y="261843"/>
                  </a:lnTo>
                  <a:lnTo>
                    <a:pt x="154604" y="217348"/>
                  </a:lnTo>
                  <a:lnTo>
                    <a:pt x="129001" y="175403"/>
                  </a:lnTo>
                  <a:lnTo>
                    <a:pt x="103270" y="136034"/>
                  </a:lnTo>
                  <a:lnTo>
                    <a:pt x="77668" y="99270"/>
                  </a:lnTo>
                  <a:lnTo>
                    <a:pt x="52451" y="65136"/>
                  </a:lnTo>
                  <a:lnTo>
                    <a:pt x="27878" y="33660"/>
                  </a:lnTo>
                  <a:lnTo>
                    <a:pt x="0" y="0"/>
                  </a:lnTo>
                  <a:close/>
                </a:path>
              </a:pathLst>
            </a:custGeom>
            <a:solidFill>
              <a:srgbClr val="00AFFF">
                <a:alpha val="25000"/>
              </a:srgbClr>
            </a:solidFill>
          </p:spPr>
          <p:txBody>
            <a:bodyPr wrap="square" lIns="0" tIns="0" rIns="0" bIns="0" rtlCol="0"/>
            <a:lstStyle/>
            <a:p>
              <a:endParaRPr/>
            </a:p>
          </p:txBody>
        </p:sp>
      </p:grpSp>
      <p:sp>
        <p:nvSpPr>
          <p:cNvPr id="5" name="Footer Placeholder 4">
            <a:extLst>
              <a:ext uri="{FF2B5EF4-FFF2-40B4-BE49-F238E27FC236}">
                <a16:creationId xmlns:a16="http://schemas.microsoft.com/office/drawing/2014/main" id="{2D70901D-0772-6483-D106-1C6C5F3B0F1C}"/>
              </a:ext>
            </a:extLst>
          </p:cNvPr>
          <p:cNvSpPr>
            <a:spLocks noGrp="1"/>
          </p:cNvSpPr>
          <p:nvPr>
            <p:ph type="ftr" sz="quarter" idx="11"/>
          </p:nvPr>
        </p:nvSpPr>
        <p:spPr>
          <a:xfrm>
            <a:off x="777696" y="6114954"/>
            <a:ext cx="8878211" cy="365125"/>
          </a:xfrm>
          <a:prstGeom prst="rect">
            <a:avLst/>
          </a:prstGeom>
        </p:spPr>
        <p:txBody>
          <a:bodyPr/>
          <a:lstStyle>
            <a:lvl1pPr>
              <a:defRPr>
                <a:solidFill>
                  <a:schemeClr val="tx2"/>
                </a:solidFill>
              </a:defRPr>
            </a:lvl1pPr>
          </a:lstStyle>
          <a:p>
            <a:endParaRPr lang="en-GB" dirty="0"/>
          </a:p>
        </p:txBody>
      </p:sp>
      <p:sp>
        <p:nvSpPr>
          <p:cNvPr id="2" name="Title 1">
            <a:extLst>
              <a:ext uri="{FF2B5EF4-FFF2-40B4-BE49-F238E27FC236}">
                <a16:creationId xmlns:a16="http://schemas.microsoft.com/office/drawing/2014/main" id="{440E5D39-85A3-5569-2D74-ED9FD02ED54A}"/>
              </a:ext>
            </a:extLst>
          </p:cNvPr>
          <p:cNvSpPr>
            <a:spLocks noGrp="1"/>
          </p:cNvSpPr>
          <p:nvPr>
            <p:ph type="title"/>
          </p:nvPr>
        </p:nvSpPr>
        <p:spPr>
          <a:xfrm>
            <a:off x="738653" y="365125"/>
            <a:ext cx="8547587" cy="1325563"/>
          </a:xfrm>
        </p:spPr>
        <p:txBody>
          <a:bodyPr>
            <a:normAutofit/>
          </a:bodyPr>
          <a:lstStyle>
            <a:lvl1pPr>
              <a:defRPr sz="4400">
                <a:solidFill>
                  <a:schemeClr val="bg2"/>
                </a:solidFill>
              </a:defRPr>
            </a:lvl1pPr>
          </a:lstStyle>
          <a:p>
            <a:r>
              <a:rPr lang="en-GB"/>
              <a:t>Click to edit Master title style</a:t>
            </a:r>
            <a:endParaRPr lang="en-GB" dirty="0"/>
          </a:p>
        </p:txBody>
      </p:sp>
      <p:pic>
        <p:nvPicPr>
          <p:cNvPr id="22" name="Picture 21" descr="A picture containing text&#10;&#10;Description automatically generated">
            <a:extLst>
              <a:ext uri="{FF2B5EF4-FFF2-40B4-BE49-F238E27FC236}">
                <a16:creationId xmlns:a16="http://schemas.microsoft.com/office/drawing/2014/main" id="{2FB7BBB5-8E7B-2C74-9A01-95D1F0F194B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58512" y="5755005"/>
            <a:ext cx="887325" cy="866809"/>
          </a:xfrm>
          <a:prstGeom prst="rect">
            <a:avLst/>
          </a:prstGeom>
        </p:spPr>
      </p:pic>
      <p:sp>
        <p:nvSpPr>
          <p:cNvPr id="21" name="Content Placeholder 2">
            <a:extLst>
              <a:ext uri="{FF2B5EF4-FFF2-40B4-BE49-F238E27FC236}">
                <a16:creationId xmlns:a16="http://schemas.microsoft.com/office/drawing/2014/main" id="{8EC3E5FD-9CD6-C249-C704-5CED90A6A4B1}"/>
              </a:ext>
            </a:extLst>
          </p:cNvPr>
          <p:cNvSpPr>
            <a:spLocks noGrp="1"/>
          </p:cNvSpPr>
          <p:nvPr>
            <p:ph idx="1"/>
          </p:nvPr>
        </p:nvSpPr>
        <p:spPr>
          <a:xfrm>
            <a:off x="751840" y="1825625"/>
            <a:ext cx="8536539" cy="3772535"/>
          </a:xfrm>
          <a:prstGeom prst="rect">
            <a:avLst/>
          </a:prstGeom>
        </p:spPr>
        <p:txBody>
          <a:bodyPr/>
          <a:lstStyle>
            <a:lvl1pPr marL="342900" indent="-342900">
              <a:buClr>
                <a:schemeClr val="tx2"/>
              </a:buClr>
              <a:buFont typeface="Arial" panose="020B0604020202020204" pitchFamily="34" charset="0"/>
              <a:buChar char="•"/>
              <a:defRPr>
                <a:solidFill>
                  <a:schemeClr val="bg1"/>
                </a:solidFill>
                <a:latin typeface="Quicksand" pitchFamily="2" charset="0"/>
              </a:defRPr>
            </a:lvl1pPr>
            <a:lvl2pPr marL="684000" indent="-182563">
              <a:buClr>
                <a:schemeClr val="tx2"/>
              </a:buClr>
              <a:buFont typeface="System Font Regular"/>
              <a:buChar char="-"/>
              <a:defRPr>
                <a:solidFill>
                  <a:schemeClr val="bg1"/>
                </a:solidFill>
                <a:latin typeface="Quicksand" pitchFamily="2" charset="0"/>
              </a:defRPr>
            </a:lvl2pPr>
            <a:lvl3pPr marL="1368000" indent="-182563">
              <a:buClr>
                <a:schemeClr val="tx2"/>
              </a:buClr>
              <a:buFont typeface="Arial" panose="020B0604020202020204" pitchFamily="34" charset="0"/>
              <a:buChar char="•"/>
              <a:defRPr>
                <a:solidFill>
                  <a:schemeClr val="bg1"/>
                </a:solidFill>
                <a:latin typeface="Quicksand" pitchFamily="2" charset="0"/>
              </a:defRPr>
            </a:lvl3pPr>
            <a:lvl4pPr marL="2052000" indent="-182563">
              <a:buClr>
                <a:schemeClr val="tx2"/>
              </a:buClr>
              <a:buFont typeface="System Font Regular"/>
              <a:buChar char="-"/>
              <a:defRPr>
                <a:solidFill>
                  <a:schemeClr val="bg1"/>
                </a:solidFill>
                <a:latin typeface="Quicksand" pitchFamily="2" charset="0"/>
              </a:defRPr>
            </a:lvl4pPr>
            <a:lvl5pPr marL="2736000" indent="-182563">
              <a:buClr>
                <a:schemeClr val="tx2"/>
              </a:buClr>
              <a:buFont typeface="Arial" panose="020B0604020202020204" pitchFamily="34" charset="0"/>
              <a:buChar char="•"/>
              <a:defRPr>
                <a:solidFill>
                  <a:schemeClr val="bg1"/>
                </a:solidFill>
                <a:latin typeface="Quicksand"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8638098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2592DBB-3127-B9DA-A8ED-74612E741753}"/>
              </a:ext>
            </a:extLst>
          </p:cNvPr>
          <p:cNvSpPr>
            <a:spLocks noGrp="1"/>
          </p:cNvSpPr>
          <p:nvPr>
            <p:ph type="ftr" sz="quarter" idx="11"/>
          </p:nvPr>
        </p:nvSpPr>
        <p:spPr>
          <a:xfrm>
            <a:off x="741680" y="6311900"/>
            <a:ext cx="8900160" cy="365125"/>
          </a:xfrm>
          <a:prstGeom prst="rect">
            <a:avLst/>
          </a:prstGeom>
        </p:spPr>
        <p:txBody>
          <a:bodyPr/>
          <a:lstStyle/>
          <a:p>
            <a:endParaRPr lang="en-GB" dirty="0"/>
          </a:p>
        </p:txBody>
      </p:sp>
    </p:spTree>
    <p:extLst>
      <p:ext uri="{BB962C8B-B14F-4D97-AF65-F5344CB8AC3E}">
        <p14:creationId xmlns:p14="http://schemas.microsoft.com/office/powerpoint/2010/main" val="268111411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6433C65-4A15-0F40-ABF7-A97AD24BE4BA}" type="datetimeFigureOut">
              <a:rPr kumimoji="0" lang="en-US" sz="1800" b="0" i="0" u="none" strike="noStrike" kern="1200" cap="none" spc="0" normalizeH="0" baseline="0" noProof="0" smtClean="0">
                <a:ln>
                  <a:noFill/>
                </a:ln>
                <a:solidFill>
                  <a:srgbClr val="0C0C0C"/>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Liberia</a:t>
            </a:fld>
            <a:endParaRPr kumimoji="0" lang="en-US" sz="1800" b="0" i="0" u="none" strike="noStrike" kern="1200" cap="none" spc="0" normalizeH="0" baseline="0" noProof="0">
              <a:ln>
                <a:noFill/>
              </a:ln>
              <a:solidFill>
                <a:srgbClr val="0C0C0C"/>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A79D"/>
              </a:solidFill>
              <a:effectLst/>
              <a:uLnTx/>
              <a:uFillTx/>
              <a:latin typeface="Quicksand" pitchFamily="2" charset="0"/>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BF8B233-85DB-E649-9AAA-4E629A683818}" type="slidenum">
              <a:rPr kumimoji="0" lang="en-US" sz="1800" b="0" i="0" u="none" strike="noStrike" kern="1200" cap="none" spc="0" normalizeH="0" baseline="0" noProof="0" smtClean="0">
                <a:ln>
                  <a:noFill/>
                </a:ln>
                <a:solidFill>
                  <a:srgbClr val="0C0C0C"/>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C0C0C"/>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39007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6433C65-4A15-0F40-ABF7-A97AD24BE4BA}" type="datetimeFigureOut">
              <a:rPr kumimoji="0" lang="en-US" sz="1800" b="0" i="0" u="none" strike="noStrike" kern="1200" cap="none" spc="0" normalizeH="0" baseline="0" noProof="0" smtClean="0">
                <a:ln>
                  <a:noFill/>
                </a:ln>
                <a:solidFill>
                  <a:srgbClr val="0C0C0C"/>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Liberia</a:t>
            </a:fld>
            <a:endParaRPr kumimoji="0" lang="en-US" sz="1800" b="0" i="0" u="none" strike="noStrike" kern="1200" cap="none" spc="0" normalizeH="0" baseline="0" noProof="0">
              <a:ln>
                <a:noFill/>
              </a:ln>
              <a:solidFill>
                <a:srgbClr val="0C0C0C"/>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A79D"/>
              </a:solidFill>
              <a:effectLst/>
              <a:uLnTx/>
              <a:uFillTx/>
              <a:latin typeface="Quicksand" pitchFamily="2" charset="0"/>
              <a:ea typeface="+mn-ea"/>
              <a:cs typeface="+mn-cs"/>
            </a:endParaRPr>
          </a:p>
        </p:txBody>
      </p:sp>
      <p:sp>
        <p:nvSpPr>
          <p:cNvPr id="9" name="Slide Number Placeholder 8"/>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BF8B233-85DB-E649-9AAA-4E629A683818}" type="slidenum">
              <a:rPr kumimoji="0" lang="en-US" sz="1800" b="0" i="0" u="none" strike="noStrike" kern="1200" cap="none" spc="0" normalizeH="0" baseline="0" noProof="0" smtClean="0">
                <a:ln>
                  <a:noFill/>
                </a:ln>
                <a:solidFill>
                  <a:srgbClr val="0C0C0C"/>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C0C0C"/>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03240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Red/White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600200"/>
            <a:ext cx="335239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7924800" y="1600200"/>
            <a:ext cx="33532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39C62A9A-2216-F44B-AFF9-136AA601C377}" type="datetime1">
              <a:rPr kumimoji="0" lang="en-US" sz="1800" b="0" i="0" u="none" strike="noStrike" kern="1200" cap="none" spc="0" normalizeH="0" baseline="0" noProof="0" smtClean="0">
                <a:ln>
                  <a:noFill/>
                </a:ln>
                <a:solidFill>
                  <a:srgbClr val="6C6463"/>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3/2023</a:t>
            </a:fld>
            <a:endParaRPr kumimoji="0" lang="en-US" sz="1800" b="0" i="0" u="none" strike="noStrike" kern="1200" cap="none" spc="0" normalizeH="0" baseline="0" noProof="0">
              <a:ln>
                <a:noFill/>
              </a:ln>
              <a:solidFill>
                <a:srgbClr val="6C6463"/>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lvl1pPr>
              <a:defRPr>
                <a:solidFill>
                  <a:srgbClr val="6C646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C6463"/>
                </a:solidFill>
                <a:effectLst/>
                <a:uLnTx/>
                <a:uFillTx/>
                <a:latin typeface="Quicksand" pitchFamily="2" charset="0"/>
                <a:ea typeface="+mn-ea"/>
                <a:cs typeface="+mn-cs"/>
              </a:rPr>
              <a:t>FOOTER GOES HERE</a:t>
            </a:r>
          </a:p>
        </p:txBody>
      </p:sp>
      <p:sp>
        <p:nvSpPr>
          <p:cNvPr id="7" name="Slide Number Placeholder 6"/>
          <p:cNvSpPr>
            <a:spLocks noGrp="1"/>
          </p:cNvSpPr>
          <p:nvPr>
            <p:ph type="sldNum" sz="quarter" idx="12"/>
          </p:nvPr>
        </p:nvSpPr>
        <p:spPr/>
        <p:txBody>
          <a:bodyPr/>
          <a:lstStyle>
            <a:lvl1pPr>
              <a:defRPr>
                <a:solidFill>
                  <a:srgbClr val="6C646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1800" b="0" i="0" u="none" strike="noStrike" kern="1200" cap="none" spc="0" normalizeH="0" baseline="0" noProof="0" smtClean="0">
                <a:ln>
                  <a:noFill/>
                </a:ln>
                <a:solidFill>
                  <a:srgbClr val="6C6463"/>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6C6463"/>
              </a:solidFill>
              <a:effectLst/>
              <a:uLnTx/>
              <a:uFillTx/>
              <a:latin typeface="Calibri" panose="020F0502020204030204"/>
              <a:ea typeface="+mn-ea"/>
              <a:cs typeface="+mn-cs"/>
            </a:endParaRPr>
          </a:p>
        </p:txBody>
      </p:sp>
      <p:sp>
        <p:nvSpPr>
          <p:cNvPr id="9" name="Title 1"/>
          <p:cNvSpPr>
            <a:spLocks noGrp="1"/>
          </p:cNvSpPr>
          <p:nvPr>
            <p:ph type="title" hasCustomPrompt="1"/>
          </p:nvPr>
        </p:nvSpPr>
        <p:spPr>
          <a:xfrm>
            <a:off x="914805" y="848380"/>
            <a:ext cx="10363200" cy="523220"/>
          </a:xfrm>
        </p:spPr>
        <p:txBody>
          <a:bodyPr anchor="b" anchorCtr="0">
            <a:spAutoFit/>
          </a:bodyPr>
          <a:lstStyle>
            <a:lvl1pPr>
              <a:defRPr>
                <a:solidFill>
                  <a:srgbClr val="BA0C2F"/>
                </a:solidFill>
              </a:defRPr>
            </a:lvl1pPr>
          </a:lstStyle>
          <a:p>
            <a:r>
              <a:rPr lang="en-US" dirty="0"/>
              <a:t>CLICK TO EDIT MASTER TITLE STYLE</a:t>
            </a:r>
          </a:p>
        </p:txBody>
      </p:sp>
      <p:sp>
        <p:nvSpPr>
          <p:cNvPr id="10" name="Content Placeholder 3"/>
          <p:cNvSpPr>
            <a:spLocks noGrp="1"/>
          </p:cNvSpPr>
          <p:nvPr>
            <p:ph sz="half" idx="13"/>
          </p:nvPr>
        </p:nvSpPr>
        <p:spPr>
          <a:xfrm>
            <a:off x="4419398" y="1600200"/>
            <a:ext cx="33532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309810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Icon&#10;&#10;Description automatically generated">
            <a:extLst>
              <a:ext uri="{FF2B5EF4-FFF2-40B4-BE49-F238E27FC236}">
                <a16:creationId xmlns:a16="http://schemas.microsoft.com/office/drawing/2014/main" id="{5602DFDE-91C8-1198-84C9-6B47DF32E1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54"/>
            <a:ext cx="12191999" cy="6859908"/>
          </a:xfrm>
          <a:prstGeom prst="rect">
            <a:avLst/>
          </a:prstGeom>
        </p:spPr>
      </p:pic>
      <p:sp>
        <p:nvSpPr>
          <p:cNvPr id="2" name="Title 1">
            <a:extLst>
              <a:ext uri="{FF2B5EF4-FFF2-40B4-BE49-F238E27FC236}">
                <a16:creationId xmlns:a16="http://schemas.microsoft.com/office/drawing/2014/main" id="{C650ED17-E3D9-4121-6A80-931E191258B6}"/>
              </a:ext>
            </a:extLst>
          </p:cNvPr>
          <p:cNvSpPr>
            <a:spLocks noGrp="1"/>
          </p:cNvSpPr>
          <p:nvPr>
            <p:ph type="ctrTitle"/>
          </p:nvPr>
        </p:nvSpPr>
        <p:spPr>
          <a:xfrm>
            <a:off x="1390558" y="1589518"/>
            <a:ext cx="6950801" cy="1655762"/>
          </a:xfrm>
        </p:spPr>
        <p:txBody>
          <a:bodyPr anchor="b">
            <a:normAutofit/>
          </a:bodyPr>
          <a:lstStyle>
            <a:lvl1pPr algn="l">
              <a:defRPr sz="4400">
                <a:solidFill>
                  <a:schemeClr val="tx1"/>
                </a:solidFill>
                <a:latin typeface="Quicksand" pitchFamily="2" charset="0"/>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3F450364-A7A7-5137-B495-A7AC34AB67C1}"/>
              </a:ext>
            </a:extLst>
          </p:cNvPr>
          <p:cNvSpPr>
            <a:spLocks noGrp="1"/>
          </p:cNvSpPr>
          <p:nvPr>
            <p:ph type="subTitle" idx="1"/>
          </p:nvPr>
        </p:nvSpPr>
        <p:spPr>
          <a:xfrm>
            <a:off x="1367888" y="3602038"/>
            <a:ext cx="7034432" cy="1127847"/>
          </a:xfrm>
        </p:spPr>
        <p:txBody>
          <a:bodyPr/>
          <a:lstStyle>
            <a:lvl1pPr marL="0" indent="0" algn="l">
              <a:buNone/>
              <a:defRPr sz="2400">
                <a:solidFill>
                  <a:schemeClr val="bg2"/>
                </a:solidFill>
                <a:latin typeface="Quicksand"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5" name="Footer Placeholder 4">
            <a:extLst>
              <a:ext uri="{FF2B5EF4-FFF2-40B4-BE49-F238E27FC236}">
                <a16:creationId xmlns:a16="http://schemas.microsoft.com/office/drawing/2014/main" id="{6EE016D5-6D8A-ABCA-3F32-19AB5ECD7A09}"/>
              </a:ext>
            </a:extLst>
          </p:cNvPr>
          <p:cNvSpPr>
            <a:spLocks noGrp="1"/>
          </p:cNvSpPr>
          <p:nvPr>
            <p:ph type="ftr" sz="quarter" idx="11"/>
          </p:nvPr>
        </p:nvSpPr>
        <p:spPr>
          <a:xfrm>
            <a:off x="1406931" y="334197"/>
            <a:ext cx="6975069" cy="365125"/>
          </a:xfrm>
          <a:prstGeom prst="rect">
            <a:avLst/>
          </a:prstGeom>
        </p:spPr>
        <p:txBody>
          <a:bodyPr/>
          <a:lstStyle>
            <a:lvl1pPr>
              <a:defRPr sz="1400">
                <a:solidFill>
                  <a:schemeClr val="accent1"/>
                </a:solidFill>
              </a:defRPr>
            </a:lvl1pPr>
          </a:lstStyle>
          <a:p>
            <a:endParaRPr lang="en-GB" dirty="0"/>
          </a:p>
        </p:txBody>
      </p:sp>
      <p:pic>
        <p:nvPicPr>
          <p:cNvPr id="26" name="Picture 25" descr="Logo&#10;&#10;Description automatically generated with low confidence">
            <a:extLst>
              <a:ext uri="{FF2B5EF4-FFF2-40B4-BE49-F238E27FC236}">
                <a16:creationId xmlns:a16="http://schemas.microsoft.com/office/drawing/2014/main" id="{E1FC5BD7-8732-ADEF-9F81-3F0DADD8D56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93115" y="5178055"/>
            <a:ext cx="2299500" cy="1509823"/>
          </a:xfrm>
          <a:prstGeom prst="rect">
            <a:avLst/>
          </a:prstGeom>
        </p:spPr>
      </p:pic>
    </p:spTree>
    <p:extLst>
      <p:ext uri="{BB962C8B-B14F-4D97-AF65-F5344CB8AC3E}">
        <p14:creationId xmlns:p14="http://schemas.microsoft.com/office/powerpoint/2010/main" val="21816274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0E5D39-85A3-5569-2D74-ED9FD02ED54A}"/>
              </a:ext>
            </a:extLst>
          </p:cNvPr>
          <p:cNvSpPr>
            <a:spLocks noGrp="1"/>
          </p:cNvSpPr>
          <p:nvPr>
            <p:ph type="title"/>
          </p:nvPr>
        </p:nvSpPr>
        <p:spPr/>
        <p:txBody>
          <a:body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6B5854E6-5AFC-01CC-D39F-952023040195}"/>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Footer Placeholder 4">
            <a:extLst>
              <a:ext uri="{FF2B5EF4-FFF2-40B4-BE49-F238E27FC236}">
                <a16:creationId xmlns:a16="http://schemas.microsoft.com/office/drawing/2014/main" id="{58709D87-BA1C-72DE-952F-21C692F1E6B9}"/>
              </a:ext>
            </a:extLst>
          </p:cNvPr>
          <p:cNvSpPr>
            <a:spLocks noGrp="1"/>
          </p:cNvSpPr>
          <p:nvPr>
            <p:ph type="ftr" sz="quarter" idx="3"/>
          </p:nvPr>
        </p:nvSpPr>
        <p:spPr>
          <a:xfrm>
            <a:off x="751840" y="6114954"/>
            <a:ext cx="8904068" cy="365125"/>
          </a:xfrm>
          <a:prstGeom prst="rect">
            <a:avLst/>
          </a:prstGeom>
        </p:spPr>
        <p:txBody>
          <a:bodyPr/>
          <a:lstStyle>
            <a:lvl1pPr>
              <a:defRPr>
                <a:solidFill>
                  <a:schemeClr val="accent1"/>
                </a:solidFill>
              </a:defRPr>
            </a:lvl1pPr>
          </a:lstStyle>
          <a:p>
            <a:endParaRPr lang="en-GB" dirty="0"/>
          </a:p>
        </p:txBody>
      </p:sp>
    </p:spTree>
    <p:extLst>
      <p:ext uri="{BB962C8B-B14F-4D97-AF65-F5344CB8AC3E}">
        <p14:creationId xmlns:p14="http://schemas.microsoft.com/office/powerpoint/2010/main" val="14918832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0E5D39-85A3-5569-2D74-ED9FD02ED54A}"/>
              </a:ext>
            </a:extLst>
          </p:cNvPr>
          <p:cNvSpPr>
            <a:spLocks noGrp="1"/>
          </p:cNvSpPr>
          <p:nvPr>
            <p:ph type="title"/>
          </p:nvPr>
        </p:nvSpPr>
        <p:spPr/>
        <p:txBody>
          <a:bodyPr/>
          <a:lstStyle>
            <a:lvl1pPr>
              <a:defRPr>
                <a:solidFill>
                  <a:schemeClr val="accent1"/>
                </a:solidFill>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6B5854E6-5AFC-01CC-D39F-952023040195}"/>
              </a:ext>
            </a:extLst>
          </p:cNvPr>
          <p:cNvSpPr>
            <a:spLocks noGrp="1"/>
          </p:cNvSpPr>
          <p:nvPr>
            <p:ph idx="1"/>
          </p:nvPr>
        </p:nvSpPr>
        <p:spPr/>
        <p:txBody>
          <a:bodyPr/>
          <a:lstStyle>
            <a:lvl1pPr>
              <a:defRPr>
                <a:latin typeface="Quicksand" pitchFamily="2" charset="0"/>
              </a:defRPr>
            </a:lvl1pPr>
            <a:lvl2pPr marL="182563" indent="-182563">
              <a:buClr>
                <a:schemeClr val="accent1"/>
              </a:buClr>
              <a:buFont typeface="Arial" panose="020B0604020202020204" pitchFamily="34" charset="0"/>
              <a:buChar char="•"/>
              <a:defRPr>
                <a:latin typeface="Quicksand" pitchFamily="2" charset="0"/>
              </a:defRPr>
            </a:lvl2pPr>
            <a:lvl3pPr marL="182563" indent="-182563">
              <a:buClr>
                <a:schemeClr val="accent1"/>
              </a:buClr>
              <a:buFont typeface="Arial" panose="020B0604020202020204" pitchFamily="34" charset="0"/>
              <a:buChar char="•"/>
              <a:defRPr>
                <a:latin typeface="Quicksand" pitchFamily="2" charset="0"/>
              </a:defRPr>
            </a:lvl3pPr>
            <a:lvl4pPr marL="182563" indent="-182563">
              <a:buClr>
                <a:schemeClr val="accent1"/>
              </a:buClr>
              <a:buFont typeface="Arial" panose="020B0604020202020204" pitchFamily="34" charset="0"/>
              <a:buChar char="•"/>
              <a:defRPr>
                <a:latin typeface="Quicksand" pitchFamily="2" charset="0"/>
              </a:defRPr>
            </a:lvl4pPr>
            <a:lvl5pPr marL="182563" indent="-182563">
              <a:buClr>
                <a:schemeClr val="accent1"/>
              </a:buClr>
              <a:buFont typeface="Arial" panose="020B0604020202020204" pitchFamily="34" charset="0"/>
              <a:buChar char="•"/>
              <a:defRPr>
                <a:latin typeface="Quicksand" pitchFamily="2" charset="0"/>
              </a:defRPr>
            </a:lvl5pPr>
          </a:lstStyle>
          <a:p>
            <a:pPr lvl="0"/>
            <a:r>
              <a:rPr lang="en-US" dirty="0"/>
              <a:t>Click to edit Master text styles</a:t>
            </a:r>
            <a:br>
              <a:rPr lang="en-US" dirty="0"/>
            </a:br>
            <a:endParaRPr lang="en-US" dirty="0"/>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Footer Placeholder 4">
            <a:extLst>
              <a:ext uri="{FF2B5EF4-FFF2-40B4-BE49-F238E27FC236}">
                <a16:creationId xmlns:a16="http://schemas.microsoft.com/office/drawing/2014/main" id="{D12CE7DC-3D38-24CE-2865-100D1D0D32C9}"/>
              </a:ext>
            </a:extLst>
          </p:cNvPr>
          <p:cNvSpPr>
            <a:spLocks noGrp="1"/>
          </p:cNvSpPr>
          <p:nvPr>
            <p:ph type="ftr" sz="quarter" idx="3"/>
          </p:nvPr>
        </p:nvSpPr>
        <p:spPr>
          <a:xfrm>
            <a:off x="751840" y="6114954"/>
            <a:ext cx="8904068" cy="365125"/>
          </a:xfrm>
          <a:prstGeom prst="rect">
            <a:avLst/>
          </a:prstGeom>
        </p:spPr>
        <p:txBody>
          <a:bodyPr/>
          <a:lstStyle>
            <a:lvl1pPr>
              <a:defRPr>
                <a:solidFill>
                  <a:schemeClr val="bg2"/>
                </a:solidFill>
              </a:defRPr>
            </a:lvl1pPr>
          </a:lstStyle>
          <a:p>
            <a:endParaRPr lang="en-GB" dirty="0"/>
          </a:p>
        </p:txBody>
      </p:sp>
    </p:spTree>
    <p:extLst>
      <p:ext uri="{BB962C8B-B14F-4D97-AF65-F5344CB8AC3E}">
        <p14:creationId xmlns:p14="http://schemas.microsoft.com/office/powerpoint/2010/main" val="20703803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0E5D39-85A3-5569-2D74-ED9FD02ED54A}"/>
              </a:ext>
            </a:extLst>
          </p:cNvPr>
          <p:cNvSpPr>
            <a:spLocks noGrp="1"/>
          </p:cNvSpPr>
          <p:nvPr>
            <p:ph type="title"/>
          </p:nvPr>
        </p:nvSpPr>
        <p:spPr/>
        <p:txBody>
          <a:bodyPr/>
          <a:lstStyle>
            <a:lvl1pPr>
              <a:defRPr>
                <a:solidFill>
                  <a:schemeClr val="accent3"/>
                </a:solidFill>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6B5854E6-5AFC-01CC-D39F-952023040195}"/>
              </a:ext>
            </a:extLst>
          </p:cNvPr>
          <p:cNvSpPr>
            <a:spLocks noGrp="1"/>
          </p:cNvSpPr>
          <p:nvPr>
            <p:ph idx="1"/>
          </p:nvPr>
        </p:nvSpPr>
        <p:spPr/>
        <p:txBody>
          <a:bodyPr/>
          <a:lstStyle>
            <a:lvl1pPr>
              <a:defRPr>
                <a:latin typeface="Quicksand" pitchFamily="2" charset="0"/>
              </a:defRPr>
            </a:lvl1pPr>
            <a:lvl2pPr>
              <a:defRPr>
                <a:latin typeface="Quicksand" pitchFamily="2" charset="0"/>
              </a:defRPr>
            </a:lvl2pPr>
            <a:lvl3pPr>
              <a:defRPr>
                <a:latin typeface="Quicksand" pitchFamily="2" charset="0"/>
              </a:defRPr>
            </a:lvl3pPr>
            <a:lvl4pPr>
              <a:defRPr>
                <a:latin typeface="Quicksand" pitchFamily="2" charset="0"/>
              </a:defRPr>
            </a:lvl4pPr>
            <a:lvl5pPr>
              <a:defRPr>
                <a:latin typeface="Quicksand"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Footer Placeholder 4">
            <a:extLst>
              <a:ext uri="{FF2B5EF4-FFF2-40B4-BE49-F238E27FC236}">
                <a16:creationId xmlns:a16="http://schemas.microsoft.com/office/drawing/2014/main" id="{83ACEF4A-FB42-9808-AD89-22387AFA82E5}"/>
              </a:ext>
            </a:extLst>
          </p:cNvPr>
          <p:cNvSpPr>
            <a:spLocks noGrp="1"/>
          </p:cNvSpPr>
          <p:nvPr>
            <p:ph type="ftr" sz="quarter" idx="3"/>
          </p:nvPr>
        </p:nvSpPr>
        <p:spPr>
          <a:xfrm>
            <a:off x="751840" y="6114954"/>
            <a:ext cx="8904068" cy="365125"/>
          </a:xfrm>
          <a:prstGeom prst="rect">
            <a:avLst/>
          </a:prstGeom>
        </p:spPr>
        <p:txBody>
          <a:bodyPr/>
          <a:lstStyle>
            <a:lvl1pPr>
              <a:defRPr>
                <a:solidFill>
                  <a:schemeClr val="accent1"/>
                </a:solidFill>
              </a:defRPr>
            </a:lvl1pPr>
          </a:lstStyle>
          <a:p>
            <a:endParaRPr lang="en-GB" dirty="0"/>
          </a:p>
        </p:txBody>
      </p:sp>
    </p:spTree>
    <p:extLst>
      <p:ext uri="{BB962C8B-B14F-4D97-AF65-F5344CB8AC3E}">
        <p14:creationId xmlns:p14="http://schemas.microsoft.com/office/powerpoint/2010/main" val="5631786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Contents Slide">
    <p:spTree>
      <p:nvGrpSpPr>
        <p:cNvPr id="1" name=""/>
        <p:cNvGrpSpPr/>
        <p:nvPr/>
      </p:nvGrpSpPr>
      <p:grpSpPr>
        <a:xfrm>
          <a:off x="0" y="0"/>
          <a:ext cx="0" cy="0"/>
          <a:chOff x="0" y="0"/>
          <a:chExt cx="0" cy="0"/>
        </a:xfrm>
      </p:grpSpPr>
      <p:sp>
        <p:nvSpPr>
          <p:cNvPr id="4" name="object 2">
            <a:extLst>
              <a:ext uri="{FF2B5EF4-FFF2-40B4-BE49-F238E27FC236}">
                <a16:creationId xmlns:a16="http://schemas.microsoft.com/office/drawing/2014/main" id="{3EBB3160-CA27-C8B6-D23F-CD3FF6DEF018}"/>
              </a:ext>
            </a:extLst>
          </p:cNvPr>
          <p:cNvSpPr/>
          <p:nvPr userDrawn="1"/>
        </p:nvSpPr>
        <p:spPr>
          <a:xfrm>
            <a:off x="0" y="2304"/>
            <a:ext cx="12192000" cy="6855696"/>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rgbClr val="0E5C77"/>
          </a:solidFill>
        </p:spPr>
        <p:txBody>
          <a:bodyPr wrap="square" lIns="0" tIns="0" rIns="0" bIns="0" rtlCol="0"/>
          <a:lstStyle/>
          <a:p>
            <a:endParaRPr/>
          </a:p>
        </p:txBody>
      </p:sp>
      <p:grpSp>
        <p:nvGrpSpPr>
          <p:cNvPr id="6" name="object 41">
            <a:extLst>
              <a:ext uri="{FF2B5EF4-FFF2-40B4-BE49-F238E27FC236}">
                <a16:creationId xmlns:a16="http://schemas.microsoft.com/office/drawing/2014/main" id="{1F265747-21F4-F8D5-7000-0C7551B15B3B}"/>
              </a:ext>
            </a:extLst>
          </p:cNvPr>
          <p:cNvGrpSpPr/>
          <p:nvPr userDrawn="1"/>
        </p:nvGrpSpPr>
        <p:grpSpPr>
          <a:xfrm>
            <a:off x="10681097" y="5820975"/>
            <a:ext cx="651156" cy="708550"/>
            <a:chOff x="5598848" y="1620229"/>
            <a:chExt cx="2190115" cy="2383155"/>
          </a:xfrm>
        </p:grpSpPr>
        <p:pic>
          <p:nvPicPr>
            <p:cNvPr id="7" name="object 42">
              <a:extLst>
                <a:ext uri="{FF2B5EF4-FFF2-40B4-BE49-F238E27FC236}">
                  <a16:creationId xmlns:a16="http://schemas.microsoft.com/office/drawing/2014/main" id="{E1D2DE1E-9BDB-B3F5-F4EF-84B8C6E76140}"/>
                </a:ext>
              </a:extLst>
            </p:cNvPr>
            <p:cNvPicPr/>
            <p:nvPr/>
          </p:nvPicPr>
          <p:blipFill>
            <a:blip r:embed="rId2" cstate="print"/>
            <a:stretch>
              <a:fillRect/>
            </a:stretch>
          </p:blipFill>
          <p:spPr>
            <a:xfrm>
              <a:off x="7161630" y="1899091"/>
              <a:ext cx="113817" cy="115671"/>
            </a:xfrm>
            <a:prstGeom prst="rect">
              <a:avLst/>
            </a:prstGeom>
          </p:spPr>
        </p:pic>
        <p:pic>
          <p:nvPicPr>
            <p:cNvPr id="8" name="object 43">
              <a:extLst>
                <a:ext uri="{FF2B5EF4-FFF2-40B4-BE49-F238E27FC236}">
                  <a16:creationId xmlns:a16="http://schemas.microsoft.com/office/drawing/2014/main" id="{5D372F6C-7566-B498-043D-AF7E960D8B59}"/>
                </a:ext>
              </a:extLst>
            </p:cNvPr>
            <p:cNvPicPr/>
            <p:nvPr/>
          </p:nvPicPr>
          <p:blipFill>
            <a:blip r:embed="rId3" cstate="print"/>
            <a:stretch>
              <a:fillRect/>
            </a:stretch>
          </p:blipFill>
          <p:spPr>
            <a:xfrm>
              <a:off x="5598848" y="1620229"/>
              <a:ext cx="2189904" cy="2382902"/>
            </a:xfrm>
            <a:prstGeom prst="rect">
              <a:avLst/>
            </a:prstGeom>
          </p:spPr>
        </p:pic>
        <p:pic>
          <p:nvPicPr>
            <p:cNvPr id="9" name="object 44">
              <a:extLst>
                <a:ext uri="{FF2B5EF4-FFF2-40B4-BE49-F238E27FC236}">
                  <a16:creationId xmlns:a16="http://schemas.microsoft.com/office/drawing/2014/main" id="{1E0FB701-E23F-08F2-0FF8-429E562EFBA0}"/>
                </a:ext>
              </a:extLst>
            </p:cNvPr>
            <p:cNvPicPr/>
            <p:nvPr/>
          </p:nvPicPr>
          <p:blipFill>
            <a:blip r:embed="rId4" cstate="print"/>
            <a:stretch>
              <a:fillRect/>
            </a:stretch>
          </p:blipFill>
          <p:spPr>
            <a:xfrm>
              <a:off x="6871611" y="1669224"/>
              <a:ext cx="175945" cy="178803"/>
            </a:xfrm>
            <a:prstGeom prst="rect">
              <a:avLst/>
            </a:prstGeom>
          </p:spPr>
        </p:pic>
      </p:grpSp>
      <p:sp>
        <p:nvSpPr>
          <p:cNvPr id="10" name="bg object 22">
            <a:extLst>
              <a:ext uri="{FF2B5EF4-FFF2-40B4-BE49-F238E27FC236}">
                <a16:creationId xmlns:a16="http://schemas.microsoft.com/office/drawing/2014/main" id="{E49E1922-67A9-AF82-FCD4-D491460A739C}"/>
              </a:ext>
            </a:extLst>
          </p:cNvPr>
          <p:cNvSpPr/>
          <p:nvPr userDrawn="1"/>
        </p:nvSpPr>
        <p:spPr>
          <a:xfrm>
            <a:off x="7798070" y="0"/>
            <a:ext cx="4398117" cy="4355492"/>
          </a:xfrm>
          <a:custGeom>
            <a:avLst/>
            <a:gdLst/>
            <a:ahLst/>
            <a:cxnLst/>
            <a:rect l="l" t="t" r="r" b="b"/>
            <a:pathLst>
              <a:path w="4842509" h="4803140">
                <a:moveTo>
                  <a:pt x="747268" y="1282877"/>
                </a:moveTo>
                <a:lnTo>
                  <a:pt x="744347" y="1235252"/>
                </a:lnTo>
                <a:lnTo>
                  <a:pt x="735850" y="1189393"/>
                </a:lnTo>
                <a:lnTo>
                  <a:pt x="722109" y="1145654"/>
                </a:lnTo>
                <a:lnTo>
                  <a:pt x="703478" y="1104379"/>
                </a:lnTo>
                <a:lnTo>
                  <a:pt x="680313" y="1065949"/>
                </a:lnTo>
                <a:lnTo>
                  <a:pt x="652957" y="1030706"/>
                </a:lnTo>
                <a:lnTo>
                  <a:pt x="621766" y="999007"/>
                </a:lnTo>
                <a:lnTo>
                  <a:pt x="587095" y="971207"/>
                </a:lnTo>
                <a:lnTo>
                  <a:pt x="549275" y="947661"/>
                </a:lnTo>
                <a:lnTo>
                  <a:pt x="508673" y="928738"/>
                </a:lnTo>
                <a:lnTo>
                  <a:pt x="465620" y="914781"/>
                </a:lnTo>
                <a:lnTo>
                  <a:pt x="420497" y="906132"/>
                </a:lnTo>
                <a:lnTo>
                  <a:pt x="373634" y="903173"/>
                </a:lnTo>
                <a:lnTo>
                  <a:pt x="326758" y="906132"/>
                </a:lnTo>
                <a:lnTo>
                  <a:pt x="281635" y="914781"/>
                </a:lnTo>
                <a:lnTo>
                  <a:pt x="238582" y="928738"/>
                </a:lnTo>
                <a:lnTo>
                  <a:pt x="197980" y="947661"/>
                </a:lnTo>
                <a:lnTo>
                  <a:pt x="160159" y="971207"/>
                </a:lnTo>
                <a:lnTo>
                  <a:pt x="125488" y="999007"/>
                </a:lnTo>
                <a:lnTo>
                  <a:pt x="94297" y="1030706"/>
                </a:lnTo>
                <a:lnTo>
                  <a:pt x="66941" y="1065949"/>
                </a:lnTo>
                <a:lnTo>
                  <a:pt x="43776" y="1104379"/>
                </a:lnTo>
                <a:lnTo>
                  <a:pt x="25146" y="1145654"/>
                </a:lnTo>
                <a:lnTo>
                  <a:pt x="11404" y="1189393"/>
                </a:lnTo>
                <a:lnTo>
                  <a:pt x="2908" y="1235252"/>
                </a:lnTo>
                <a:lnTo>
                  <a:pt x="0" y="1282877"/>
                </a:lnTo>
                <a:lnTo>
                  <a:pt x="2908" y="1330515"/>
                </a:lnTo>
                <a:lnTo>
                  <a:pt x="11404" y="1376375"/>
                </a:lnTo>
                <a:lnTo>
                  <a:pt x="25146" y="1420126"/>
                </a:lnTo>
                <a:lnTo>
                  <a:pt x="43776" y="1461389"/>
                </a:lnTo>
                <a:lnTo>
                  <a:pt x="66941" y="1499819"/>
                </a:lnTo>
                <a:lnTo>
                  <a:pt x="94297" y="1535074"/>
                </a:lnTo>
                <a:lnTo>
                  <a:pt x="125488" y="1566773"/>
                </a:lnTo>
                <a:lnTo>
                  <a:pt x="160159" y="1594573"/>
                </a:lnTo>
                <a:lnTo>
                  <a:pt x="197980" y="1618107"/>
                </a:lnTo>
                <a:lnTo>
                  <a:pt x="238582" y="1637042"/>
                </a:lnTo>
                <a:lnTo>
                  <a:pt x="281635" y="1651000"/>
                </a:lnTo>
                <a:lnTo>
                  <a:pt x="326758" y="1659636"/>
                </a:lnTo>
                <a:lnTo>
                  <a:pt x="373634" y="1662595"/>
                </a:lnTo>
                <a:lnTo>
                  <a:pt x="420497" y="1659636"/>
                </a:lnTo>
                <a:lnTo>
                  <a:pt x="465620" y="1651000"/>
                </a:lnTo>
                <a:lnTo>
                  <a:pt x="508673" y="1637042"/>
                </a:lnTo>
                <a:lnTo>
                  <a:pt x="549275" y="1618107"/>
                </a:lnTo>
                <a:lnTo>
                  <a:pt x="587095" y="1594573"/>
                </a:lnTo>
                <a:lnTo>
                  <a:pt x="621766" y="1566773"/>
                </a:lnTo>
                <a:lnTo>
                  <a:pt x="652957" y="1535074"/>
                </a:lnTo>
                <a:lnTo>
                  <a:pt x="680313" y="1499819"/>
                </a:lnTo>
                <a:lnTo>
                  <a:pt x="703478" y="1461389"/>
                </a:lnTo>
                <a:lnTo>
                  <a:pt x="722109" y="1420126"/>
                </a:lnTo>
                <a:lnTo>
                  <a:pt x="735850" y="1376375"/>
                </a:lnTo>
                <a:lnTo>
                  <a:pt x="744347" y="1330515"/>
                </a:lnTo>
                <a:lnTo>
                  <a:pt x="747268" y="1282877"/>
                </a:lnTo>
                <a:close/>
              </a:path>
              <a:path w="4842509" h="4803140">
                <a:moveTo>
                  <a:pt x="1038237" y="2266010"/>
                </a:moveTo>
                <a:lnTo>
                  <a:pt x="1033195" y="2221458"/>
                </a:lnTo>
                <a:lnTo>
                  <a:pt x="1018806" y="2180552"/>
                </a:lnTo>
                <a:lnTo>
                  <a:pt x="996238" y="2144471"/>
                </a:lnTo>
                <a:lnTo>
                  <a:pt x="966635" y="2114385"/>
                </a:lnTo>
                <a:lnTo>
                  <a:pt x="931125" y="2091448"/>
                </a:lnTo>
                <a:lnTo>
                  <a:pt x="890879" y="2076831"/>
                </a:lnTo>
                <a:lnTo>
                  <a:pt x="847039" y="2071700"/>
                </a:lnTo>
                <a:lnTo>
                  <a:pt x="803198" y="2076831"/>
                </a:lnTo>
                <a:lnTo>
                  <a:pt x="762952" y="2091448"/>
                </a:lnTo>
                <a:lnTo>
                  <a:pt x="727456" y="2114385"/>
                </a:lnTo>
                <a:lnTo>
                  <a:pt x="697852" y="2144471"/>
                </a:lnTo>
                <a:lnTo>
                  <a:pt x="675284" y="2180552"/>
                </a:lnTo>
                <a:lnTo>
                  <a:pt x="660895" y="2221458"/>
                </a:lnTo>
                <a:lnTo>
                  <a:pt x="655840" y="2266010"/>
                </a:lnTo>
                <a:lnTo>
                  <a:pt x="660895" y="2310561"/>
                </a:lnTo>
                <a:lnTo>
                  <a:pt x="675284" y="2351455"/>
                </a:lnTo>
                <a:lnTo>
                  <a:pt x="697852" y="2387536"/>
                </a:lnTo>
                <a:lnTo>
                  <a:pt x="727456" y="2417635"/>
                </a:lnTo>
                <a:lnTo>
                  <a:pt x="762952" y="2440571"/>
                </a:lnTo>
                <a:lnTo>
                  <a:pt x="803198" y="2455189"/>
                </a:lnTo>
                <a:lnTo>
                  <a:pt x="847039" y="2460320"/>
                </a:lnTo>
                <a:lnTo>
                  <a:pt x="890879" y="2455189"/>
                </a:lnTo>
                <a:lnTo>
                  <a:pt x="931125" y="2440571"/>
                </a:lnTo>
                <a:lnTo>
                  <a:pt x="966635" y="2417635"/>
                </a:lnTo>
                <a:lnTo>
                  <a:pt x="996238" y="2387536"/>
                </a:lnTo>
                <a:lnTo>
                  <a:pt x="1018806" y="2351455"/>
                </a:lnTo>
                <a:lnTo>
                  <a:pt x="1033195" y="2310561"/>
                </a:lnTo>
                <a:lnTo>
                  <a:pt x="1038237" y="2266010"/>
                </a:lnTo>
                <a:close/>
              </a:path>
              <a:path w="4842509" h="4803140">
                <a:moveTo>
                  <a:pt x="1353693" y="196011"/>
                </a:moveTo>
                <a:lnTo>
                  <a:pt x="1349044" y="149148"/>
                </a:lnTo>
                <a:lnTo>
                  <a:pt x="1335709" y="105486"/>
                </a:lnTo>
                <a:lnTo>
                  <a:pt x="1314615" y="65989"/>
                </a:lnTo>
                <a:lnTo>
                  <a:pt x="1286675" y="31572"/>
                </a:lnTo>
                <a:lnTo>
                  <a:pt x="1252804" y="3175"/>
                </a:lnTo>
                <a:lnTo>
                  <a:pt x="1247063" y="0"/>
                </a:lnTo>
                <a:lnTo>
                  <a:pt x="1002677" y="0"/>
                </a:lnTo>
                <a:lnTo>
                  <a:pt x="963053" y="31572"/>
                </a:lnTo>
                <a:lnTo>
                  <a:pt x="935113" y="65989"/>
                </a:lnTo>
                <a:lnTo>
                  <a:pt x="914019" y="105486"/>
                </a:lnTo>
                <a:lnTo>
                  <a:pt x="900684" y="149148"/>
                </a:lnTo>
                <a:lnTo>
                  <a:pt x="896035" y="196011"/>
                </a:lnTo>
                <a:lnTo>
                  <a:pt x="900684" y="242874"/>
                </a:lnTo>
                <a:lnTo>
                  <a:pt x="914019" y="286524"/>
                </a:lnTo>
                <a:lnTo>
                  <a:pt x="935113" y="326034"/>
                </a:lnTo>
                <a:lnTo>
                  <a:pt x="963053" y="360451"/>
                </a:lnTo>
                <a:lnTo>
                  <a:pt x="996924" y="388848"/>
                </a:lnTo>
                <a:lnTo>
                  <a:pt x="1035799" y="410286"/>
                </a:lnTo>
                <a:lnTo>
                  <a:pt x="1078750" y="423837"/>
                </a:lnTo>
                <a:lnTo>
                  <a:pt x="1124864" y="428561"/>
                </a:lnTo>
                <a:lnTo>
                  <a:pt x="1170978" y="423837"/>
                </a:lnTo>
                <a:lnTo>
                  <a:pt x="1213929" y="410286"/>
                </a:lnTo>
                <a:lnTo>
                  <a:pt x="1252804" y="388848"/>
                </a:lnTo>
                <a:lnTo>
                  <a:pt x="1286675" y="360451"/>
                </a:lnTo>
                <a:lnTo>
                  <a:pt x="1314615" y="326034"/>
                </a:lnTo>
                <a:lnTo>
                  <a:pt x="1335709" y="286524"/>
                </a:lnTo>
                <a:lnTo>
                  <a:pt x="1349044" y="242874"/>
                </a:lnTo>
                <a:lnTo>
                  <a:pt x="1353693" y="196011"/>
                </a:lnTo>
                <a:close/>
              </a:path>
              <a:path w="4842509" h="4803140">
                <a:moveTo>
                  <a:pt x="2336165" y="3322891"/>
                </a:moveTo>
                <a:lnTo>
                  <a:pt x="2331415" y="3275126"/>
                </a:lnTo>
                <a:lnTo>
                  <a:pt x="2317826" y="3230638"/>
                </a:lnTo>
                <a:lnTo>
                  <a:pt x="2296325" y="3190392"/>
                </a:lnTo>
                <a:lnTo>
                  <a:pt x="2267851" y="3155315"/>
                </a:lnTo>
                <a:lnTo>
                  <a:pt x="2233333" y="3126371"/>
                </a:lnTo>
                <a:lnTo>
                  <a:pt x="2193721" y="3104527"/>
                </a:lnTo>
                <a:lnTo>
                  <a:pt x="2149945" y="3090710"/>
                </a:lnTo>
                <a:lnTo>
                  <a:pt x="2102954" y="3085896"/>
                </a:lnTo>
                <a:lnTo>
                  <a:pt x="2055952" y="3090710"/>
                </a:lnTo>
                <a:lnTo>
                  <a:pt x="2012175" y="3104527"/>
                </a:lnTo>
                <a:lnTo>
                  <a:pt x="1972564" y="3126371"/>
                </a:lnTo>
                <a:lnTo>
                  <a:pt x="1938058" y="3155315"/>
                </a:lnTo>
                <a:lnTo>
                  <a:pt x="1909572" y="3190392"/>
                </a:lnTo>
                <a:lnTo>
                  <a:pt x="1888070" y="3230638"/>
                </a:lnTo>
                <a:lnTo>
                  <a:pt x="1874494" y="3275126"/>
                </a:lnTo>
                <a:lnTo>
                  <a:pt x="1869757" y="3322891"/>
                </a:lnTo>
                <a:lnTo>
                  <a:pt x="1874494" y="3370656"/>
                </a:lnTo>
                <a:lnTo>
                  <a:pt x="1888070" y="3415144"/>
                </a:lnTo>
                <a:lnTo>
                  <a:pt x="1909572" y="3455403"/>
                </a:lnTo>
                <a:lnTo>
                  <a:pt x="1938058" y="3490480"/>
                </a:lnTo>
                <a:lnTo>
                  <a:pt x="1972564" y="3519424"/>
                </a:lnTo>
                <a:lnTo>
                  <a:pt x="2012175" y="3541280"/>
                </a:lnTo>
                <a:lnTo>
                  <a:pt x="2055952" y="3555085"/>
                </a:lnTo>
                <a:lnTo>
                  <a:pt x="2102954" y="3559899"/>
                </a:lnTo>
                <a:lnTo>
                  <a:pt x="2149945" y="3555085"/>
                </a:lnTo>
                <a:lnTo>
                  <a:pt x="2193721" y="3541280"/>
                </a:lnTo>
                <a:lnTo>
                  <a:pt x="2233333" y="3519424"/>
                </a:lnTo>
                <a:lnTo>
                  <a:pt x="2267851" y="3490480"/>
                </a:lnTo>
                <a:lnTo>
                  <a:pt x="2296325" y="3455403"/>
                </a:lnTo>
                <a:lnTo>
                  <a:pt x="2317826" y="3415144"/>
                </a:lnTo>
                <a:lnTo>
                  <a:pt x="2331415" y="3370656"/>
                </a:lnTo>
                <a:lnTo>
                  <a:pt x="2336165" y="3322891"/>
                </a:lnTo>
                <a:close/>
              </a:path>
              <a:path w="4842509" h="4803140">
                <a:moveTo>
                  <a:pt x="2815031" y="1449959"/>
                </a:moveTo>
                <a:lnTo>
                  <a:pt x="2805074" y="1400657"/>
                </a:lnTo>
                <a:lnTo>
                  <a:pt x="2777921" y="1360385"/>
                </a:lnTo>
                <a:lnTo>
                  <a:pt x="2737650" y="1333233"/>
                </a:lnTo>
                <a:lnTo>
                  <a:pt x="2688348" y="1323276"/>
                </a:lnTo>
                <a:lnTo>
                  <a:pt x="1587842" y="1323276"/>
                </a:lnTo>
                <a:lnTo>
                  <a:pt x="1594739" y="1293037"/>
                </a:lnTo>
                <a:lnTo>
                  <a:pt x="1611210" y="1231938"/>
                </a:lnTo>
                <a:lnTo>
                  <a:pt x="1635810" y="1161021"/>
                </a:lnTo>
                <a:lnTo>
                  <a:pt x="1653717" y="1120343"/>
                </a:lnTo>
                <a:lnTo>
                  <a:pt x="1674545" y="1079030"/>
                </a:lnTo>
                <a:lnTo>
                  <a:pt x="1698117" y="1037107"/>
                </a:lnTo>
                <a:lnTo>
                  <a:pt x="1724279" y="994613"/>
                </a:lnTo>
                <a:lnTo>
                  <a:pt x="1724837" y="994613"/>
                </a:lnTo>
                <a:lnTo>
                  <a:pt x="1725358" y="994778"/>
                </a:lnTo>
                <a:lnTo>
                  <a:pt x="2587726" y="994778"/>
                </a:lnTo>
                <a:lnTo>
                  <a:pt x="2588539" y="994613"/>
                </a:lnTo>
                <a:lnTo>
                  <a:pt x="2637028" y="984821"/>
                </a:lnTo>
                <a:lnTo>
                  <a:pt x="2677299" y="957668"/>
                </a:lnTo>
                <a:lnTo>
                  <a:pt x="2704452" y="917409"/>
                </a:lnTo>
                <a:lnTo>
                  <a:pt x="2714409" y="868095"/>
                </a:lnTo>
                <a:lnTo>
                  <a:pt x="2704452" y="818794"/>
                </a:lnTo>
                <a:lnTo>
                  <a:pt x="2677299" y="778522"/>
                </a:lnTo>
                <a:lnTo>
                  <a:pt x="2637028" y="751370"/>
                </a:lnTo>
                <a:lnTo>
                  <a:pt x="2587726" y="741413"/>
                </a:lnTo>
                <a:lnTo>
                  <a:pt x="1918449" y="741413"/>
                </a:lnTo>
                <a:lnTo>
                  <a:pt x="1948662" y="707326"/>
                </a:lnTo>
                <a:lnTo>
                  <a:pt x="1979866" y="672985"/>
                </a:lnTo>
                <a:lnTo>
                  <a:pt x="2012010" y="638390"/>
                </a:lnTo>
                <a:lnTo>
                  <a:pt x="2045055" y="603554"/>
                </a:lnTo>
                <a:lnTo>
                  <a:pt x="2078926" y="568502"/>
                </a:lnTo>
                <a:lnTo>
                  <a:pt x="2113610" y="533209"/>
                </a:lnTo>
                <a:lnTo>
                  <a:pt x="2149030" y="497700"/>
                </a:lnTo>
                <a:lnTo>
                  <a:pt x="2185162" y="461987"/>
                </a:lnTo>
                <a:lnTo>
                  <a:pt x="2221954" y="426072"/>
                </a:lnTo>
                <a:lnTo>
                  <a:pt x="2297303" y="353644"/>
                </a:lnTo>
                <a:lnTo>
                  <a:pt x="2414079" y="243662"/>
                </a:lnTo>
                <a:lnTo>
                  <a:pt x="2677630" y="12"/>
                </a:lnTo>
                <a:lnTo>
                  <a:pt x="2136800" y="12"/>
                </a:lnTo>
                <a:lnTo>
                  <a:pt x="2069376" y="63487"/>
                </a:lnTo>
                <a:lnTo>
                  <a:pt x="1987892" y="141401"/>
                </a:lnTo>
                <a:lnTo>
                  <a:pt x="1947964" y="180200"/>
                </a:lnTo>
                <a:lnTo>
                  <a:pt x="1908632" y="218884"/>
                </a:lnTo>
                <a:lnTo>
                  <a:pt x="1869922" y="257467"/>
                </a:lnTo>
                <a:lnTo>
                  <a:pt x="1831911" y="295948"/>
                </a:lnTo>
                <a:lnTo>
                  <a:pt x="1794637" y="334327"/>
                </a:lnTo>
                <a:lnTo>
                  <a:pt x="1758124" y="372618"/>
                </a:lnTo>
                <a:lnTo>
                  <a:pt x="1722450" y="410806"/>
                </a:lnTo>
                <a:lnTo>
                  <a:pt x="1687626" y="448906"/>
                </a:lnTo>
                <a:lnTo>
                  <a:pt x="1653730" y="486918"/>
                </a:lnTo>
                <a:lnTo>
                  <a:pt x="1620786" y="524840"/>
                </a:lnTo>
                <a:lnTo>
                  <a:pt x="1588846" y="562686"/>
                </a:lnTo>
                <a:lnTo>
                  <a:pt x="1557959" y="600443"/>
                </a:lnTo>
                <a:lnTo>
                  <a:pt x="1528152" y="638124"/>
                </a:lnTo>
                <a:lnTo>
                  <a:pt x="1499501" y="675716"/>
                </a:lnTo>
                <a:lnTo>
                  <a:pt x="1472018" y="713244"/>
                </a:lnTo>
                <a:lnTo>
                  <a:pt x="1445780" y="750697"/>
                </a:lnTo>
                <a:lnTo>
                  <a:pt x="1420812" y="788073"/>
                </a:lnTo>
                <a:lnTo>
                  <a:pt x="1397165" y="825385"/>
                </a:lnTo>
                <a:lnTo>
                  <a:pt x="1374889" y="862634"/>
                </a:lnTo>
                <a:lnTo>
                  <a:pt x="1354023" y="899820"/>
                </a:lnTo>
                <a:lnTo>
                  <a:pt x="1334604" y="936955"/>
                </a:lnTo>
                <a:lnTo>
                  <a:pt x="1316697" y="974013"/>
                </a:lnTo>
                <a:lnTo>
                  <a:pt x="1300340" y="1011021"/>
                </a:lnTo>
                <a:lnTo>
                  <a:pt x="1285570" y="1047978"/>
                </a:lnTo>
                <a:lnTo>
                  <a:pt x="1272451" y="1084884"/>
                </a:lnTo>
                <a:lnTo>
                  <a:pt x="1251242" y="1153655"/>
                </a:lnTo>
                <a:lnTo>
                  <a:pt x="1233639" y="1221536"/>
                </a:lnTo>
                <a:lnTo>
                  <a:pt x="1219492" y="1288491"/>
                </a:lnTo>
                <a:lnTo>
                  <a:pt x="1208646" y="1354493"/>
                </a:lnTo>
                <a:lnTo>
                  <a:pt x="1200962" y="1419517"/>
                </a:lnTo>
                <a:lnTo>
                  <a:pt x="1196276" y="1483499"/>
                </a:lnTo>
                <a:lnTo>
                  <a:pt x="1194447" y="1546440"/>
                </a:lnTo>
                <a:lnTo>
                  <a:pt x="1195324" y="1608264"/>
                </a:lnTo>
                <a:lnTo>
                  <a:pt x="1198753" y="1668970"/>
                </a:lnTo>
                <a:lnTo>
                  <a:pt x="1204595" y="1728508"/>
                </a:lnTo>
                <a:lnTo>
                  <a:pt x="1212684" y="1786839"/>
                </a:lnTo>
                <a:lnTo>
                  <a:pt x="1222870" y="1843925"/>
                </a:lnTo>
                <a:lnTo>
                  <a:pt x="1235024" y="1899742"/>
                </a:lnTo>
                <a:lnTo>
                  <a:pt x="1248981" y="1954237"/>
                </a:lnTo>
                <a:lnTo>
                  <a:pt x="1264589" y="2007400"/>
                </a:lnTo>
                <a:lnTo>
                  <a:pt x="1281709" y="2059178"/>
                </a:lnTo>
                <a:lnTo>
                  <a:pt x="1300175" y="2109533"/>
                </a:lnTo>
                <a:lnTo>
                  <a:pt x="1319860" y="2158441"/>
                </a:lnTo>
                <a:lnTo>
                  <a:pt x="1340586" y="2205863"/>
                </a:lnTo>
                <a:lnTo>
                  <a:pt x="1362227" y="2251748"/>
                </a:lnTo>
                <a:lnTo>
                  <a:pt x="1384617" y="2296083"/>
                </a:lnTo>
                <a:lnTo>
                  <a:pt x="1407617" y="2338819"/>
                </a:lnTo>
                <a:lnTo>
                  <a:pt x="1431074" y="2379916"/>
                </a:lnTo>
                <a:lnTo>
                  <a:pt x="1454835" y="2419350"/>
                </a:lnTo>
                <a:lnTo>
                  <a:pt x="1478749" y="2457081"/>
                </a:lnTo>
                <a:lnTo>
                  <a:pt x="1502676" y="2493073"/>
                </a:lnTo>
                <a:lnTo>
                  <a:pt x="1526451" y="2527300"/>
                </a:lnTo>
                <a:lnTo>
                  <a:pt x="1549946" y="2559710"/>
                </a:lnTo>
                <a:lnTo>
                  <a:pt x="1572983" y="2590266"/>
                </a:lnTo>
                <a:lnTo>
                  <a:pt x="1617141" y="2645714"/>
                </a:lnTo>
                <a:lnTo>
                  <a:pt x="1657718" y="2693352"/>
                </a:lnTo>
                <a:lnTo>
                  <a:pt x="1693532" y="2732887"/>
                </a:lnTo>
                <a:lnTo>
                  <a:pt x="1723364" y="2764040"/>
                </a:lnTo>
                <a:lnTo>
                  <a:pt x="1754289" y="2794431"/>
                </a:lnTo>
                <a:lnTo>
                  <a:pt x="1791779" y="2824124"/>
                </a:lnTo>
                <a:lnTo>
                  <a:pt x="1853996" y="2847721"/>
                </a:lnTo>
                <a:lnTo>
                  <a:pt x="1886724" y="2850654"/>
                </a:lnTo>
                <a:lnTo>
                  <a:pt x="1923973" y="2846857"/>
                </a:lnTo>
                <a:lnTo>
                  <a:pt x="1993277" y="2816644"/>
                </a:lnTo>
                <a:lnTo>
                  <a:pt x="2022830" y="2790367"/>
                </a:lnTo>
                <a:lnTo>
                  <a:pt x="2050745" y="2749880"/>
                </a:lnTo>
                <a:lnTo>
                  <a:pt x="2066505" y="2705011"/>
                </a:lnTo>
                <a:lnTo>
                  <a:pt x="2070239" y="2658224"/>
                </a:lnTo>
                <a:lnTo>
                  <a:pt x="2062073" y="2611996"/>
                </a:lnTo>
                <a:lnTo>
                  <a:pt x="2042134" y="2568778"/>
                </a:lnTo>
                <a:lnTo>
                  <a:pt x="2010562" y="2531059"/>
                </a:lnTo>
                <a:lnTo>
                  <a:pt x="2002307" y="2523312"/>
                </a:lnTo>
                <a:lnTo>
                  <a:pt x="1986203" y="2507475"/>
                </a:lnTo>
                <a:lnTo>
                  <a:pt x="1934933" y="2452725"/>
                </a:lnTo>
                <a:lnTo>
                  <a:pt x="1902015" y="2414397"/>
                </a:lnTo>
                <a:lnTo>
                  <a:pt x="1865718" y="2369159"/>
                </a:lnTo>
                <a:lnTo>
                  <a:pt x="1827174" y="2317305"/>
                </a:lnTo>
                <a:lnTo>
                  <a:pt x="1787486" y="2259114"/>
                </a:lnTo>
                <a:lnTo>
                  <a:pt x="1747786" y="2194903"/>
                </a:lnTo>
                <a:lnTo>
                  <a:pt x="1709204" y="2124951"/>
                </a:lnTo>
                <a:lnTo>
                  <a:pt x="2085060" y="2124951"/>
                </a:lnTo>
                <a:lnTo>
                  <a:pt x="2134362" y="2114994"/>
                </a:lnTo>
                <a:lnTo>
                  <a:pt x="2174633" y="2087841"/>
                </a:lnTo>
                <a:lnTo>
                  <a:pt x="2201786" y="2047582"/>
                </a:lnTo>
                <a:lnTo>
                  <a:pt x="2211743" y="1998268"/>
                </a:lnTo>
                <a:lnTo>
                  <a:pt x="2201786" y="1948967"/>
                </a:lnTo>
                <a:lnTo>
                  <a:pt x="2174633" y="1908695"/>
                </a:lnTo>
                <a:lnTo>
                  <a:pt x="2134362" y="1881543"/>
                </a:lnTo>
                <a:lnTo>
                  <a:pt x="2085060" y="1871586"/>
                </a:lnTo>
                <a:lnTo>
                  <a:pt x="1607959" y="1871586"/>
                </a:lnTo>
                <a:lnTo>
                  <a:pt x="1595729" y="1825244"/>
                </a:lnTo>
                <a:lnTo>
                  <a:pt x="1585214" y="1777720"/>
                </a:lnTo>
                <a:lnTo>
                  <a:pt x="1576565" y="1729054"/>
                </a:lnTo>
                <a:lnTo>
                  <a:pt x="1569910" y="1679295"/>
                </a:lnTo>
                <a:lnTo>
                  <a:pt x="1565402" y="1628482"/>
                </a:lnTo>
                <a:lnTo>
                  <a:pt x="1563192" y="1576641"/>
                </a:lnTo>
                <a:lnTo>
                  <a:pt x="2688348" y="1576641"/>
                </a:lnTo>
                <a:lnTo>
                  <a:pt x="2737650" y="1566697"/>
                </a:lnTo>
                <a:lnTo>
                  <a:pt x="2777921" y="1539544"/>
                </a:lnTo>
                <a:lnTo>
                  <a:pt x="2805074" y="1499273"/>
                </a:lnTo>
                <a:lnTo>
                  <a:pt x="2815031" y="1449959"/>
                </a:lnTo>
                <a:close/>
              </a:path>
              <a:path w="4842509" h="4803140">
                <a:moveTo>
                  <a:pt x="3022498" y="1998268"/>
                </a:moveTo>
                <a:lnTo>
                  <a:pt x="3012541" y="1948967"/>
                </a:lnTo>
                <a:lnTo>
                  <a:pt x="2985389" y="1908695"/>
                </a:lnTo>
                <a:lnTo>
                  <a:pt x="2945130" y="1881543"/>
                </a:lnTo>
                <a:lnTo>
                  <a:pt x="2895816" y="1871586"/>
                </a:lnTo>
                <a:lnTo>
                  <a:pt x="2492959" y="1871586"/>
                </a:lnTo>
                <a:lnTo>
                  <a:pt x="2443645" y="1881543"/>
                </a:lnTo>
                <a:lnTo>
                  <a:pt x="2403373" y="1908695"/>
                </a:lnTo>
                <a:lnTo>
                  <a:pt x="2376220" y="1948967"/>
                </a:lnTo>
                <a:lnTo>
                  <a:pt x="2366264" y="1998268"/>
                </a:lnTo>
                <a:lnTo>
                  <a:pt x="2376220" y="2047582"/>
                </a:lnTo>
                <a:lnTo>
                  <a:pt x="2403373" y="2087854"/>
                </a:lnTo>
                <a:lnTo>
                  <a:pt x="2443645" y="2114994"/>
                </a:lnTo>
                <a:lnTo>
                  <a:pt x="2492959" y="2124951"/>
                </a:lnTo>
                <a:lnTo>
                  <a:pt x="2895816" y="2124951"/>
                </a:lnTo>
                <a:lnTo>
                  <a:pt x="2945130" y="2114994"/>
                </a:lnTo>
                <a:lnTo>
                  <a:pt x="2985389" y="2087854"/>
                </a:lnTo>
                <a:lnTo>
                  <a:pt x="3012541" y="2047582"/>
                </a:lnTo>
                <a:lnTo>
                  <a:pt x="3022498" y="1998268"/>
                </a:lnTo>
                <a:close/>
              </a:path>
              <a:path w="4842509" h="4803140">
                <a:moveTo>
                  <a:pt x="3290455" y="860463"/>
                </a:moveTo>
                <a:lnTo>
                  <a:pt x="3285413" y="815911"/>
                </a:lnTo>
                <a:lnTo>
                  <a:pt x="3271024" y="775017"/>
                </a:lnTo>
                <a:lnTo>
                  <a:pt x="3248456" y="738936"/>
                </a:lnTo>
                <a:lnTo>
                  <a:pt x="3218853" y="708850"/>
                </a:lnTo>
                <a:lnTo>
                  <a:pt x="3183344" y="685914"/>
                </a:lnTo>
                <a:lnTo>
                  <a:pt x="3143097" y="671296"/>
                </a:lnTo>
                <a:lnTo>
                  <a:pt x="3099257" y="666165"/>
                </a:lnTo>
                <a:lnTo>
                  <a:pt x="3055429" y="671296"/>
                </a:lnTo>
                <a:lnTo>
                  <a:pt x="3015183" y="685914"/>
                </a:lnTo>
                <a:lnTo>
                  <a:pt x="2979674" y="708850"/>
                </a:lnTo>
                <a:lnTo>
                  <a:pt x="2950070" y="738936"/>
                </a:lnTo>
                <a:lnTo>
                  <a:pt x="2927502" y="775017"/>
                </a:lnTo>
                <a:lnTo>
                  <a:pt x="2913113" y="815911"/>
                </a:lnTo>
                <a:lnTo>
                  <a:pt x="2908058" y="860463"/>
                </a:lnTo>
                <a:lnTo>
                  <a:pt x="2913113" y="905027"/>
                </a:lnTo>
                <a:lnTo>
                  <a:pt x="2927502" y="945921"/>
                </a:lnTo>
                <a:lnTo>
                  <a:pt x="2950070" y="982002"/>
                </a:lnTo>
                <a:lnTo>
                  <a:pt x="2979674" y="1012088"/>
                </a:lnTo>
                <a:lnTo>
                  <a:pt x="3015183" y="1035024"/>
                </a:lnTo>
                <a:lnTo>
                  <a:pt x="3055429" y="1049642"/>
                </a:lnTo>
                <a:lnTo>
                  <a:pt x="3099257" y="1054773"/>
                </a:lnTo>
                <a:lnTo>
                  <a:pt x="3143097" y="1049642"/>
                </a:lnTo>
                <a:lnTo>
                  <a:pt x="3183344" y="1035024"/>
                </a:lnTo>
                <a:lnTo>
                  <a:pt x="3218853" y="1012088"/>
                </a:lnTo>
                <a:lnTo>
                  <a:pt x="3248456" y="982002"/>
                </a:lnTo>
                <a:lnTo>
                  <a:pt x="3271024" y="945921"/>
                </a:lnTo>
                <a:lnTo>
                  <a:pt x="3285413" y="905027"/>
                </a:lnTo>
                <a:lnTo>
                  <a:pt x="3290455" y="860463"/>
                </a:lnTo>
                <a:close/>
              </a:path>
              <a:path w="4842509" h="4803140">
                <a:moveTo>
                  <a:pt x="3455378" y="1436839"/>
                </a:moveTo>
                <a:lnTo>
                  <a:pt x="3449624" y="1393291"/>
                </a:lnTo>
                <a:lnTo>
                  <a:pt x="3433368" y="1354150"/>
                </a:lnTo>
                <a:lnTo>
                  <a:pt x="3408159" y="1320990"/>
                </a:lnTo>
                <a:lnTo>
                  <a:pt x="3375533" y="1295374"/>
                </a:lnTo>
                <a:lnTo>
                  <a:pt x="3337026" y="1278864"/>
                </a:lnTo>
                <a:lnTo>
                  <a:pt x="3294164" y="1273009"/>
                </a:lnTo>
                <a:lnTo>
                  <a:pt x="3251314" y="1278864"/>
                </a:lnTo>
                <a:lnTo>
                  <a:pt x="3212795" y="1295374"/>
                </a:lnTo>
                <a:lnTo>
                  <a:pt x="3180169" y="1320990"/>
                </a:lnTo>
                <a:lnTo>
                  <a:pt x="3154959" y="1354150"/>
                </a:lnTo>
                <a:lnTo>
                  <a:pt x="3138716" y="1393291"/>
                </a:lnTo>
                <a:lnTo>
                  <a:pt x="3132950" y="1436839"/>
                </a:lnTo>
                <a:lnTo>
                  <a:pt x="3138716" y="1480388"/>
                </a:lnTo>
                <a:lnTo>
                  <a:pt x="3154959" y="1519529"/>
                </a:lnTo>
                <a:lnTo>
                  <a:pt x="3180169" y="1552689"/>
                </a:lnTo>
                <a:lnTo>
                  <a:pt x="3212795" y="1578305"/>
                </a:lnTo>
                <a:lnTo>
                  <a:pt x="3251314" y="1594815"/>
                </a:lnTo>
                <a:lnTo>
                  <a:pt x="3294164" y="1600669"/>
                </a:lnTo>
                <a:lnTo>
                  <a:pt x="3337026" y="1594815"/>
                </a:lnTo>
                <a:lnTo>
                  <a:pt x="3375533" y="1578305"/>
                </a:lnTo>
                <a:lnTo>
                  <a:pt x="3408159" y="1552689"/>
                </a:lnTo>
                <a:lnTo>
                  <a:pt x="3433368" y="1519529"/>
                </a:lnTo>
                <a:lnTo>
                  <a:pt x="3449624" y="1480388"/>
                </a:lnTo>
                <a:lnTo>
                  <a:pt x="3455378" y="1436839"/>
                </a:lnTo>
                <a:close/>
              </a:path>
              <a:path w="4842509" h="4803140">
                <a:moveTo>
                  <a:pt x="3677882" y="141617"/>
                </a:moveTo>
                <a:lnTo>
                  <a:pt x="3669868" y="91109"/>
                </a:lnTo>
                <a:lnTo>
                  <a:pt x="3647541" y="47244"/>
                </a:lnTo>
                <a:lnTo>
                  <a:pt x="3613505" y="12661"/>
                </a:lnTo>
                <a:lnTo>
                  <a:pt x="3589439" y="0"/>
                </a:lnTo>
                <a:lnTo>
                  <a:pt x="3451847" y="0"/>
                </a:lnTo>
                <a:lnTo>
                  <a:pt x="3427780" y="12661"/>
                </a:lnTo>
                <a:lnTo>
                  <a:pt x="3393744" y="47244"/>
                </a:lnTo>
                <a:lnTo>
                  <a:pt x="3371418" y="91109"/>
                </a:lnTo>
                <a:lnTo>
                  <a:pt x="3363404" y="141617"/>
                </a:lnTo>
                <a:lnTo>
                  <a:pt x="3371418" y="192125"/>
                </a:lnTo>
                <a:lnTo>
                  <a:pt x="3393744" y="235991"/>
                </a:lnTo>
                <a:lnTo>
                  <a:pt x="3427780" y="270573"/>
                </a:lnTo>
                <a:lnTo>
                  <a:pt x="3470935" y="293268"/>
                </a:lnTo>
                <a:lnTo>
                  <a:pt x="3520643" y="301409"/>
                </a:lnTo>
                <a:lnTo>
                  <a:pt x="3570338" y="293268"/>
                </a:lnTo>
                <a:lnTo>
                  <a:pt x="3613505" y="270573"/>
                </a:lnTo>
                <a:lnTo>
                  <a:pt x="3647541" y="235991"/>
                </a:lnTo>
                <a:lnTo>
                  <a:pt x="3669868" y="192125"/>
                </a:lnTo>
                <a:lnTo>
                  <a:pt x="3677882" y="141617"/>
                </a:lnTo>
                <a:close/>
              </a:path>
              <a:path w="4842509" h="4803140">
                <a:moveTo>
                  <a:pt x="3887127" y="709460"/>
                </a:moveTo>
                <a:lnTo>
                  <a:pt x="3882085" y="664908"/>
                </a:lnTo>
                <a:lnTo>
                  <a:pt x="3867696" y="624001"/>
                </a:lnTo>
                <a:lnTo>
                  <a:pt x="3845128" y="587933"/>
                </a:lnTo>
                <a:lnTo>
                  <a:pt x="3815524" y="557834"/>
                </a:lnTo>
                <a:lnTo>
                  <a:pt x="3780015" y="534898"/>
                </a:lnTo>
                <a:lnTo>
                  <a:pt x="3739769" y="520280"/>
                </a:lnTo>
                <a:lnTo>
                  <a:pt x="3695928" y="515150"/>
                </a:lnTo>
                <a:lnTo>
                  <a:pt x="3652101" y="520280"/>
                </a:lnTo>
                <a:lnTo>
                  <a:pt x="3611854" y="534898"/>
                </a:lnTo>
                <a:lnTo>
                  <a:pt x="3576345" y="557834"/>
                </a:lnTo>
                <a:lnTo>
                  <a:pt x="3546741" y="587933"/>
                </a:lnTo>
                <a:lnTo>
                  <a:pt x="3524173" y="624001"/>
                </a:lnTo>
                <a:lnTo>
                  <a:pt x="3509784" y="664908"/>
                </a:lnTo>
                <a:lnTo>
                  <a:pt x="3504730" y="709460"/>
                </a:lnTo>
                <a:lnTo>
                  <a:pt x="3509784" y="754011"/>
                </a:lnTo>
                <a:lnTo>
                  <a:pt x="3524173" y="794918"/>
                </a:lnTo>
                <a:lnTo>
                  <a:pt x="3546741" y="830986"/>
                </a:lnTo>
                <a:lnTo>
                  <a:pt x="3576345" y="861085"/>
                </a:lnTo>
                <a:lnTo>
                  <a:pt x="3611854" y="884021"/>
                </a:lnTo>
                <a:lnTo>
                  <a:pt x="3652101" y="898639"/>
                </a:lnTo>
                <a:lnTo>
                  <a:pt x="3695928" y="903770"/>
                </a:lnTo>
                <a:lnTo>
                  <a:pt x="3739769" y="898639"/>
                </a:lnTo>
                <a:lnTo>
                  <a:pt x="3780015" y="884021"/>
                </a:lnTo>
                <a:lnTo>
                  <a:pt x="3815524" y="861085"/>
                </a:lnTo>
                <a:lnTo>
                  <a:pt x="3845128" y="830986"/>
                </a:lnTo>
                <a:lnTo>
                  <a:pt x="3867696" y="794918"/>
                </a:lnTo>
                <a:lnTo>
                  <a:pt x="3882085" y="754011"/>
                </a:lnTo>
                <a:lnTo>
                  <a:pt x="3887127" y="709460"/>
                </a:lnTo>
                <a:close/>
              </a:path>
              <a:path w="4842509" h="4803140">
                <a:moveTo>
                  <a:pt x="4802949" y="2817431"/>
                </a:moveTo>
                <a:lnTo>
                  <a:pt x="4797895" y="2772880"/>
                </a:lnTo>
                <a:lnTo>
                  <a:pt x="4783518" y="2731973"/>
                </a:lnTo>
                <a:lnTo>
                  <a:pt x="4760950" y="2695892"/>
                </a:lnTo>
                <a:lnTo>
                  <a:pt x="4731334" y="2665806"/>
                </a:lnTo>
                <a:lnTo>
                  <a:pt x="4695837" y="2642870"/>
                </a:lnTo>
                <a:lnTo>
                  <a:pt x="4655591" y="2628252"/>
                </a:lnTo>
                <a:lnTo>
                  <a:pt x="4611751" y="2623121"/>
                </a:lnTo>
                <a:lnTo>
                  <a:pt x="4567910" y="2628252"/>
                </a:lnTo>
                <a:lnTo>
                  <a:pt x="4527664" y="2642870"/>
                </a:lnTo>
                <a:lnTo>
                  <a:pt x="4492168" y="2665806"/>
                </a:lnTo>
                <a:lnTo>
                  <a:pt x="4462551" y="2695892"/>
                </a:lnTo>
                <a:lnTo>
                  <a:pt x="4439983" y="2731973"/>
                </a:lnTo>
                <a:lnTo>
                  <a:pt x="4425607" y="2772880"/>
                </a:lnTo>
                <a:lnTo>
                  <a:pt x="4420552" y="2817431"/>
                </a:lnTo>
                <a:lnTo>
                  <a:pt x="4425607" y="2861983"/>
                </a:lnTo>
                <a:lnTo>
                  <a:pt x="4439983" y="2902877"/>
                </a:lnTo>
                <a:lnTo>
                  <a:pt x="4462551" y="2938957"/>
                </a:lnTo>
                <a:lnTo>
                  <a:pt x="4492168" y="2969056"/>
                </a:lnTo>
                <a:lnTo>
                  <a:pt x="4527664" y="2991993"/>
                </a:lnTo>
                <a:lnTo>
                  <a:pt x="4567910" y="3006610"/>
                </a:lnTo>
                <a:lnTo>
                  <a:pt x="4611751" y="3011741"/>
                </a:lnTo>
                <a:lnTo>
                  <a:pt x="4655591" y="3006610"/>
                </a:lnTo>
                <a:lnTo>
                  <a:pt x="4695837" y="2991993"/>
                </a:lnTo>
                <a:lnTo>
                  <a:pt x="4731334" y="2969056"/>
                </a:lnTo>
                <a:lnTo>
                  <a:pt x="4760950" y="2938957"/>
                </a:lnTo>
                <a:lnTo>
                  <a:pt x="4783518" y="2902877"/>
                </a:lnTo>
                <a:lnTo>
                  <a:pt x="4797895" y="2861983"/>
                </a:lnTo>
                <a:lnTo>
                  <a:pt x="4802949" y="2817431"/>
                </a:lnTo>
                <a:close/>
              </a:path>
              <a:path w="4842509" h="4803140">
                <a:moveTo>
                  <a:pt x="4841951" y="3202800"/>
                </a:moveTo>
                <a:lnTo>
                  <a:pt x="4773104" y="3204997"/>
                </a:lnTo>
                <a:lnTo>
                  <a:pt x="4732858" y="3219615"/>
                </a:lnTo>
                <a:lnTo>
                  <a:pt x="4697349" y="3242551"/>
                </a:lnTo>
                <a:lnTo>
                  <a:pt x="4667745" y="3272650"/>
                </a:lnTo>
                <a:lnTo>
                  <a:pt x="4645177" y="3308718"/>
                </a:lnTo>
                <a:lnTo>
                  <a:pt x="4630788" y="3349625"/>
                </a:lnTo>
                <a:lnTo>
                  <a:pt x="4625746" y="3394176"/>
                </a:lnTo>
                <a:lnTo>
                  <a:pt x="4630788" y="3438728"/>
                </a:lnTo>
                <a:lnTo>
                  <a:pt x="4645177" y="3479635"/>
                </a:lnTo>
                <a:lnTo>
                  <a:pt x="4667745" y="3515703"/>
                </a:lnTo>
                <a:lnTo>
                  <a:pt x="4697349" y="3545802"/>
                </a:lnTo>
                <a:lnTo>
                  <a:pt x="4732858" y="3568738"/>
                </a:lnTo>
                <a:lnTo>
                  <a:pt x="4773104" y="3583355"/>
                </a:lnTo>
                <a:lnTo>
                  <a:pt x="4816945" y="3588486"/>
                </a:lnTo>
                <a:lnTo>
                  <a:pt x="4841951" y="3585553"/>
                </a:lnTo>
                <a:lnTo>
                  <a:pt x="4841951" y="3202800"/>
                </a:lnTo>
                <a:close/>
              </a:path>
              <a:path w="4842509" h="4803140">
                <a:moveTo>
                  <a:pt x="4841951" y="1842350"/>
                </a:moveTo>
                <a:lnTo>
                  <a:pt x="4807712" y="1875828"/>
                </a:lnTo>
                <a:lnTo>
                  <a:pt x="4783315" y="1910905"/>
                </a:lnTo>
                <a:lnTo>
                  <a:pt x="4765014" y="1950059"/>
                </a:lnTo>
                <a:lnTo>
                  <a:pt x="4753534" y="1992579"/>
                </a:lnTo>
                <a:lnTo>
                  <a:pt x="4749546" y="2037765"/>
                </a:lnTo>
                <a:lnTo>
                  <a:pt x="4753534" y="2082939"/>
                </a:lnTo>
                <a:lnTo>
                  <a:pt x="4765014" y="2125459"/>
                </a:lnTo>
                <a:lnTo>
                  <a:pt x="4783315" y="2164626"/>
                </a:lnTo>
                <a:lnTo>
                  <a:pt x="4807712" y="2199703"/>
                </a:lnTo>
                <a:lnTo>
                  <a:pt x="4837519" y="2229993"/>
                </a:lnTo>
                <a:lnTo>
                  <a:pt x="4841951" y="2233180"/>
                </a:lnTo>
                <a:lnTo>
                  <a:pt x="4841951" y="1842350"/>
                </a:lnTo>
                <a:close/>
              </a:path>
              <a:path w="4842509" h="4803140">
                <a:moveTo>
                  <a:pt x="4841951" y="573493"/>
                </a:moveTo>
                <a:lnTo>
                  <a:pt x="4189387" y="573493"/>
                </a:lnTo>
                <a:lnTo>
                  <a:pt x="4140073" y="583450"/>
                </a:lnTo>
                <a:lnTo>
                  <a:pt x="4099814" y="610603"/>
                </a:lnTo>
                <a:lnTo>
                  <a:pt x="4072674" y="650875"/>
                </a:lnTo>
                <a:lnTo>
                  <a:pt x="4062730" y="700176"/>
                </a:lnTo>
                <a:lnTo>
                  <a:pt x="4072674" y="749490"/>
                </a:lnTo>
                <a:lnTo>
                  <a:pt x="4099814" y="789749"/>
                </a:lnTo>
                <a:lnTo>
                  <a:pt x="4140073" y="816902"/>
                </a:lnTo>
                <a:lnTo>
                  <a:pt x="4189387" y="826858"/>
                </a:lnTo>
                <a:lnTo>
                  <a:pt x="4767542" y="826858"/>
                </a:lnTo>
                <a:lnTo>
                  <a:pt x="4736668" y="864552"/>
                </a:lnTo>
                <a:lnTo>
                  <a:pt x="4705045" y="902195"/>
                </a:lnTo>
                <a:lnTo>
                  <a:pt x="4672723" y="939787"/>
                </a:lnTo>
                <a:lnTo>
                  <a:pt x="4639742" y="977303"/>
                </a:lnTo>
                <a:lnTo>
                  <a:pt x="4606137" y="1014742"/>
                </a:lnTo>
                <a:lnTo>
                  <a:pt x="4571949" y="1052106"/>
                </a:lnTo>
                <a:lnTo>
                  <a:pt x="4537214" y="1089380"/>
                </a:lnTo>
                <a:lnTo>
                  <a:pt x="4501985" y="1126578"/>
                </a:lnTo>
                <a:lnTo>
                  <a:pt x="4466285" y="1163675"/>
                </a:lnTo>
                <a:lnTo>
                  <a:pt x="4430166" y="1200658"/>
                </a:lnTo>
                <a:lnTo>
                  <a:pt x="4393654" y="1237538"/>
                </a:lnTo>
                <a:lnTo>
                  <a:pt x="4356811" y="1274305"/>
                </a:lnTo>
                <a:lnTo>
                  <a:pt x="4319663" y="1310957"/>
                </a:lnTo>
                <a:lnTo>
                  <a:pt x="4282249" y="1347470"/>
                </a:lnTo>
                <a:lnTo>
                  <a:pt x="4206786" y="1420114"/>
                </a:lnTo>
                <a:lnTo>
                  <a:pt x="4092625" y="1527962"/>
                </a:lnTo>
                <a:lnTo>
                  <a:pt x="3735552" y="1858314"/>
                </a:lnTo>
                <a:lnTo>
                  <a:pt x="3567468" y="2015528"/>
                </a:lnTo>
                <a:lnTo>
                  <a:pt x="3485985" y="2093442"/>
                </a:lnTo>
                <a:lnTo>
                  <a:pt x="3446056" y="2132241"/>
                </a:lnTo>
                <a:lnTo>
                  <a:pt x="3406711" y="2170925"/>
                </a:lnTo>
                <a:lnTo>
                  <a:pt x="3368014" y="2209508"/>
                </a:lnTo>
                <a:lnTo>
                  <a:pt x="3330003" y="2247989"/>
                </a:lnTo>
                <a:lnTo>
                  <a:pt x="3292716" y="2286381"/>
                </a:lnTo>
                <a:lnTo>
                  <a:pt x="3256216" y="2324658"/>
                </a:lnTo>
                <a:lnTo>
                  <a:pt x="3220529" y="2362860"/>
                </a:lnTo>
                <a:lnTo>
                  <a:pt x="3185718" y="2400960"/>
                </a:lnTo>
                <a:lnTo>
                  <a:pt x="3151809" y="2438971"/>
                </a:lnTo>
                <a:lnTo>
                  <a:pt x="3118866" y="2476893"/>
                </a:lnTo>
                <a:lnTo>
                  <a:pt x="3086925" y="2514727"/>
                </a:lnTo>
                <a:lnTo>
                  <a:pt x="3056039" y="2552484"/>
                </a:lnTo>
                <a:lnTo>
                  <a:pt x="3026245" y="2590165"/>
                </a:lnTo>
                <a:lnTo>
                  <a:pt x="2997581" y="2627757"/>
                </a:lnTo>
                <a:lnTo>
                  <a:pt x="2970111" y="2665285"/>
                </a:lnTo>
                <a:lnTo>
                  <a:pt x="2943860" y="2702737"/>
                </a:lnTo>
                <a:lnTo>
                  <a:pt x="2918904" y="2740126"/>
                </a:lnTo>
                <a:lnTo>
                  <a:pt x="2895257" y="2777439"/>
                </a:lnTo>
                <a:lnTo>
                  <a:pt x="2872981" y="2814688"/>
                </a:lnTo>
                <a:lnTo>
                  <a:pt x="2852102" y="2851874"/>
                </a:lnTo>
                <a:lnTo>
                  <a:pt x="2832697" y="2888996"/>
                </a:lnTo>
                <a:lnTo>
                  <a:pt x="2814790" y="2926054"/>
                </a:lnTo>
                <a:lnTo>
                  <a:pt x="2798432" y="2963075"/>
                </a:lnTo>
                <a:lnTo>
                  <a:pt x="2783662" y="3000032"/>
                </a:lnTo>
                <a:lnTo>
                  <a:pt x="2770543" y="3036938"/>
                </a:lnTo>
                <a:lnTo>
                  <a:pt x="2749334" y="3105696"/>
                </a:lnTo>
                <a:lnTo>
                  <a:pt x="2731732" y="3173577"/>
                </a:lnTo>
                <a:lnTo>
                  <a:pt x="2717584" y="3240532"/>
                </a:lnTo>
                <a:lnTo>
                  <a:pt x="2706751" y="3306546"/>
                </a:lnTo>
                <a:lnTo>
                  <a:pt x="2699054" y="3371558"/>
                </a:lnTo>
                <a:lnTo>
                  <a:pt x="2694368" y="3435553"/>
                </a:lnTo>
                <a:lnTo>
                  <a:pt x="2692539" y="3498481"/>
                </a:lnTo>
                <a:lnTo>
                  <a:pt x="2693416" y="3560318"/>
                </a:lnTo>
                <a:lnTo>
                  <a:pt x="2696845" y="3621024"/>
                </a:lnTo>
                <a:lnTo>
                  <a:pt x="2702687" y="3680549"/>
                </a:lnTo>
                <a:lnTo>
                  <a:pt x="2710777" y="3738880"/>
                </a:lnTo>
                <a:lnTo>
                  <a:pt x="2720975" y="3795979"/>
                </a:lnTo>
                <a:lnTo>
                  <a:pt x="2733116" y="3851795"/>
                </a:lnTo>
                <a:lnTo>
                  <a:pt x="2747073" y="3906291"/>
                </a:lnTo>
                <a:lnTo>
                  <a:pt x="2762681" y="3959453"/>
                </a:lnTo>
                <a:lnTo>
                  <a:pt x="2779801" y="4011231"/>
                </a:lnTo>
                <a:lnTo>
                  <a:pt x="2798267" y="4061587"/>
                </a:lnTo>
                <a:lnTo>
                  <a:pt x="2817952" y="4110494"/>
                </a:lnTo>
                <a:lnTo>
                  <a:pt x="2838678" y="4157903"/>
                </a:lnTo>
                <a:lnTo>
                  <a:pt x="2860319" y="4203801"/>
                </a:lnTo>
                <a:lnTo>
                  <a:pt x="2882709" y="4248137"/>
                </a:lnTo>
                <a:lnTo>
                  <a:pt x="2905709" y="4290860"/>
                </a:lnTo>
                <a:lnTo>
                  <a:pt x="2929166" y="4331970"/>
                </a:lnTo>
                <a:lnTo>
                  <a:pt x="2952927" y="4371403"/>
                </a:lnTo>
                <a:lnTo>
                  <a:pt x="2976854" y="4409135"/>
                </a:lnTo>
                <a:lnTo>
                  <a:pt x="3000768" y="4445127"/>
                </a:lnTo>
                <a:lnTo>
                  <a:pt x="3024555" y="4479353"/>
                </a:lnTo>
                <a:lnTo>
                  <a:pt x="3048038" y="4511764"/>
                </a:lnTo>
                <a:lnTo>
                  <a:pt x="3071076" y="4542320"/>
                </a:lnTo>
                <a:lnTo>
                  <a:pt x="3115233" y="4597768"/>
                </a:lnTo>
                <a:lnTo>
                  <a:pt x="3155810" y="4645406"/>
                </a:lnTo>
                <a:lnTo>
                  <a:pt x="3191624" y="4684941"/>
                </a:lnTo>
                <a:lnTo>
                  <a:pt x="3221456" y="4716094"/>
                </a:lnTo>
                <a:lnTo>
                  <a:pt x="3252393" y="4746498"/>
                </a:lnTo>
                <a:lnTo>
                  <a:pt x="3289871" y="4776190"/>
                </a:lnTo>
                <a:lnTo>
                  <a:pt x="3352101" y="4799800"/>
                </a:lnTo>
                <a:lnTo>
                  <a:pt x="3384816" y="4802733"/>
                </a:lnTo>
                <a:lnTo>
                  <a:pt x="3422065" y="4798923"/>
                </a:lnTo>
                <a:lnTo>
                  <a:pt x="3491369" y="4768710"/>
                </a:lnTo>
                <a:lnTo>
                  <a:pt x="3520922" y="4742446"/>
                </a:lnTo>
                <a:lnTo>
                  <a:pt x="3548837" y="4701959"/>
                </a:lnTo>
                <a:lnTo>
                  <a:pt x="3564598" y="4657090"/>
                </a:lnTo>
                <a:lnTo>
                  <a:pt x="3568331" y="4610303"/>
                </a:lnTo>
                <a:lnTo>
                  <a:pt x="3560165" y="4564062"/>
                </a:lnTo>
                <a:lnTo>
                  <a:pt x="3540239" y="4520857"/>
                </a:lnTo>
                <a:lnTo>
                  <a:pt x="3508654" y="4483138"/>
                </a:lnTo>
                <a:lnTo>
                  <a:pt x="3500399" y="4475378"/>
                </a:lnTo>
                <a:lnTo>
                  <a:pt x="3484295" y="4459541"/>
                </a:lnTo>
                <a:lnTo>
                  <a:pt x="3433026" y="4404792"/>
                </a:lnTo>
                <a:lnTo>
                  <a:pt x="3400107" y="4366463"/>
                </a:lnTo>
                <a:lnTo>
                  <a:pt x="3363798" y="4321213"/>
                </a:lnTo>
                <a:lnTo>
                  <a:pt x="3325253" y="4269359"/>
                </a:lnTo>
                <a:lnTo>
                  <a:pt x="3285566" y="4211167"/>
                </a:lnTo>
                <a:lnTo>
                  <a:pt x="3245878" y="4146956"/>
                </a:lnTo>
                <a:lnTo>
                  <a:pt x="3207283" y="4077004"/>
                </a:lnTo>
                <a:lnTo>
                  <a:pt x="3803065" y="4077004"/>
                </a:lnTo>
                <a:lnTo>
                  <a:pt x="3852380" y="4067048"/>
                </a:lnTo>
                <a:lnTo>
                  <a:pt x="3892639" y="4039895"/>
                </a:lnTo>
                <a:lnTo>
                  <a:pt x="3919766" y="3999623"/>
                </a:lnTo>
                <a:lnTo>
                  <a:pt x="3929723" y="3950322"/>
                </a:lnTo>
                <a:lnTo>
                  <a:pt x="3919766" y="3901008"/>
                </a:lnTo>
                <a:lnTo>
                  <a:pt x="3892639" y="3860736"/>
                </a:lnTo>
                <a:lnTo>
                  <a:pt x="3852380" y="3833596"/>
                </a:lnTo>
                <a:lnTo>
                  <a:pt x="3803065" y="3823639"/>
                </a:lnTo>
                <a:lnTo>
                  <a:pt x="3106051" y="3823639"/>
                </a:lnTo>
                <a:lnTo>
                  <a:pt x="3093821" y="3777284"/>
                </a:lnTo>
                <a:lnTo>
                  <a:pt x="3083318" y="3729761"/>
                </a:lnTo>
                <a:lnTo>
                  <a:pt x="3074657" y="3681095"/>
                </a:lnTo>
                <a:lnTo>
                  <a:pt x="3068002" y="3631336"/>
                </a:lnTo>
                <a:lnTo>
                  <a:pt x="3063494" y="3580523"/>
                </a:lnTo>
                <a:lnTo>
                  <a:pt x="3061284" y="3528695"/>
                </a:lnTo>
                <a:lnTo>
                  <a:pt x="4186415" y="3528695"/>
                </a:lnTo>
                <a:lnTo>
                  <a:pt x="4235729" y="3518738"/>
                </a:lnTo>
                <a:lnTo>
                  <a:pt x="4275988" y="3491585"/>
                </a:lnTo>
                <a:lnTo>
                  <a:pt x="4303128" y="3451326"/>
                </a:lnTo>
                <a:lnTo>
                  <a:pt x="4313072" y="3402012"/>
                </a:lnTo>
                <a:lnTo>
                  <a:pt x="4303128" y="3352711"/>
                </a:lnTo>
                <a:lnTo>
                  <a:pt x="4275988" y="3312439"/>
                </a:lnTo>
                <a:lnTo>
                  <a:pt x="4235729" y="3285286"/>
                </a:lnTo>
                <a:lnTo>
                  <a:pt x="4186415" y="3275330"/>
                </a:lnTo>
                <a:lnTo>
                  <a:pt x="3085935" y="3275330"/>
                </a:lnTo>
                <a:lnTo>
                  <a:pt x="3092831" y="3245078"/>
                </a:lnTo>
                <a:lnTo>
                  <a:pt x="3109315" y="3183979"/>
                </a:lnTo>
                <a:lnTo>
                  <a:pt x="3133902" y="3113087"/>
                </a:lnTo>
                <a:lnTo>
                  <a:pt x="3151809" y="3072396"/>
                </a:lnTo>
                <a:lnTo>
                  <a:pt x="3172637" y="3031083"/>
                </a:lnTo>
                <a:lnTo>
                  <a:pt x="3196209" y="2989161"/>
                </a:lnTo>
                <a:lnTo>
                  <a:pt x="3222371" y="2946666"/>
                </a:lnTo>
                <a:lnTo>
                  <a:pt x="3222929" y="2946666"/>
                </a:lnTo>
                <a:lnTo>
                  <a:pt x="3223450" y="2946831"/>
                </a:lnTo>
                <a:lnTo>
                  <a:pt x="4085818" y="2946831"/>
                </a:lnTo>
                <a:lnTo>
                  <a:pt x="4086631" y="2946666"/>
                </a:lnTo>
                <a:lnTo>
                  <a:pt x="4135132" y="2936875"/>
                </a:lnTo>
                <a:lnTo>
                  <a:pt x="4175391" y="2909722"/>
                </a:lnTo>
                <a:lnTo>
                  <a:pt x="4202519" y="2869450"/>
                </a:lnTo>
                <a:lnTo>
                  <a:pt x="4212475" y="2820149"/>
                </a:lnTo>
                <a:lnTo>
                  <a:pt x="4202519" y="2770835"/>
                </a:lnTo>
                <a:lnTo>
                  <a:pt x="4175391" y="2730563"/>
                </a:lnTo>
                <a:lnTo>
                  <a:pt x="4135132" y="2703423"/>
                </a:lnTo>
                <a:lnTo>
                  <a:pt x="4085818" y="2693466"/>
                </a:lnTo>
                <a:lnTo>
                  <a:pt x="3416541" y="2693466"/>
                </a:lnTo>
                <a:lnTo>
                  <a:pt x="3446754" y="2659380"/>
                </a:lnTo>
                <a:lnTo>
                  <a:pt x="3477958" y="2625026"/>
                </a:lnTo>
                <a:lnTo>
                  <a:pt x="3510102" y="2590444"/>
                </a:lnTo>
                <a:lnTo>
                  <a:pt x="3543135" y="2555608"/>
                </a:lnTo>
                <a:lnTo>
                  <a:pt x="3577018" y="2520543"/>
                </a:lnTo>
                <a:lnTo>
                  <a:pt x="3611702" y="2485263"/>
                </a:lnTo>
                <a:lnTo>
                  <a:pt x="3647122" y="2449753"/>
                </a:lnTo>
                <a:lnTo>
                  <a:pt x="3683254" y="2414041"/>
                </a:lnTo>
                <a:lnTo>
                  <a:pt x="3720046" y="2378125"/>
                </a:lnTo>
                <a:lnTo>
                  <a:pt x="3795395" y="2305697"/>
                </a:lnTo>
                <a:lnTo>
                  <a:pt x="3912184" y="2195715"/>
                </a:lnTo>
                <a:lnTo>
                  <a:pt x="4351325" y="1789176"/>
                </a:lnTo>
                <a:lnTo>
                  <a:pt x="4468863" y="1678254"/>
                </a:lnTo>
                <a:lnTo>
                  <a:pt x="4546206" y="1603908"/>
                </a:lnTo>
                <a:lnTo>
                  <a:pt x="4584484" y="1566621"/>
                </a:lnTo>
                <a:lnTo>
                  <a:pt x="4622444" y="1529245"/>
                </a:lnTo>
                <a:lnTo>
                  <a:pt x="4660087" y="1491767"/>
                </a:lnTo>
                <a:lnTo>
                  <a:pt x="4697361" y="1454213"/>
                </a:lnTo>
                <a:lnTo>
                  <a:pt x="4734242" y="1416545"/>
                </a:lnTo>
                <a:lnTo>
                  <a:pt x="4770691" y="1378788"/>
                </a:lnTo>
                <a:lnTo>
                  <a:pt x="4806696" y="1340929"/>
                </a:lnTo>
                <a:lnTo>
                  <a:pt x="4841951" y="1303248"/>
                </a:lnTo>
                <a:lnTo>
                  <a:pt x="4841951" y="573493"/>
                </a:lnTo>
                <a:close/>
              </a:path>
              <a:path w="4842509" h="4803140">
                <a:moveTo>
                  <a:pt x="4841951" y="12"/>
                </a:moveTo>
                <a:lnTo>
                  <a:pt x="4128516" y="12"/>
                </a:lnTo>
                <a:lnTo>
                  <a:pt x="4084472" y="8902"/>
                </a:lnTo>
                <a:lnTo>
                  <a:pt x="4044213" y="36055"/>
                </a:lnTo>
                <a:lnTo>
                  <a:pt x="4017073" y="76327"/>
                </a:lnTo>
                <a:lnTo>
                  <a:pt x="4007129" y="125628"/>
                </a:lnTo>
                <a:lnTo>
                  <a:pt x="4017073" y="174942"/>
                </a:lnTo>
                <a:lnTo>
                  <a:pt x="4044213" y="215214"/>
                </a:lnTo>
                <a:lnTo>
                  <a:pt x="4084472" y="242366"/>
                </a:lnTo>
                <a:lnTo>
                  <a:pt x="4133786" y="252323"/>
                </a:lnTo>
                <a:lnTo>
                  <a:pt x="4841951" y="252323"/>
                </a:lnTo>
                <a:lnTo>
                  <a:pt x="4841951" y="12"/>
                </a:lnTo>
                <a:close/>
              </a:path>
            </a:pathLst>
          </a:custGeom>
          <a:solidFill>
            <a:srgbClr val="00AFFF">
              <a:alpha val="25000"/>
            </a:srgbClr>
          </a:solidFill>
        </p:spPr>
        <p:txBody>
          <a:bodyPr wrap="square" lIns="0" tIns="0" rIns="0" bIns="0" rtlCol="0"/>
          <a:lstStyle/>
          <a:p>
            <a:endParaRPr/>
          </a:p>
        </p:txBody>
      </p:sp>
      <p:grpSp>
        <p:nvGrpSpPr>
          <p:cNvPr id="11" name="Group 10">
            <a:extLst>
              <a:ext uri="{FF2B5EF4-FFF2-40B4-BE49-F238E27FC236}">
                <a16:creationId xmlns:a16="http://schemas.microsoft.com/office/drawing/2014/main" id="{01179DA6-2F44-5B6F-989D-DAE932BB98EB}"/>
              </a:ext>
            </a:extLst>
          </p:cNvPr>
          <p:cNvGrpSpPr/>
          <p:nvPr userDrawn="1"/>
        </p:nvGrpSpPr>
        <p:grpSpPr>
          <a:xfrm>
            <a:off x="0" y="4184585"/>
            <a:ext cx="2767043" cy="2671139"/>
            <a:chOff x="0" y="4184585"/>
            <a:chExt cx="2767043" cy="2671139"/>
          </a:xfrm>
        </p:grpSpPr>
        <p:sp>
          <p:nvSpPr>
            <p:cNvPr id="12" name="bg object 23">
              <a:extLst>
                <a:ext uri="{FF2B5EF4-FFF2-40B4-BE49-F238E27FC236}">
                  <a16:creationId xmlns:a16="http://schemas.microsoft.com/office/drawing/2014/main" id="{012FF536-9F0D-1AF8-B975-16A4030FE206}"/>
                </a:ext>
              </a:extLst>
            </p:cNvPr>
            <p:cNvSpPr/>
            <p:nvPr/>
          </p:nvSpPr>
          <p:spPr>
            <a:xfrm>
              <a:off x="112905" y="6434855"/>
              <a:ext cx="625748" cy="229752"/>
            </a:xfrm>
            <a:custGeom>
              <a:avLst/>
              <a:gdLst/>
              <a:ahLst/>
              <a:cxnLst/>
              <a:rect l="l" t="t" r="r" b="b"/>
              <a:pathLst>
                <a:path w="688975" h="253365">
                  <a:moveTo>
                    <a:pt x="562178" y="0"/>
                  </a:moveTo>
                  <a:lnTo>
                    <a:pt x="126657" y="0"/>
                  </a:lnTo>
                  <a:lnTo>
                    <a:pt x="77340" y="9955"/>
                  </a:lnTo>
                  <a:lnTo>
                    <a:pt x="37082" y="37104"/>
                  </a:lnTo>
                  <a:lnTo>
                    <a:pt x="9947" y="77372"/>
                  </a:lnTo>
                  <a:lnTo>
                    <a:pt x="0" y="126682"/>
                  </a:lnTo>
                  <a:lnTo>
                    <a:pt x="9947" y="175992"/>
                  </a:lnTo>
                  <a:lnTo>
                    <a:pt x="37082" y="216260"/>
                  </a:lnTo>
                  <a:lnTo>
                    <a:pt x="77340" y="243409"/>
                  </a:lnTo>
                  <a:lnTo>
                    <a:pt x="126657" y="253365"/>
                  </a:lnTo>
                  <a:lnTo>
                    <a:pt x="562178" y="253365"/>
                  </a:lnTo>
                  <a:lnTo>
                    <a:pt x="611495" y="243409"/>
                  </a:lnTo>
                  <a:lnTo>
                    <a:pt x="651752" y="216260"/>
                  </a:lnTo>
                  <a:lnTo>
                    <a:pt x="678887" y="175992"/>
                  </a:lnTo>
                  <a:lnTo>
                    <a:pt x="688835" y="126682"/>
                  </a:lnTo>
                  <a:lnTo>
                    <a:pt x="678887" y="77372"/>
                  </a:lnTo>
                  <a:lnTo>
                    <a:pt x="651752" y="37104"/>
                  </a:lnTo>
                  <a:lnTo>
                    <a:pt x="611495" y="9955"/>
                  </a:lnTo>
                  <a:lnTo>
                    <a:pt x="562178" y="0"/>
                  </a:lnTo>
                  <a:close/>
                </a:path>
              </a:pathLst>
            </a:custGeom>
            <a:solidFill>
              <a:srgbClr val="00AFFF">
                <a:alpha val="25000"/>
              </a:srgbClr>
            </a:solidFill>
          </p:spPr>
          <p:txBody>
            <a:bodyPr wrap="square" lIns="0" tIns="0" rIns="0" bIns="0" rtlCol="0"/>
            <a:lstStyle/>
            <a:p>
              <a:endParaRPr/>
            </a:p>
          </p:txBody>
        </p:sp>
        <p:sp>
          <p:nvSpPr>
            <p:cNvPr id="13" name="bg object 24">
              <a:extLst>
                <a:ext uri="{FF2B5EF4-FFF2-40B4-BE49-F238E27FC236}">
                  <a16:creationId xmlns:a16="http://schemas.microsoft.com/office/drawing/2014/main" id="{DC9193E7-CBF6-B6CC-E025-5DABC39F5ECA}"/>
                </a:ext>
              </a:extLst>
            </p:cNvPr>
            <p:cNvSpPr/>
            <p:nvPr/>
          </p:nvSpPr>
          <p:spPr>
            <a:xfrm>
              <a:off x="859747" y="5805431"/>
              <a:ext cx="827026" cy="1050293"/>
            </a:xfrm>
            <a:custGeom>
              <a:avLst/>
              <a:gdLst/>
              <a:ahLst/>
              <a:cxnLst/>
              <a:rect l="l" t="t" r="r" b="b"/>
              <a:pathLst>
                <a:path w="910589" h="1158240">
                  <a:moveTo>
                    <a:pt x="291990" y="0"/>
                  </a:moveTo>
                  <a:lnTo>
                    <a:pt x="246330" y="10089"/>
                  </a:lnTo>
                  <a:lnTo>
                    <a:pt x="204131" y="31774"/>
                  </a:lnTo>
                  <a:lnTo>
                    <a:pt x="167817" y="64816"/>
                  </a:lnTo>
                  <a:lnTo>
                    <a:pt x="141493" y="106257"/>
                  </a:lnTo>
                  <a:lnTo>
                    <a:pt x="127449" y="151637"/>
                  </a:lnTo>
                  <a:lnTo>
                    <a:pt x="125461" y="198494"/>
                  </a:lnTo>
                  <a:lnTo>
                    <a:pt x="135309" y="244368"/>
                  </a:lnTo>
                  <a:lnTo>
                    <a:pt x="156770" y="286798"/>
                  </a:lnTo>
                  <a:lnTo>
                    <a:pt x="189623" y="323324"/>
                  </a:lnTo>
                  <a:lnTo>
                    <a:pt x="197954" y="330740"/>
                  </a:lnTo>
                  <a:lnTo>
                    <a:pt x="215065" y="347032"/>
                  </a:lnTo>
                  <a:lnTo>
                    <a:pt x="269445" y="405507"/>
                  </a:lnTo>
                  <a:lnTo>
                    <a:pt x="303623" y="447320"/>
                  </a:lnTo>
                  <a:lnTo>
                    <a:pt x="340399" y="497272"/>
                  </a:lnTo>
                  <a:lnTo>
                    <a:pt x="378225" y="555177"/>
                  </a:lnTo>
                  <a:lnTo>
                    <a:pt x="415557" y="620853"/>
                  </a:lnTo>
                  <a:lnTo>
                    <a:pt x="450850" y="694113"/>
                  </a:lnTo>
                  <a:lnTo>
                    <a:pt x="126657" y="694113"/>
                  </a:lnTo>
                  <a:lnTo>
                    <a:pt x="77340" y="704069"/>
                  </a:lnTo>
                  <a:lnTo>
                    <a:pt x="37082" y="731218"/>
                  </a:lnTo>
                  <a:lnTo>
                    <a:pt x="9947" y="771485"/>
                  </a:lnTo>
                  <a:lnTo>
                    <a:pt x="0" y="820796"/>
                  </a:lnTo>
                  <a:lnTo>
                    <a:pt x="9947" y="870106"/>
                  </a:lnTo>
                  <a:lnTo>
                    <a:pt x="37082" y="910374"/>
                  </a:lnTo>
                  <a:lnTo>
                    <a:pt x="77340" y="937523"/>
                  </a:lnTo>
                  <a:lnTo>
                    <a:pt x="126657" y="947478"/>
                  </a:lnTo>
                  <a:lnTo>
                    <a:pt x="527037" y="947478"/>
                  </a:lnTo>
                  <a:lnTo>
                    <a:pt x="534042" y="994520"/>
                  </a:lnTo>
                  <a:lnTo>
                    <a:pt x="539062" y="1043080"/>
                  </a:lnTo>
                  <a:lnTo>
                    <a:pt x="541939" y="1093149"/>
                  </a:lnTo>
                  <a:lnTo>
                    <a:pt x="542511" y="1144718"/>
                  </a:lnTo>
                  <a:lnTo>
                    <a:pt x="542041" y="1157905"/>
                  </a:lnTo>
                  <a:lnTo>
                    <a:pt x="910242" y="1157905"/>
                  </a:lnTo>
                  <a:lnTo>
                    <a:pt x="909792" y="1082442"/>
                  </a:lnTo>
                  <a:lnTo>
                    <a:pt x="905768" y="1011691"/>
                  </a:lnTo>
                  <a:lnTo>
                    <a:pt x="898533" y="943192"/>
                  </a:lnTo>
                  <a:lnTo>
                    <a:pt x="888342" y="876971"/>
                  </a:lnTo>
                  <a:lnTo>
                    <a:pt x="875454" y="813056"/>
                  </a:lnTo>
                  <a:lnTo>
                    <a:pt x="860125" y="751473"/>
                  </a:lnTo>
                  <a:lnTo>
                    <a:pt x="842612" y="692250"/>
                  </a:lnTo>
                  <a:lnTo>
                    <a:pt x="823173" y="635413"/>
                  </a:lnTo>
                  <a:lnTo>
                    <a:pt x="802063" y="580991"/>
                  </a:lnTo>
                  <a:lnTo>
                    <a:pt x="779541" y="529010"/>
                  </a:lnTo>
                  <a:lnTo>
                    <a:pt x="755862" y="479497"/>
                  </a:lnTo>
                  <a:lnTo>
                    <a:pt x="731285" y="432480"/>
                  </a:lnTo>
                  <a:lnTo>
                    <a:pt x="706066" y="387985"/>
                  </a:lnTo>
                  <a:lnTo>
                    <a:pt x="680461" y="346039"/>
                  </a:lnTo>
                  <a:lnTo>
                    <a:pt x="654729" y="306670"/>
                  </a:lnTo>
                  <a:lnTo>
                    <a:pt x="629126" y="269906"/>
                  </a:lnTo>
                  <a:lnTo>
                    <a:pt x="603908" y="235772"/>
                  </a:lnTo>
                  <a:lnTo>
                    <a:pt x="579334" y="204296"/>
                  </a:lnTo>
                  <a:lnTo>
                    <a:pt x="533142" y="149427"/>
                  </a:lnTo>
                  <a:lnTo>
                    <a:pt x="492605" y="105516"/>
                  </a:lnTo>
                  <a:lnTo>
                    <a:pt x="459780" y="72781"/>
                  </a:lnTo>
                  <a:lnTo>
                    <a:pt x="425488" y="41702"/>
                  </a:lnTo>
                  <a:lnTo>
                    <a:pt x="383993" y="15566"/>
                  </a:lnTo>
                  <a:lnTo>
                    <a:pt x="338686" y="1745"/>
                  </a:lnTo>
                  <a:lnTo>
                    <a:pt x="291990" y="0"/>
                  </a:lnTo>
                  <a:close/>
                </a:path>
              </a:pathLst>
            </a:custGeom>
            <a:solidFill>
              <a:srgbClr val="00AFFF">
                <a:alpha val="25000"/>
              </a:srgbClr>
            </a:solidFill>
          </p:spPr>
          <p:txBody>
            <a:bodyPr wrap="square" lIns="0" tIns="0" rIns="0" bIns="0" rtlCol="0"/>
            <a:lstStyle/>
            <a:p>
              <a:endParaRPr/>
            </a:p>
          </p:txBody>
        </p:sp>
        <p:sp>
          <p:nvSpPr>
            <p:cNvPr id="14" name="bg object 25">
              <a:extLst>
                <a:ext uri="{FF2B5EF4-FFF2-40B4-BE49-F238E27FC236}">
                  <a16:creationId xmlns:a16="http://schemas.microsoft.com/office/drawing/2014/main" id="{C1499BA4-E8C7-3B13-EB73-D7E5A024F6F1}"/>
                </a:ext>
              </a:extLst>
            </p:cNvPr>
            <p:cNvSpPr/>
            <p:nvPr/>
          </p:nvSpPr>
          <p:spPr>
            <a:xfrm>
              <a:off x="465830" y="5649760"/>
              <a:ext cx="347766" cy="352401"/>
            </a:xfrm>
            <a:custGeom>
              <a:avLst/>
              <a:gdLst/>
              <a:ahLst/>
              <a:cxnLst/>
              <a:rect l="l" t="t" r="r" b="b"/>
              <a:pathLst>
                <a:path w="382905" h="388620">
                  <a:moveTo>
                    <a:pt x="191198" y="0"/>
                  </a:moveTo>
                  <a:lnTo>
                    <a:pt x="147357" y="5131"/>
                  </a:lnTo>
                  <a:lnTo>
                    <a:pt x="107112" y="19749"/>
                  </a:lnTo>
                  <a:lnTo>
                    <a:pt x="71611" y="42686"/>
                  </a:lnTo>
                  <a:lnTo>
                    <a:pt x="42002" y="72776"/>
                  </a:lnTo>
                  <a:lnTo>
                    <a:pt x="19432" y="108852"/>
                  </a:lnTo>
                  <a:lnTo>
                    <a:pt x="5049" y="149748"/>
                  </a:lnTo>
                  <a:lnTo>
                    <a:pt x="0" y="194297"/>
                  </a:lnTo>
                  <a:lnTo>
                    <a:pt x="5049" y="238850"/>
                  </a:lnTo>
                  <a:lnTo>
                    <a:pt x="19432" y="279750"/>
                  </a:lnTo>
                  <a:lnTo>
                    <a:pt x="42002" y="315828"/>
                  </a:lnTo>
                  <a:lnTo>
                    <a:pt x="71611" y="345919"/>
                  </a:lnTo>
                  <a:lnTo>
                    <a:pt x="107112" y="368857"/>
                  </a:lnTo>
                  <a:lnTo>
                    <a:pt x="147357" y="383475"/>
                  </a:lnTo>
                  <a:lnTo>
                    <a:pt x="191198" y="388607"/>
                  </a:lnTo>
                  <a:lnTo>
                    <a:pt x="235039" y="383475"/>
                  </a:lnTo>
                  <a:lnTo>
                    <a:pt x="275284" y="368857"/>
                  </a:lnTo>
                  <a:lnTo>
                    <a:pt x="310785" y="345919"/>
                  </a:lnTo>
                  <a:lnTo>
                    <a:pt x="340394" y="315828"/>
                  </a:lnTo>
                  <a:lnTo>
                    <a:pt x="362964" y="279750"/>
                  </a:lnTo>
                  <a:lnTo>
                    <a:pt x="377347" y="238850"/>
                  </a:lnTo>
                  <a:lnTo>
                    <a:pt x="382397" y="194297"/>
                  </a:lnTo>
                  <a:lnTo>
                    <a:pt x="377347" y="149748"/>
                  </a:lnTo>
                  <a:lnTo>
                    <a:pt x="362964" y="108852"/>
                  </a:lnTo>
                  <a:lnTo>
                    <a:pt x="340394" y="72776"/>
                  </a:lnTo>
                  <a:lnTo>
                    <a:pt x="310785" y="42686"/>
                  </a:lnTo>
                  <a:lnTo>
                    <a:pt x="275284" y="19749"/>
                  </a:lnTo>
                  <a:lnTo>
                    <a:pt x="235039" y="5131"/>
                  </a:lnTo>
                  <a:lnTo>
                    <a:pt x="191198" y="0"/>
                  </a:lnTo>
                  <a:close/>
                </a:path>
              </a:pathLst>
            </a:custGeom>
            <a:solidFill>
              <a:srgbClr val="00AFFF">
                <a:alpha val="25000"/>
              </a:srgbClr>
            </a:solidFill>
          </p:spPr>
          <p:txBody>
            <a:bodyPr wrap="square" lIns="0" tIns="0" rIns="0" bIns="0" rtlCol="0"/>
            <a:lstStyle/>
            <a:p>
              <a:endParaRPr/>
            </a:p>
          </p:txBody>
        </p:sp>
        <p:sp>
          <p:nvSpPr>
            <p:cNvPr id="15" name="bg object 26">
              <a:extLst>
                <a:ext uri="{FF2B5EF4-FFF2-40B4-BE49-F238E27FC236}">
                  <a16:creationId xmlns:a16="http://schemas.microsoft.com/office/drawing/2014/main" id="{BAF2F270-F520-5256-1A13-88753B966785}"/>
                </a:ext>
              </a:extLst>
            </p:cNvPr>
            <p:cNvSpPr/>
            <p:nvPr/>
          </p:nvSpPr>
          <p:spPr>
            <a:xfrm>
              <a:off x="1538145" y="5485645"/>
              <a:ext cx="347766" cy="352401"/>
            </a:xfrm>
            <a:custGeom>
              <a:avLst/>
              <a:gdLst/>
              <a:ahLst/>
              <a:cxnLst/>
              <a:rect l="l" t="t" r="r" b="b"/>
              <a:pathLst>
                <a:path w="382905" h="388620">
                  <a:moveTo>
                    <a:pt x="191198" y="0"/>
                  </a:moveTo>
                  <a:lnTo>
                    <a:pt x="147357" y="5131"/>
                  </a:lnTo>
                  <a:lnTo>
                    <a:pt x="107112" y="19749"/>
                  </a:lnTo>
                  <a:lnTo>
                    <a:pt x="71611" y="42687"/>
                  </a:lnTo>
                  <a:lnTo>
                    <a:pt x="42002" y="72778"/>
                  </a:lnTo>
                  <a:lnTo>
                    <a:pt x="19432" y="108857"/>
                  </a:lnTo>
                  <a:lnTo>
                    <a:pt x="5049" y="149756"/>
                  </a:lnTo>
                  <a:lnTo>
                    <a:pt x="0" y="194309"/>
                  </a:lnTo>
                  <a:lnTo>
                    <a:pt x="5049" y="238863"/>
                  </a:lnTo>
                  <a:lnTo>
                    <a:pt x="19432" y="279762"/>
                  </a:lnTo>
                  <a:lnTo>
                    <a:pt x="42002" y="315841"/>
                  </a:lnTo>
                  <a:lnTo>
                    <a:pt x="71611" y="345932"/>
                  </a:lnTo>
                  <a:lnTo>
                    <a:pt x="107112" y="368870"/>
                  </a:lnTo>
                  <a:lnTo>
                    <a:pt x="147357" y="383488"/>
                  </a:lnTo>
                  <a:lnTo>
                    <a:pt x="191198" y="388620"/>
                  </a:lnTo>
                  <a:lnTo>
                    <a:pt x="235035" y="383488"/>
                  </a:lnTo>
                  <a:lnTo>
                    <a:pt x="275279" y="368870"/>
                  </a:lnTo>
                  <a:lnTo>
                    <a:pt x="310779" y="345932"/>
                  </a:lnTo>
                  <a:lnTo>
                    <a:pt x="340390" y="315841"/>
                  </a:lnTo>
                  <a:lnTo>
                    <a:pt x="362961" y="279762"/>
                  </a:lnTo>
                  <a:lnTo>
                    <a:pt x="377346" y="238863"/>
                  </a:lnTo>
                  <a:lnTo>
                    <a:pt x="382397" y="194309"/>
                  </a:lnTo>
                  <a:lnTo>
                    <a:pt x="377346" y="149756"/>
                  </a:lnTo>
                  <a:lnTo>
                    <a:pt x="362961" y="108857"/>
                  </a:lnTo>
                  <a:lnTo>
                    <a:pt x="340390" y="72778"/>
                  </a:lnTo>
                  <a:lnTo>
                    <a:pt x="310779" y="42687"/>
                  </a:lnTo>
                  <a:lnTo>
                    <a:pt x="275279" y="19749"/>
                  </a:lnTo>
                  <a:lnTo>
                    <a:pt x="235035" y="5131"/>
                  </a:lnTo>
                  <a:lnTo>
                    <a:pt x="191198" y="0"/>
                  </a:lnTo>
                  <a:close/>
                </a:path>
              </a:pathLst>
            </a:custGeom>
            <a:solidFill>
              <a:srgbClr val="00AFFF">
                <a:alpha val="25000"/>
              </a:srgbClr>
            </a:solidFill>
          </p:spPr>
          <p:txBody>
            <a:bodyPr wrap="square" lIns="0" tIns="0" rIns="0" bIns="0" rtlCol="0"/>
            <a:lstStyle/>
            <a:p>
              <a:endParaRPr/>
            </a:p>
          </p:txBody>
        </p:sp>
        <p:sp>
          <p:nvSpPr>
            <p:cNvPr id="16" name="bg object 27">
              <a:extLst>
                <a:ext uri="{FF2B5EF4-FFF2-40B4-BE49-F238E27FC236}">
                  <a16:creationId xmlns:a16="http://schemas.microsoft.com/office/drawing/2014/main" id="{8680BA9C-5F31-C21D-A980-22CC149FCB08}"/>
                </a:ext>
              </a:extLst>
            </p:cNvPr>
            <p:cNvSpPr/>
            <p:nvPr/>
          </p:nvSpPr>
          <p:spPr>
            <a:xfrm>
              <a:off x="1413231" y="4884901"/>
              <a:ext cx="347766" cy="352401"/>
            </a:xfrm>
            <a:custGeom>
              <a:avLst/>
              <a:gdLst/>
              <a:ahLst/>
              <a:cxnLst/>
              <a:rect l="l" t="t" r="r" b="b"/>
              <a:pathLst>
                <a:path w="382905" h="388620">
                  <a:moveTo>
                    <a:pt x="191198" y="0"/>
                  </a:moveTo>
                  <a:lnTo>
                    <a:pt x="147357" y="5131"/>
                  </a:lnTo>
                  <a:lnTo>
                    <a:pt x="107112" y="19749"/>
                  </a:lnTo>
                  <a:lnTo>
                    <a:pt x="71611" y="42687"/>
                  </a:lnTo>
                  <a:lnTo>
                    <a:pt x="42002" y="72778"/>
                  </a:lnTo>
                  <a:lnTo>
                    <a:pt x="19432" y="108857"/>
                  </a:lnTo>
                  <a:lnTo>
                    <a:pt x="5049" y="149756"/>
                  </a:lnTo>
                  <a:lnTo>
                    <a:pt x="0" y="194310"/>
                  </a:lnTo>
                  <a:lnTo>
                    <a:pt x="5049" y="238863"/>
                  </a:lnTo>
                  <a:lnTo>
                    <a:pt x="19432" y="279762"/>
                  </a:lnTo>
                  <a:lnTo>
                    <a:pt x="42002" y="315841"/>
                  </a:lnTo>
                  <a:lnTo>
                    <a:pt x="71611" y="345932"/>
                  </a:lnTo>
                  <a:lnTo>
                    <a:pt x="107112" y="368870"/>
                  </a:lnTo>
                  <a:lnTo>
                    <a:pt x="147357" y="383488"/>
                  </a:lnTo>
                  <a:lnTo>
                    <a:pt x="191198" y="388620"/>
                  </a:lnTo>
                  <a:lnTo>
                    <a:pt x="235039" y="383488"/>
                  </a:lnTo>
                  <a:lnTo>
                    <a:pt x="275284" y="368870"/>
                  </a:lnTo>
                  <a:lnTo>
                    <a:pt x="310785" y="345932"/>
                  </a:lnTo>
                  <a:lnTo>
                    <a:pt x="340394" y="315841"/>
                  </a:lnTo>
                  <a:lnTo>
                    <a:pt x="362964" y="279762"/>
                  </a:lnTo>
                  <a:lnTo>
                    <a:pt x="377347" y="238863"/>
                  </a:lnTo>
                  <a:lnTo>
                    <a:pt x="382397" y="194310"/>
                  </a:lnTo>
                  <a:lnTo>
                    <a:pt x="377347" y="149756"/>
                  </a:lnTo>
                  <a:lnTo>
                    <a:pt x="362964" y="108857"/>
                  </a:lnTo>
                  <a:lnTo>
                    <a:pt x="340394" y="72778"/>
                  </a:lnTo>
                  <a:lnTo>
                    <a:pt x="310785" y="42687"/>
                  </a:lnTo>
                  <a:lnTo>
                    <a:pt x="275284" y="19749"/>
                  </a:lnTo>
                  <a:lnTo>
                    <a:pt x="235039" y="5131"/>
                  </a:lnTo>
                  <a:lnTo>
                    <a:pt x="191198" y="0"/>
                  </a:lnTo>
                  <a:close/>
                </a:path>
              </a:pathLst>
            </a:custGeom>
            <a:solidFill>
              <a:srgbClr val="00AFFF">
                <a:alpha val="25000"/>
              </a:srgbClr>
            </a:solidFill>
          </p:spPr>
          <p:txBody>
            <a:bodyPr wrap="square" lIns="0" tIns="0" rIns="0" bIns="0" rtlCol="0"/>
            <a:lstStyle/>
            <a:p>
              <a:endParaRPr/>
            </a:p>
          </p:txBody>
        </p:sp>
        <p:sp>
          <p:nvSpPr>
            <p:cNvPr id="17" name="bg object 28">
              <a:extLst>
                <a:ext uri="{FF2B5EF4-FFF2-40B4-BE49-F238E27FC236}">
                  <a16:creationId xmlns:a16="http://schemas.microsoft.com/office/drawing/2014/main" id="{764DA62F-52BC-833A-C4DD-A842EB4C2F92}"/>
                </a:ext>
              </a:extLst>
            </p:cNvPr>
            <p:cNvSpPr/>
            <p:nvPr/>
          </p:nvSpPr>
          <p:spPr>
            <a:xfrm>
              <a:off x="745586" y="5027755"/>
              <a:ext cx="416397" cy="422651"/>
            </a:xfrm>
            <a:custGeom>
              <a:avLst/>
              <a:gdLst/>
              <a:ahLst/>
              <a:cxnLst/>
              <a:rect l="l" t="t" r="r" b="b"/>
              <a:pathLst>
                <a:path w="458469" h="466089">
                  <a:moveTo>
                    <a:pt x="229044" y="0"/>
                  </a:moveTo>
                  <a:lnTo>
                    <a:pt x="182885" y="4728"/>
                  </a:lnTo>
                  <a:lnTo>
                    <a:pt x="139892" y="18290"/>
                  </a:lnTo>
                  <a:lnTo>
                    <a:pt x="100986" y="39750"/>
                  </a:lnTo>
                  <a:lnTo>
                    <a:pt x="67087" y="68172"/>
                  </a:lnTo>
                  <a:lnTo>
                    <a:pt x="39118" y="102620"/>
                  </a:lnTo>
                  <a:lnTo>
                    <a:pt x="18000" y="142158"/>
                  </a:lnTo>
                  <a:lnTo>
                    <a:pt x="4653" y="185852"/>
                  </a:lnTo>
                  <a:lnTo>
                    <a:pt x="0" y="232765"/>
                  </a:lnTo>
                  <a:lnTo>
                    <a:pt x="4653" y="279679"/>
                  </a:lnTo>
                  <a:lnTo>
                    <a:pt x="18000" y="323374"/>
                  </a:lnTo>
                  <a:lnTo>
                    <a:pt x="39118" y="362915"/>
                  </a:lnTo>
                  <a:lnTo>
                    <a:pt x="67087" y="397365"/>
                  </a:lnTo>
                  <a:lnTo>
                    <a:pt x="100986" y="425789"/>
                  </a:lnTo>
                  <a:lnTo>
                    <a:pt x="139892" y="447251"/>
                  </a:lnTo>
                  <a:lnTo>
                    <a:pt x="182885" y="460814"/>
                  </a:lnTo>
                  <a:lnTo>
                    <a:pt x="229044" y="465543"/>
                  </a:lnTo>
                  <a:lnTo>
                    <a:pt x="275207" y="460814"/>
                  </a:lnTo>
                  <a:lnTo>
                    <a:pt x="318203" y="447251"/>
                  </a:lnTo>
                  <a:lnTo>
                    <a:pt x="357112" y="425789"/>
                  </a:lnTo>
                  <a:lnTo>
                    <a:pt x="391012" y="397365"/>
                  </a:lnTo>
                  <a:lnTo>
                    <a:pt x="418982" y="362915"/>
                  </a:lnTo>
                  <a:lnTo>
                    <a:pt x="440101" y="323374"/>
                  </a:lnTo>
                  <a:lnTo>
                    <a:pt x="453448" y="279679"/>
                  </a:lnTo>
                  <a:lnTo>
                    <a:pt x="458101" y="232765"/>
                  </a:lnTo>
                  <a:lnTo>
                    <a:pt x="453448" y="185852"/>
                  </a:lnTo>
                  <a:lnTo>
                    <a:pt x="440101" y="142158"/>
                  </a:lnTo>
                  <a:lnTo>
                    <a:pt x="418982" y="102620"/>
                  </a:lnTo>
                  <a:lnTo>
                    <a:pt x="391012" y="68172"/>
                  </a:lnTo>
                  <a:lnTo>
                    <a:pt x="357112" y="39750"/>
                  </a:lnTo>
                  <a:lnTo>
                    <a:pt x="318203" y="18290"/>
                  </a:lnTo>
                  <a:lnTo>
                    <a:pt x="275207" y="4728"/>
                  </a:lnTo>
                  <a:lnTo>
                    <a:pt x="229044" y="0"/>
                  </a:lnTo>
                  <a:close/>
                </a:path>
              </a:pathLst>
            </a:custGeom>
            <a:solidFill>
              <a:srgbClr val="00AFFF">
                <a:alpha val="25000"/>
              </a:srgbClr>
            </a:solidFill>
          </p:spPr>
          <p:txBody>
            <a:bodyPr wrap="square" lIns="0" tIns="0" rIns="0" bIns="0" rtlCol="0"/>
            <a:lstStyle/>
            <a:p>
              <a:endParaRPr/>
            </a:p>
          </p:txBody>
        </p:sp>
        <p:sp>
          <p:nvSpPr>
            <p:cNvPr id="18" name="bg object 29">
              <a:extLst>
                <a:ext uri="{FF2B5EF4-FFF2-40B4-BE49-F238E27FC236}">
                  <a16:creationId xmlns:a16="http://schemas.microsoft.com/office/drawing/2014/main" id="{3E3A813A-BC09-90A1-0126-A506AD1F20D3}"/>
                </a:ext>
              </a:extLst>
            </p:cNvPr>
            <p:cNvSpPr/>
            <p:nvPr/>
          </p:nvSpPr>
          <p:spPr>
            <a:xfrm>
              <a:off x="2123992" y="5971316"/>
              <a:ext cx="643051" cy="652403"/>
            </a:xfrm>
            <a:custGeom>
              <a:avLst/>
              <a:gdLst/>
              <a:ahLst/>
              <a:cxnLst/>
              <a:rect l="l" t="t" r="r" b="b"/>
              <a:pathLst>
                <a:path w="708025" h="719454">
                  <a:moveTo>
                    <a:pt x="353898" y="0"/>
                  </a:moveTo>
                  <a:lnTo>
                    <a:pt x="305876" y="3283"/>
                  </a:lnTo>
                  <a:lnTo>
                    <a:pt x="259817" y="12847"/>
                  </a:lnTo>
                  <a:lnTo>
                    <a:pt x="216144" y="28263"/>
                  </a:lnTo>
                  <a:lnTo>
                    <a:pt x="175278" y="49103"/>
                  </a:lnTo>
                  <a:lnTo>
                    <a:pt x="137641" y="74938"/>
                  </a:lnTo>
                  <a:lnTo>
                    <a:pt x="103654" y="105340"/>
                  </a:lnTo>
                  <a:lnTo>
                    <a:pt x="73739" y="139879"/>
                  </a:lnTo>
                  <a:lnTo>
                    <a:pt x="48317" y="178129"/>
                  </a:lnTo>
                  <a:lnTo>
                    <a:pt x="27811" y="219659"/>
                  </a:lnTo>
                  <a:lnTo>
                    <a:pt x="12641" y="264042"/>
                  </a:lnTo>
                  <a:lnTo>
                    <a:pt x="3230" y="310849"/>
                  </a:lnTo>
                  <a:lnTo>
                    <a:pt x="0" y="359651"/>
                  </a:lnTo>
                  <a:lnTo>
                    <a:pt x="3230" y="408453"/>
                  </a:lnTo>
                  <a:lnTo>
                    <a:pt x="12641" y="455260"/>
                  </a:lnTo>
                  <a:lnTo>
                    <a:pt x="27811" y="499643"/>
                  </a:lnTo>
                  <a:lnTo>
                    <a:pt x="48317" y="541173"/>
                  </a:lnTo>
                  <a:lnTo>
                    <a:pt x="73739" y="579422"/>
                  </a:lnTo>
                  <a:lnTo>
                    <a:pt x="103654" y="613962"/>
                  </a:lnTo>
                  <a:lnTo>
                    <a:pt x="137641" y="644364"/>
                  </a:lnTo>
                  <a:lnTo>
                    <a:pt x="175278" y="670199"/>
                  </a:lnTo>
                  <a:lnTo>
                    <a:pt x="216144" y="691039"/>
                  </a:lnTo>
                  <a:lnTo>
                    <a:pt x="259817" y="706455"/>
                  </a:lnTo>
                  <a:lnTo>
                    <a:pt x="305876" y="716019"/>
                  </a:lnTo>
                  <a:lnTo>
                    <a:pt x="353898" y="719302"/>
                  </a:lnTo>
                  <a:lnTo>
                    <a:pt x="401920" y="716019"/>
                  </a:lnTo>
                  <a:lnTo>
                    <a:pt x="447978" y="706455"/>
                  </a:lnTo>
                  <a:lnTo>
                    <a:pt x="491651" y="691039"/>
                  </a:lnTo>
                  <a:lnTo>
                    <a:pt x="532517" y="670199"/>
                  </a:lnTo>
                  <a:lnTo>
                    <a:pt x="570155" y="644364"/>
                  </a:lnTo>
                  <a:lnTo>
                    <a:pt x="604142" y="613962"/>
                  </a:lnTo>
                  <a:lnTo>
                    <a:pt x="634057" y="579422"/>
                  </a:lnTo>
                  <a:lnTo>
                    <a:pt x="659479" y="541173"/>
                  </a:lnTo>
                  <a:lnTo>
                    <a:pt x="679985" y="499643"/>
                  </a:lnTo>
                  <a:lnTo>
                    <a:pt x="695154" y="455260"/>
                  </a:lnTo>
                  <a:lnTo>
                    <a:pt x="704565" y="408453"/>
                  </a:lnTo>
                  <a:lnTo>
                    <a:pt x="707796" y="359651"/>
                  </a:lnTo>
                  <a:lnTo>
                    <a:pt x="704565" y="310849"/>
                  </a:lnTo>
                  <a:lnTo>
                    <a:pt x="695154" y="264042"/>
                  </a:lnTo>
                  <a:lnTo>
                    <a:pt x="679985" y="219659"/>
                  </a:lnTo>
                  <a:lnTo>
                    <a:pt x="659479" y="178129"/>
                  </a:lnTo>
                  <a:lnTo>
                    <a:pt x="634057" y="139879"/>
                  </a:lnTo>
                  <a:lnTo>
                    <a:pt x="604142" y="105340"/>
                  </a:lnTo>
                  <a:lnTo>
                    <a:pt x="570155" y="74938"/>
                  </a:lnTo>
                  <a:lnTo>
                    <a:pt x="532517" y="49103"/>
                  </a:lnTo>
                  <a:lnTo>
                    <a:pt x="491651" y="28263"/>
                  </a:lnTo>
                  <a:lnTo>
                    <a:pt x="447978" y="12847"/>
                  </a:lnTo>
                  <a:lnTo>
                    <a:pt x="401920" y="3283"/>
                  </a:lnTo>
                  <a:lnTo>
                    <a:pt x="353898" y="0"/>
                  </a:lnTo>
                  <a:close/>
                </a:path>
              </a:pathLst>
            </a:custGeom>
            <a:solidFill>
              <a:srgbClr val="00AFFF">
                <a:alpha val="25000"/>
              </a:srgbClr>
            </a:solidFill>
          </p:spPr>
          <p:txBody>
            <a:bodyPr wrap="square" lIns="0" tIns="0" rIns="0" bIns="0" rtlCol="0"/>
            <a:lstStyle/>
            <a:p>
              <a:endParaRPr/>
            </a:p>
          </p:txBody>
        </p:sp>
        <p:sp>
          <p:nvSpPr>
            <p:cNvPr id="19" name="bg object 30">
              <a:extLst>
                <a:ext uri="{FF2B5EF4-FFF2-40B4-BE49-F238E27FC236}">
                  <a16:creationId xmlns:a16="http://schemas.microsoft.com/office/drawing/2014/main" id="{D80260F0-006F-80ED-A187-F278F9CDEA7B}"/>
                </a:ext>
              </a:extLst>
            </p:cNvPr>
            <p:cNvSpPr/>
            <p:nvPr/>
          </p:nvSpPr>
          <p:spPr>
            <a:xfrm>
              <a:off x="528270" y="4184585"/>
              <a:ext cx="536933" cy="545300"/>
            </a:xfrm>
            <a:custGeom>
              <a:avLst/>
              <a:gdLst/>
              <a:ahLst/>
              <a:cxnLst/>
              <a:rect l="l" t="t" r="r" b="b"/>
              <a:pathLst>
                <a:path w="591185" h="601345">
                  <a:moveTo>
                    <a:pt x="295554" y="0"/>
                  </a:moveTo>
                  <a:lnTo>
                    <a:pt x="247613" y="3930"/>
                  </a:lnTo>
                  <a:lnTo>
                    <a:pt x="202135" y="15311"/>
                  </a:lnTo>
                  <a:lnTo>
                    <a:pt x="159728" y="33523"/>
                  </a:lnTo>
                  <a:lnTo>
                    <a:pt x="121002" y="57949"/>
                  </a:lnTo>
                  <a:lnTo>
                    <a:pt x="86564" y="87969"/>
                  </a:lnTo>
                  <a:lnTo>
                    <a:pt x="57024" y="122966"/>
                  </a:lnTo>
                  <a:lnTo>
                    <a:pt x="32988" y="162321"/>
                  </a:lnTo>
                  <a:lnTo>
                    <a:pt x="15067" y="205417"/>
                  </a:lnTo>
                  <a:lnTo>
                    <a:pt x="3868" y="251634"/>
                  </a:lnTo>
                  <a:lnTo>
                    <a:pt x="0" y="300355"/>
                  </a:lnTo>
                  <a:lnTo>
                    <a:pt x="3868" y="349075"/>
                  </a:lnTo>
                  <a:lnTo>
                    <a:pt x="15067" y="395294"/>
                  </a:lnTo>
                  <a:lnTo>
                    <a:pt x="32988" y="438390"/>
                  </a:lnTo>
                  <a:lnTo>
                    <a:pt x="57024" y="477747"/>
                  </a:lnTo>
                  <a:lnTo>
                    <a:pt x="86564" y="512746"/>
                  </a:lnTo>
                  <a:lnTo>
                    <a:pt x="121002" y="542768"/>
                  </a:lnTo>
                  <a:lnTo>
                    <a:pt x="159728" y="567195"/>
                  </a:lnTo>
                  <a:lnTo>
                    <a:pt x="202135" y="585409"/>
                  </a:lnTo>
                  <a:lnTo>
                    <a:pt x="247613" y="596791"/>
                  </a:lnTo>
                  <a:lnTo>
                    <a:pt x="295554" y="600722"/>
                  </a:lnTo>
                  <a:lnTo>
                    <a:pt x="343495" y="596791"/>
                  </a:lnTo>
                  <a:lnTo>
                    <a:pt x="388973" y="585409"/>
                  </a:lnTo>
                  <a:lnTo>
                    <a:pt x="431379" y="567195"/>
                  </a:lnTo>
                  <a:lnTo>
                    <a:pt x="470106" y="542768"/>
                  </a:lnTo>
                  <a:lnTo>
                    <a:pt x="504544" y="512746"/>
                  </a:lnTo>
                  <a:lnTo>
                    <a:pt x="534084" y="477747"/>
                  </a:lnTo>
                  <a:lnTo>
                    <a:pt x="558120" y="438390"/>
                  </a:lnTo>
                  <a:lnTo>
                    <a:pt x="576041" y="395294"/>
                  </a:lnTo>
                  <a:lnTo>
                    <a:pt x="587240" y="349075"/>
                  </a:lnTo>
                  <a:lnTo>
                    <a:pt x="591108" y="300355"/>
                  </a:lnTo>
                  <a:lnTo>
                    <a:pt x="587240" y="251634"/>
                  </a:lnTo>
                  <a:lnTo>
                    <a:pt x="576041" y="205417"/>
                  </a:lnTo>
                  <a:lnTo>
                    <a:pt x="558120" y="162321"/>
                  </a:lnTo>
                  <a:lnTo>
                    <a:pt x="534084" y="122966"/>
                  </a:lnTo>
                  <a:lnTo>
                    <a:pt x="504544" y="87969"/>
                  </a:lnTo>
                  <a:lnTo>
                    <a:pt x="470106" y="57949"/>
                  </a:lnTo>
                  <a:lnTo>
                    <a:pt x="431379" y="33523"/>
                  </a:lnTo>
                  <a:lnTo>
                    <a:pt x="388973" y="15311"/>
                  </a:lnTo>
                  <a:lnTo>
                    <a:pt x="343495" y="3930"/>
                  </a:lnTo>
                  <a:lnTo>
                    <a:pt x="295554" y="0"/>
                  </a:lnTo>
                  <a:close/>
                </a:path>
              </a:pathLst>
            </a:custGeom>
            <a:solidFill>
              <a:srgbClr val="00AFFF">
                <a:alpha val="25000"/>
              </a:srgbClr>
            </a:solidFill>
          </p:spPr>
          <p:txBody>
            <a:bodyPr wrap="square" lIns="0" tIns="0" rIns="0" bIns="0" rtlCol="0"/>
            <a:lstStyle/>
            <a:p>
              <a:endParaRPr/>
            </a:p>
          </p:txBody>
        </p:sp>
        <p:sp>
          <p:nvSpPr>
            <p:cNvPr id="20" name="bg object 31">
              <a:extLst>
                <a:ext uri="{FF2B5EF4-FFF2-40B4-BE49-F238E27FC236}">
                  <a16:creationId xmlns:a16="http://schemas.microsoft.com/office/drawing/2014/main" id="{E23A1099-90BC-41AF-13CD-F62E1BE0DB67}"/>
                </a:ext>
              </a:extLst>
            </p:cNvPr>
            <p:cNvSpPr/>
            <p:nvPr/>
          </p:nvSpPr>
          <p:spPr>
            <a:xfrm>
              <a:off x="0" y="4190048"/>
              <a:ext cx="326428" cy="1775824"/>
            </a:xfrm>
            <a:custGeom>
              <a:avLst/>
              <a:gdLst/>
              <a:ahLst/>
              <a:cxnLst/>
              <a:rect l="l" t="t" r="r" b="b"/>
              <a:pathLst>
                <a:path w="359410" h="1958340">
                  <a:moveTo>
                    <a:pt x="0" y="0"/>
                  </a:moveTo>
                  <a:lnTo>
                    <a:pt x="0" y="1957935"/>
                  </a:lnTo>
                  <a:lnTo>
                    <a:pt x="27343" y="1918542"/>
                  </a:lnTo>
                  <a:lnTo>
                    <a:pt x="53873" y="1878921"/>
                  </a:lnTo>
                  <a:lnTo>
                    <a:pt x="79503" y="1839152"/>
                  </a:lnTo>
                  <a:lnTo>
                    <a:pt x="104202" y="1799230"/>
                  </a:lnTo>
                  <a:lnTo>
                    <a:pt x="127941" y="1759153"/>
                  </a:lnTo>
                  <a:lnTo>
                    <a:pt x="150691" y="1718918"/>
                  </a:lnTo>
                  <a:lnTo>
                    <a:pt x="172420" y="1678522"/>
                  </a:lnTo>
                  <a:lnTo>
                    <a:pt x="193101" y="1637961"/>
                  </a:lnTo>
                  <a:lnTo>
                    <a:pt x="212701" y="1597233"/>
                  </a:lnTo>
                  <a:lnTo>
                    <a:pt x="231193" y="1556334"/>
                  </a:lnTo>
                  <a:lnTo>
                    <a:pt x="248546" y="1515262"/>
                  </a:lnTo>
                  <a:lnTo>
                    <a:pt x="264730" y="1474013"/>
                  </a:lnTo>
                  <a:lnTo>
                    <a:pt x="279716" y="1432583"/>
                  </a:lnTo>
                  <a:lnTo>
                    <a:pt x="293473" y="1390971"/>
                  </a:lnTo>
                  <a:lnTo>
                    <a:pt x="305972" y="1349173"/>
                  </a:lnTo>
                  <a:lnTo>
                    <a:pt x="317182" y="1307186"/>
                  </a:lnTo>
                  <a:lnTo>
                    <a:pt x="327075" y="1265006"/>
                  </a:lnTo>
                  <a:lnTo>
                    <a:pt x="335620" y="1222631"/>
                  </a:lnTo>
                  <a:lnTo>
                    <a:pt x="342788" y="1180057"/>
                  </a:lnTo>
                  <a:lnTo>
                    <a:pt x="348549" y="1137282"/>
                  </a:lnTo>
                  <a:lnTo>
                    <a:pt x="355702" y="1059942"/>
                  </a:lnTo>
                  <a:lnTo>
                    <a:pt x="358873" y="984771"/>
                  </a:lnTo>
                  <a:lnTo>
                    <a:pt x="358318" y="911798"/>
                  </a:lnTo>
                  <a:lnTo>
                    <a:pt x="354295" y="841048"/>
                  </a:lnTo>
                  <a:lnTo>
                    <a:pt x="347060" y="772550"/>
                  </a:lnTo>
                  <a:lnTo>
                    <a:pt x="336870" y="706330"/>
                  </a:lnTo>
                  <a:lnTo>
                    <a:pt x="323983" y="642415"/>
                  </a:lnTo>
                  <a:lnTo>
                    <a:pt x="308655" y="580833"/>
                  </a:lnTo>
                  <a:lnTo>
                    <a:pt x="291143" y="521610"/>
                  </a:lnTo>
                  <a:lnTo>
                    <a:pt x="271705" y="464775"/>
                  </a:lnTo>
                  <a:lnTo>
                    <a:pt x="250596" y="410353"/>
                  </a:lnTo>
                  <a:lnTo>
                    <a:pt x="228075" y="358372"/>
                  </a:lnTo>
                  <a:lnTo>
                    <a:pt x="204398" y="308860"/>
                  </a:lnTo>
                  <a:lnTo>
                    <a:pt x="179822" y="261843"/>
                  </a:lnTo>
                  <a:lnTo>
                    <a:pt x="154604" y="217348"/>
                  </a:lnTo>
                  <a:lnTo>
                    <a:pt x="129001" y="175403"/>
                  </a:lnTo>
                  <a:lnTo>
                    <a:pt x="103270" y="136034"/>
                  </a:lnTo>
                  <a:lnTo>
                    <a:pt x="77668" y="99270"/>
                  </a:lnTo>
                  <a:lnTo>
                    <a:pt x="52451" y="65136"/>
                  </a:lnTo>
                  <a:lnTo>
                    <a:pt x="27878" y="33660"/>
                  </a:lnTo>
                  <a:lnTo>
                    <a:pt x="0" y="0"/>
                  </a:lnTo>
                  <a:close/>
                </a:path>
              </a:pathLst>
            </a:custGeom>
            <a:solidFill>
              <a:srgbClr val="00AFFF">
                <a:alpha val="25000"/>
              </a:srgbClr>
            </a:solidFill>
          </p:spPr>
          <p:txBody>
            <a:bodyPr wrap="square" lIns="0" tIns="0" rIns="0" bIns="0" rtlCol="0"/>
            <a:lstStyle/>
            <a:p>
              <a:endParaRPr/>
            </a:p>
          </p:txBody>
        </p:sp>
      </p:grpSp>
      <p:sp>
        <p:nvSpPr>
          <p:cNvPr id="5" name="Footer Placeholder 4">
            <a:extLst>
              <a:ext uri="{FF2B5EF4-FFF2-40B4-BE49-F238E27FC236}">
                <a16:creationId xmlns:a16="http://schemas.microsoft.com/office/drawing/2014/main" id="{2D70901D-0772-6483-D106-1C6C5F3B0F1C}"/>
              </a:ext>
            </a:extLst>
          </p:cNvPr>
          <p:cNvSpPr>
            <a:spLocks noGrp="1"/>
          </p:cNvSpPr>
          <p:nvPr>
            <p:ph type="ftr" sz="quarter" idx="11"/>
          </p:nvPr>
        </p:nvSpPr>
        <p:spPr>
          <a:xfrm>
            <a:off x="777696" y="6114954"/>
            <a:ext cx="8878211" cy="365125"/>
          </a:xfrm>
          <a:prstGeom prst="rect">
            <a:avLst/>
          </a:prstGeom>
        </p:spPr>
        <p:txBody>
          <a:bodyPr/>
          <a:lstStyle>
            <a:lvl1pPr>
              <a:defRPr>
                <a:solidFill>
                  <a:schemeClr val="tx2"/>
                </a:solidFill>
              </a:defRPr>
            </a:lvl1pPr>
          </a:lstStyle>
          <a:p>
            <a:endParaRPr lang="en-GB" dirty="0"/>
          </a:p>
        </p:txBody>
      </p:sp>
      <p:sp>
        <p:nvSpPr>
          <p:cNvPr id="2" name="Title 1">
            <a:extLst>
              <a:ext uri="{FF2B5EF4-FFF2-40B4-BE49-F238E27FC236}">
                <a16:creationId xmlns:a16="http://schemas.microsoft.com/office/drawing/2014/main" id="{440E5D39-85A3-5569-2D74-ED9FD02ED54A}"/>
              </a:ext>
            </a:extLst>
          </p:cNvPr>
          <p:cNvSpPr>
            <a:spLocks noGrp="1"/>
          </p:cNvSpPr>
          <p:nvPr>
            <p:ph type="title"/>
          </p:nvPr>
        </p:nvSpPr>
        <p:spPr>
          <a:xfrm>
            <a:off x="738653" y="365125"/>
            <a:ext cx="8547587" cy="1325563"/>
          </a:xfrm>
        </p:spPr>
        <p:txBody>
          <a:bodyPr>
            <a:normAutofit/>
          </a:bodyPr>
          <a:lstStyle>
            <a:lvl1pPr>
              <a:defRPr sz="4400">
                <a:solidFill>
                  <a:schemeClr val="bg2"/>
                </a:solidFill>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6B5854E6-5AFC-01CC-D39F-952023040195}"/>
              </a:ext>
            </a:extLst>
          </p:cNvPr>
          <p:cNvSpPr>
            <a:spLocks noGrp="1"/>
          </p:cNvSpPr>
          <p:nvPr>
            <p:ph idx="1"/>
          </p:nvPr>
        </p:nvSpPr>
        <p:spPr>
          <a:xfrm>
            <a:off x="738652" y="1825625"/>
            <a:ext cx="8547587" cy="3772535"/>
          </a:xfrm>
        </p:spPr>
        <p:txBody>
          <a:bodyPr>
            <a:normAutofit/>
          </a:bodyPr>
          <a:lstStyle>
            <a:lvl1pPr marL="182563" indent="-182563">
              <a:buClr>
                <a:schemeClr val="tx2"/>
              </a:buClr>
              <a:buFont typeface="Arial" panose="020B0604020202020204" pitchFamily="34" charset="0"/>
              <a:buChar char="•"/>
              <a:defRPr sz="2000">
                <a:solidFill>
                  <a:schemeClr val="bg1"/>
                </a:solidFill>
                <a:latin typeface="Quicksand" pitchFamily="2" charset="0"/>
              </a:defRPr>
            </a:lvl1pPr>
            <a:lvl2pPr marL="182563" indent="-182563">
              <a:buClr>
                <a:schemeClr val="tx2"/>
              </a:buClr>
              <a:buFont typeface="Arial" panose="020B0604020202020204" pitchFamily="34" charset="0"/>
              <a:buChar char="•"/>
              <a:defRPr sz="2000">
                <a:solidFill>
                  <a:schemeClr val="bg1"/>
                </a:solidFill>
                <a:latin typeface="Quicksand" pitchFamily="2" charset="0"/>
              </a:defRPr>
            </a:lvl2pPr>
            <a:lvl3pPr marL="182563" indent="-182563">
              <a:buClr>
                <a:schemeClr val="tx2"/>
              </a:buClr>
              <a:buFont typeface="Arial" panose="020B0604020202020204" pitchFamily="34" charset="0"/>
              <a:buChar char="•"/>
              <a:defRPr sz="2000">
                <a:solidFill>
                  <a:schemeClr val="bg1"/>
                </a:solidFill>
                <a:latin typeface="Quicksand" pitchFamily="2" charset="0"/>
              </a:defRPr>
            </a:lvl3pPr>
            <a:lvl4pPr marL="182563" indent="-182563">
              <a:buClr>
                <a:schemeClr val="tx2"/>
              </a:buClr>
              <a:buFont typeface="Arial" panose="020B0604020202020204" pitchFamily="34" charset="0"/>
              <a:buChar char="•"/>
              <a:defRPr sz="2000">
                <a:solidFill>
                  <a:schemeClr val="bg1"/>
                </a:solidFill>
                <a:latin typeface="Quicksand" pitchFamily="2" charset="0"/>
              </a:defRPr>
            </a:lvl4pPr>
            <a:lvl5pPr marL="182563" indent="-182563">
              <a:buClr>
                <a:schemeClr val="tx2"/>
              </a:buClr>
              <a:buFont typeface="Arial" panose="020B0604020202020204" pitchFamily="34" charset="0"/>
              <a:buChar char="•"/>
              <a:defRPr sz="2000">
                <a:solidFill>
                  <a:schemeClr val="bg1"/>
                </a:solidFill>
                <a:latin typeface="Quicksand"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22" name="Picture 21" descr="A picture containing text&#10;&#10;Description automatically generated">
            <a:extLst>
              <a:ext uri="{FF2B5EF4-FFF2-40B4-BE49-F238E27FC236}">
                <a16:creationId xmlns:a16="http://schemas.microsoft.com/office/drawing/2014/main" id="{2FB7BBB5-8E7B-2C74-9A01-95D1F0F194B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58512" y="5755005"/>
            <a:ext cx="887325" cy="866809"/>
          </a:xfrm>
          <a:prstGeom prst="rect">
            <a:avLst/>
          </a:prstGeom>
        </p:spPr>
      </p:pic>
    </p:spTree>
    <p:extLst>
      <p:ext uri="{BB962C8B-B14F-4D97-AF65-F5344CB8AC3E}">
        <p14:creationId xmlns:p14="http://schemas.microsoft.com/office/powerpoint/2010/main" val="28588617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0AE4B-071C-02F5-A372-F86D8DED5AA0}"/>
              </a:ext>
            </a:extLst>
          </p:cNvPr>
          <p:cNvSpPr>
            <a:spLocks noGrp="1"/>
          </p:cNvSpPr>
          <p:nvPr>
            <p:ph type="title"/>
          </p:nvPr>
        </p:nvSpPr>
        <p:spPr/>
        <p:txBody>
          <a:bodyPr>
            <a:normAutofit/>
          </a:bodyPr>
          <a:lstStyle>
            <a:lvl1pPr>
              <a:defRPr sz="3200">
                <a:solidFill>
                  <a:schemeClr val="accent3"/>
                </a:solidFill>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73B1B0B9-AB91-426F-92D7-F2F806F72554}"/>
              </a:ext>
            </a:extLst>
          </p:cNvPr>
          <p:cNvSpPr>
            <a:spLocks noGrp="1"/>
          </p:cNvSpPr>
          <p:nvPr>
            <p:ph sz="half" idx="1"/>
          </p:nvPr>
        </p:nvSpPr>
        <p:spPr>
          <a:xfrm>
            <a:off x="751840" y="1825625"/>
            <a:ext cx="5267959" cy="3619212"/>
          </a:xfrm>
        </p:spPr>
        <p:txBody>
          <a:bodyPr/>
          <a:lstStyle>
            <a:lvl1pPr>
              <a:defRPr>
                <a:latin typeface="Quicksand" pitchFamily="2" charset="0"/>
              </a:defRPr>
            </a:lvl1pPr>
            <a:lvl2pPr>
              <a:defRPr>
                <a:latin typeface="Quicksand" pitchFamily="2" charset="0"/>
              </a:defRPr>
            </a:lvl2pPr>
            <a:lvl3pPr>
              <a:defRPr>
                <a:latin typeface="Quicksand" pitchFamily="2" charset="0"/>
              </a:defRPr>
            </a:lvl3pPr>
            <a:lvl4pPr>
              <a:defRPr>
                <a:latin typeface="Quicksand" pitchFamily="2" charset="0"/>
              </a:defRPr>
            </a:lvl4pPr>
            <a:lvl5pPr>
              <a:defRPr>
                <a:latin typeface="Quicksand"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7" name="Chart Placeholder 4">
            <a:extLst>
              <a:ext uri="{FF2B5EF4-FFF2-40B4-BE49-F238E27FC236}">
                <a16:creationId xmlns:a16="http://schemas.microsoft.com/office/drawing/2014/main" id="{EE3E867B-9FE0-71C1-A521-89885EE0C426}"/>
              </a:ext>
            </a:extLst>
          </p:cNvPr>
          <p:cNvSpPr>
            <a:spLocks noGrp="1"/>
          </p:cNvSpPr>
          <p:nvPr>
            <p:ph type="chart" sz="quarter" idx="13"/>
          </p:nvPr>
        </p:nvSpPr>
        <p:spPr>
          <a:xfrm>
            <a:off x="6172201" y="1825625"/>
            <a:ext cx="5282789" cy="3619212"/>
          </a:xfrm>
        </p:spPr>
        <p:txBody>
          <a:bodyPr anchor="ctr"/>
          <a:lstStyle>
            <a:lvl1pPr algn="ctr">
              <a:defRPr/>
            </a:lvl1pPr>
          </a:lstStyle>
          <a:p>
            <a:r>
              <a:rPr lang="en-US" dirty="0"/>
              <a:t>Click icon to add chart</a:t>
            </a:r>
            <a:endParaRPr lang="en-GB" dirty="0"/>
          </a:p>
        </p:txBody>
      </p:sp>
      <p:sp>
        <p:nvSpPr>
          <p:cNvPr id="28" name="Footer Placeholder 4">
            <a:extLst>
              <a:ext uri="{FF2B5EF4-FFF2-40B4-BE49-F238E27FC236}">
                <a16:creationId xmlns:a16="http://schemas.microsoft.com/office/drawing/2014/main" id="{A728AFED-1DF7-D662-6492-F874A99CC229}"/>
              </a:ext>
            </a:extLst>
          </p:cNvPr>
          <p:cNvSpPr>
            <a:spLocks noGrp="1"/>
          </p:cNvSpPr>
          <p:nvPr>
            <p:ph type="ftr" sz="quarter" idx="3"/>
          </p:nvPr>
        </p:nvSpPr>
        <p:spPr>
          <a:xfrm>
            <a:off x="751840" y="6114954"/>
            <a:ext cx="8904068" cy="365125"/>
          </a:xfrm>
          <a:prstGeom prst="rect">
            <a:avLst/>
          </a:prstGeom>
        </p:spPr>
        <p:txBody>
          <a:bodyPr/>
          <a:lstStyle>
            <a:lvl1pPr>
              <a:defRPr>
                <a:solidFill>
                  <a:schemeClr val="bg2"/>
                </a:solidFill>
              </a:defRPr>
            </a:lvl1pPr>
          </a:lstStyle>
          <a:p>
            <a:endParaRPr lang="en-GB" dirty="0"/>
          </a:p>
        </p:txBody>
      </p:sp>
    </p:spTree>
    <p:extLst>
      <p:ext uri="{BB962C8B-B14F-4D97-AF65-F5344CB8AC3E}">
        <p14:creationId xmlns:p14="http://schemas.microsoft.com/office/powerpoint/2010/main" val="31732327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0E5D39-85A3-5569-2D74-ED9FD02ED54A}"/>
              </a:ext>
            </a:extLst>
          </p:cNvPr>
          <p:cNvSpPr>
            <a:spLocks noGrp="1"/>
          </p:cNvSpPr>
          <p:nvPr>
            <p:ph type="title"/>
          </p:nvPr>
        </p:nvSpPr>
        <p:spPr/>
        <p:txBody>
          <a:bodyPr/>
          <a:lstStyle/>
          <a:p>
            <a:r>
              <a:rPr lang="en-GB"/>
              <a:t>Click to edit Master title style</a:t>
            </a:r>
          </a:p>
        </p:txBody>
      </p:sp>
      <p:sp>
        <p:nvSpPr>
          <p:cNvPr id="7" name="Footer Placeholder 4">
            <a:extLst>
              <a:ext uri="{FF2B5EF4-FFF2-40B4-BE49-F238E27FC236}">
                <a16:creationId xmlns:a16="http://schemas.microsoft.com/office/drawing/2014/main" id="{58709D87-BA1C-72DE-952F-21C692F1E6B9}"/>
              </a:ext>
            </a:extLst>
          </p:cNvPr>
          <p:cNvSpPr>
            <a:spLocks noGrp="1"/>
          </p:cNvSpPr>
          <p:nvPr>
            <p:ph type="ftr" sz="quarter" idx="3"/>
          </p:nvPr>
        </p:nvSpPr>
        <p:spPr>
          <a:xfrm>
            <a:off x="751840" y="6114954"/>
            <a:ext cx="8904068" cy="365125"/>
          </a:xfrm>
          <a:prstGeom prst="rect">
            <a:avLst/>
          </a:prstGeom>
        </p:spPr>
        <p:txBody>
          <a:bodyPr/>
          <a:lstStyle>
            <a:lvl1pPr>
              <a:defRPr>
                <a:solidFill>
                  <a:schemeClr val="accent1"/>
                </a:solidFill>
              </a:defRPr>
            </a:lvl1pPr>
          </a:lstStyle>
          <a:p>
            <a:endParaRPr lang="en-GB" dirty="0"/>
          </a:p>
        </p:txBody>
      </p:sp>
      <p:sp>
        <p:nvSpPr>
          <p:cNvPr id="3" name="Content Placeholder 2">
            <a:extLst>
              <a:ext uri="{FF2B5EF4-FFF2-40B4-BE49-F238E27FC236}">
                <a16:creationId xmlns:a16="http://schemas.microsoft.com/office/drawing/2014/main" id="{7A3A9427-C886-3512-4C7D-C43D5222DEC4}"/>
              </a:ext>
            </a:extLst>
          </p:cNvPr>
          <p:cNvSpPr>
            <a:spLocks noGrp="1"/>
          </p:cNvSpPr>
          <p:nvPr>
            <p:ph idx="1"/>
          </p:nvPr>
        </p:nvSpPr>
        <p:spPr>
          <a:xfrm>
            <a:off x="751840" y="1825625"/>
            <a:ext cx="10703150" cy="3772535"/>
          </a:xfrm>
          <a:prstGeom prst="rect">
            <a:avLst/>
          </a:prstGeom>
        </p:spPr>
        <p:txBody>
          <a:bodyPr/>
          <a:lstStyle>
            <a:lvl1pPr>
              <a:defRPr>
                <a:latin typeface="Quicksand" pitchFamily="2" charset="0"/>
              </a:defRPr>
            </a:lvl1pPr>
            <a:lvl2pPr marL="182563" indent="-182563">
              <a:buClr>
                <a:schemeClr val="bg2"/>
              </a:buClr>
              <a:buFont typeface="Arial" panose="020B0604020202020204" pitchFamily="34" charset="0"/>
              <a:buChar char="•"/>
              <a:defRPr>
                <a:latin typeface="Quicksand" pitchFamily="2" charset="0"/>
              </a:defRPr>
            </a:lvl2pPr>
            <a:lvl3pPr marL="684000" indent="-182563">
              <a:buClr>
                <a:schemeClr val="bg2"/>
              </a:buClr>
              <a:buFont typeface="System Font Regular"/>
              <a:buChar char="-"/>
              <a:defRPr>
                <a:latin typeface="Quicksand" pitchFamily="2" charset="0"/>
              </a:defRPr>
            </a:lvl3pPr>
            <a:lvl4pPr marL="1368000" indent="-182563">
              <a:buClr>
                <a:schemeClr val="bg2"/>
              </a:buClr>
              <a:buFont typeface="Arial" panose="020B0604020202020204" pitchFamily="34" charset="0"/>
              <a:buChar char="•"/>
              <a:defRPr>
                <a:latin typeface="Quicksand" pitchFamily="2" charset="0"/>
              </a:defRPr>
            </a:lvl4pPr>
            <a:lvl5pPr marL="2052000" indent="-182563">
              <a:buClr>
                <a:schemeClr val="bg2"/>
              </a:buClr>
              <a:buFont typeface="System Font Regular"/>
              <a:buChar char="-"/>
              <a:defRPr>
                <a:latin typeface="Quicksand"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60042512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0AE4B-071C-02F5-A372-F86D8DED5AA0}"/>
              </a:ext>
            </a:extLst>
          </p:cNvPr>
          <p:cNvSpPr>
            <a:spLocks noGrp="1"/>
          </p:cNvSpPr>
          <p:nvPr>
            <p:ph type="title"/>
          </p:nvPr>
        </p:nvSpPr>
        <p:spPr/>
        <p:txBody>
          <a:bodyPr>
            <a:normAutofit/>
          </a:bodyPr>
          <a:lstStyle>
            <a:lvl1pPr>
              <a:defRPr sz="3200">
                <a:solidFill>
                  <a:schemeClr val="accent3"/>
                </a:solidFill>
              </a:defRPr>
            </a:lvl1pPr>
          </a:lstStyle>
          <a:p>
            <a:r>
              <a:rPr lang="en-US" dirty="0"/>
              <a:t>Click to edit Master title style</a:t>
            </a:r>
            <a:endParaRPr lang="en-GB" dirty="0"/>
          </a:p>
        </p:txBody>
      </p:sp>
      <p:sp>
        <p:nvSpPr>
          <p:cNvPr id="27" name="Chart Placeholder 4">
            <a:extLst>
              <a:ext uri="{FF2B5EF4-FFF2-40B4-BE49-F238E27FC236}">
                <a16:creationId xmlns:a16="http://schemas.microsoft.com/office/drawing/2014/main" id="{EE3E867B-9FE0-71C1-A521-89885EE0C426}"/>
              </a:ext>
            </a:extLst>
          </p:cNvPr>
          <p:cNvSpPr>
            <a:spLocks noGrp="1"/>
          </p:cNvSpPr>
          <p:nvPr>
            <p:ph type="chart" sz="quarter" idx="13"/>
          </p:nvPr>
        </p:nvSpPr>
        <p:spPr>
          <a:xfrm>
            <a:off x="751839" y="1825625"/>
            <a:ext cx="10703151" cy="3858202"/>
          </a:xfrm>
        </p:spPr>
        <p:txBody>
          <a:bodyPr anchor="ctr"/>
          <a:lstStyle>
            <a:lvl1pPr algn="ctr">
              <a:defRPr/>
            </a:lvl1pPr>
          </a:lstStyle>
          <a:p>
            <a:r>
              <a:rPr lang="en-US" dirty="0"/>
              <a:t>Click icon to add chart</a:t>
            </a:r>
            <a:endParaRPr lang="en-GB" dirty="0"/>
          </a:p>
        </p:txBody>
      </p:sp>
      <p:sp>
        <p:nvSpPr>
          <p:cNvPr id="28" name="Footer Placeholder 4">
            <a:extLst>
              <a:ext uri="{FF2B5EF4-FFF2-40B4-BE49-F238E27FC236}">
                <a16:creationId xmlns:a16="http://schemas.microsoft.com/office/drawing/2014/main" id="{A728AFED-1DF7-D662-6492-F874A99CC229}"/>
              </a:ext>
            </a:extLst>
          </p:cNvPr>
          <p:cNvSpPr>
            <a:spLocks noGrp="1"/>
          </p:cNvSpPr>
          <p:nvPr>
            <p:ph type="ftr" sz="quarter" idx="3"/>
          </p:nvPr>
        </p:nvSpPr>
        <p:spPr>
          <a:xfrm>
            <a:off x="751838" y="6114954"/>
            <a:ext cx="8904069" cy="365125"/>
          </a:xfrm>
          <a:prstGeom prst="rect">
            <a:avLst/>
          </a:prstGeom>
        </p:spPr>
        <p:txBody>
          <a:bodyPr/>
          <a:lstStyle>
            <a:lvl1pPr>
              <a:defRPr>
                <a:solidFill>
                  <a:schemeClr val="bg2"/>
                </a:solidFill>
              </a:defRPr>
            </a:lvl1pPr>
          </a:lstStyle>
          <a:p>
            <a:endParaRPr lang="en-GB" dirty="0"/>
          </a:p>
        </p:txBody>
      </p:sp>
    </p:spTree>
    <p:extLst>
      <p:ext uri="{BB962C8B-B14F-4D97-AF65-F5344CB8AC3E}">
        <p14:creationId xmlns:p14="http://schemas.microsoft.com/office/powerpoint/2010/main" val="13210957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0AE4B-071C-02F5-A372-F86D8DED5AA0}"/>
              </a:ext>
            </a:extLst>
          </p:cNvPr>
          <p:cNvSpPr>
            <a:spLocks noGrp="1"/>
          </p:cNvSpPr>
          <p:nvPr>
            <p:ph type="title"/>
          </p:nvPr>
        </p:nvSpPr>
        <p:spPr/>
        <p:txBody>
          <a:bodyPr>
            <a:normAutofit/>
          </a:bodyPr>
          <a:lstStyle>
            <a:lvl1pPr>
              <a:defRPr sz="3200">
                <a:solidFill>
                  <a:schemeClr val="accent3"/>
                </a:solidFill>
              </a:defRPr>
            </a:lvl1pPr>
          </a:lstStyle>
          <a:p>
            <a:r>
              <a:rPr lang="en-US" dirty="0"/>
              <a:t>Click to edit Master title style</a:t>
            </a:r>
            <a:endParaRPr lang="en-GB" dirty="0"/>
          </a:p>
        </p:txBody>
      </p:sp>
      <p:sp>
        <p:nvSpPr>
          <p:cNvPr id="28" name="Footer Placeholder 4">
            <a:extLst>
              <a:ext uri="{FF2B5EF4-FFF2-40B4-BE49-F238E27FC236}">
                <a16:creationId xmlns:a16="http://schemas.microsoft.com/office/drawing/2014/main" id="{A728AFED-1DF7-D662-6492-F874A99CC229}"/>
              </a:ext>
            </a:extLst>
          </p:cNvPr>
          <p:cNvSpPr>
            <a:spLocks noGrp="1"/>
          </p:cNvSpPr>
          <p:nvPr>
            <p:ph type="ftr" sz="quarter" idx="3"/>
          </p:nvPr>
        </p:nvSpPr>
        <p:spPr>
          <a:xfrm>
            <a:off x="751840" y="6114954"/>
            <a:ext cx="8904067" cy="365125"/>
          </a:xfrm>
          <a:prstGeom prst="rect">
            <a:avLst/>
          </a:prstGeom>
        </p:spPr>
        <p:txBody>
          <a:bodyPr/>
          <a:lstStyle>
            <a:lvl1pPr>
              <a:defRPr>
                <a:solidFill>
                  <a:schemeClr val="bg2"/>
                </a:solidFill>
              </a:defRPr>
            </a:lvl1pPr>
          </a:lstStyle>
          <a:p>
            <a:endParaRPr lang="en-GB" dirty="0"/>
          </a:p>
        </p:txBody>
      </p:sp>
    </p:spTree>
    <p:extLst>
      <p:ext uri="{BB962C8B-B14F-4D97-AF65-F5344CB8AC3E}">
        <p14:creationId xmlns:p14="http://schemas.microsoft.com/office/powerpoint/2010/main" val="17383022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2D00DCAC-C40F-C3B9-F022-BCEE66A66A0B}"/>
              </a:ext>
            </a:extLst>
          </p:cNvPr>
          <p:cNvSpPr/>
          <p:nvPr userDrawn="1"/>
        </p:nvSpPr>
        <p:spPr>
          <a:xfrm>
            <a:off x="0" y="0"/>
            <a:ext cx="12192000" cy="6855696"/>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rgbClr val="00AFFF"/>
          </a:solidFill>
        </p:spPr>
        <p:txBody>
          <a:bodyPr wrap="square" lIns="0" tIns="0" rIns="0" bIns="0" rtlCol="0"/>
          <a:lstStyle/>
          <a:p>
            <a:endParaRPr sz="2000"/>
          </a:p>
        </p:txBody>
      </p:sp>
      <p:sp>
        <p:nvSpPr>
          <p:cNvPr id="20" name="object 3">
            <a:extLst>
              <a:ext uri="{FF2B5EF4-FFF2-40B4-BE49-F238E27FC236}">
                <a16:creationId xmlns:a16="http://schemas.microsoft.com/office/drawing/2014/main" id="{B044399D-0912-D593-C0A7-709DB4E472C3}"/>
              </a:ext>
            </a:extLst>
          </p:cNvPr>
          <p:cNvSpPr/>
          <p:nvPr userDrawn="1"/>
        </p:nvSpPr>
        <p:spPr>
          <a:xfrm>
            <a:off x="7795390" y="0"/>
            <a:ext cx="4391193" cy="4363554"/>
          </a:xfrm>
          <a:custGeom>
            <a:avLst/>
            <a:gdLst/>
            <a:ahLst/>
            <a:cxnLst/>
            <a:rect l="l" t="t" r="r" b="b"/>
            <a:pathLst>
              <a:path w="4842509" h="4812030">
                <a:moveTo>
                  <a:pt x="747268" y="1291882"/>
                </a:moveTo>
                <a:lnTo>
                  <a:pt x="744347" y="1244257"/>
                </a:lnTo>
                <a:lnTo>
                  <a:pt x="735850" y="1198397"/>
                </a:lnTo>
                <a:lnTo>
                  <a:pt x="722109" y="1154645"/>
                </a:lnTo>
                <a:lnTo>
                  <a:pt x="703478" y="1113383"/>
                </a:lnTo>
                <a:lnTo>
                  <a:pt x="680313" y="1074953"/>
                </a:lnTo>
                <a:lnTo>
                  <a:pt x="652957" y="1039710"/>
                </a:lnTo>
                <a:lnTo>
                  <a:pt x="621766" y="1008011"/>
                </a:lnTo>
                <a:lnTo>
                  <a:pt x="587095" y="980211"/>
                </a:lnTo>
                <a:lnTo>
                  <a:pt x="549275" y="956665"/>
                </a:lnTo>
                <a:lnTo>
                  <a:pt x="508673" y="937742"/>
                </a:lnTo>
                <a:lnTo>
                  <a:pt x="465620" y="923772"/>
                </a:lnTo>
                <a:lnTo>
                  <a:pt x="420497" y="915136"/>
                </a:lnTo>
                <a:lnTo>
                  <a:pt x="373634" y="912177"/>
                </a:lnTo>
                <a:lnTo>
                  <a:pt x="326758" y="915136"/>
                </a:lnTo>
                <a:lnTo>
                  <a:pt x="281635" y="923772"/>
                </a:lnTo>
                <a:lnTo>
                  <a:pt x="238582" y="937742"/>
                </a:lnTo>
                <a:lnTo>
                  <a:pt x="197980" y="956665"/>
                </a:lnTo>
                <a:lnTo>
                  <a:pt x="160159" y="980211"/>
                </a:lnTo>
                <a:lnTo>
                  <a:pt x="125488" y="1008011"/>
                </a:lnTo>
                <a:lnTo>
                  <a:pt x="94297" y="1039710"/>
                </a:lnTo>
                <a:lnTo>
                  <a:pt x="66941" y="1074953"/>
                </a:lnTo>
                <a:lnTo>
                  <a:pt x="43776" y="1113383"/>
                </a:lnTo>
                <a:lnTo>
                  <a:pt x="25146" y="1154645"/>
                </a:lnTo>
                <a:lnTo>
                  <a:pt x="11404" y="1198397"/>
                </a:lnTo>
                <a:lnTo>
                  <a:pt x="2908" y="1244257"/>
                </a:lnTo>
                <a:lnTo>
                  <a:pt x="0" y="1291882"/>
                </a:lnTo>
                <a:lnTo>
                  <a:pt x="2908" y="1339519"/>
                </a:lnTo>
                <a:lnTo>
                  <a:pt x="11404" y="1385379"/>
                </a:lnTo>
                <a:lnTo>
                  <a:pt x="25146" y="1429131"/>
                </a:lnTo>
                <a:lnTo>
                  <a:pt x="43776" y="1470393"/>
                </a:lnTo>
                <a:lnTo>
                  <a:pt x="66941" y="1508823"/>
                </a:lnTo>
                <a:lnTo>
                  <a:pt x="94297" y="1544066"/>
                </a:lnTo>
                <a:lnTo>
                  <a:pt x="125488" y="1575765"/>
                </a:lnTo>
                <a:lnTo>
                  <a:pt x="160159" y="1603565"/>
                </a:lnTo>
                <a:lnTo>
                  <a:pt x="197980" y="1627111"/>
                </a:lnTo>
                <a:lnTo>
                  <a:pt x="238582" y="1646047"/>
                </a:lnTo>
                <a:lnTo>
                  <a:pt x="281635" y="1660004"/>
                </a:lnTo>
                <a:lnTo>
                  <a:pt x="326758" y="1668640"/>
                </a:lnTo>
                <a:lnTo>
                  <a:pt x="373634" y="1671599"/>
                </a:lnTo>
                <a:lnTo>
                  <a:pt x="420497" y="1668640"/>
                </a:lnTo>
                <a:lnTo>
                  <a:pt x="465620" y="1660004"/>
                </a:lnTo>
                <a:lnTo>
                  <a:pt x="508673" y="1646047"/>
                </a:lnTo>
                <a:lnTo>
                  <a:pt x="549275" y="1627111"/>
                </a:lnTo>
                <a:lnTo>
                  <a:pt x="587095" y="1603565"/>
                </a:lnTo>
                <a:lnTo>
                  <a:pt x="621766" y="1575765"/>
                </a:lnTo>
                <a:lnTo>
                  <a:pt x="652957" y="1544066"/>
                </a:lnTo>
                <a:lnTo>
                  <a:pt x="680313" y="1508823"/>
                </a:lnTo>
                <a:lnTo>
                  <a:pt x="703478" y="1470393"/>
                </a:lnTo>
                <a:lnTo>
                  <a:pt x="722109" y="1429131"/>
                </a:lnTo>
                <a:lnTo>
                  <a:pt x="735850" y="1385379"/>
                </a:lnTo>
                <a:lnTo>
                  <a:pt x="744347" y="1339519"/>
                </a:lnTo>
                <a:lnTo>
                  <a:pt x="747268" y="1291882"/>
                </a:lnTo>
                <a:close/>
              </a:path>
              <a:path w="4842509" h="4812030">
                <a:moveTo>
                  <a:pt x="1038237" y="2275001"/>
                </a:moveTo>
                <a:lnTo>
                  <a:pt x="1033195" y="2230450"/>
                </a:lnTo>
                <a:lnTo>
                  <a:pt x="1018806" y="2189556"/>
                </a:lnTo>
                <a:lnTo>
                  <a:pt x="996238" y="2153475"/>
                </a:lnTo>
                <a:lnTo>
                  <a:pt x="966635" y="2123389"/>
                </a:lnTo>
                <a:lnTo>
                  <a:pt x="931125" y="2100453"/>
                </a:lnTo>
                <a:lnTo>
                  <a:pt x="890879" y="2085835"/>
                </a:lnTo>
                <a:lnTo>
                  <a:pt x="847039" y="2080691"/>
                </a:lnTo>
                <a:lnTo>
                  <a:pt x="803198" y="2085835"/>
                </a:lnTo>
                <a:lnTo>
                  <a:pt x="762952" y="2100453"/>
                </a:lnTo>
                <a:lnTo>
                  <a:pt x="727456" y="2123389"/>
                </a:lnTo>
                <a:lnTo>
                  <a:pt x="697852" y="2153475"/>
                </a:lnTo>
                <a:lnTo>
                  <a:pt x="675284" y="2189556"/>
                </a:lnTo>
                <a:lnTo>
                  <a:pt x="660895" y="2230450"/>
                </a:lnTo>
                <a:lnTo>
                  <a:pt x="655840" y="2275001"/>
                </a:lnTo>
                <a:lnTo>
                  <a:pt x="660895" y="2319566"/>
                </a:lnTo>
                <a:lnTo>
                  <a:pt x="675284" y="2360460"/>
                </a:lnTo>
                <a:lnTo>
                  <a:pt x="697852" y="2396540"/>
                </a:lnTo>
                <a:lnTo>
                  <a:pt x="727456" y="2426627"/>
                </a:lnTo>
                <a:lnTo>
                  <a:pt x="762952" y="2449563"/>
                </a:lnTo>
                <a:lnTo>
                  <a:pt x="803198" y="2464181"/>
                </a:lnTo>
                <a:lnTo>
                  <a:pt x="847039" y="2469311"/>
                </a:lnTo>
                <a:lnTo>
                  <a:pt x="890879" y="2464181"/>
                </a:lnTo>
                <a:lnTo>
                  <a:pt x="931125" y="2449563"/>
                </a:lnTo>
                <a:lnTo>
                  <a:pt x="966635" y="2426627"/>
                </a:lnTo>
                <a:lnTo>
                  <a:pt x="996238" y="2396540"/>
                </a:lnTo>
                <a:lnTo>
                  <a:pt x="1018806" y="2360460"/>
                </a:lnTo>
                <a:lnTo>
                  <a:pt x="1033195" y="2319566"/>
                </a:lnTo>
                <a:lnTo>
                  <a:pt x="1038237" y="2275001"/>
                </a:lnTo>
                <a:close/>
              </a:path>
              <a:path w="4842509" h="4812030">
                <a:moveTo>
                  <a:pt x="1353693" y="205016"/>
                </a:moveTo>
                <a:lnTo>
                  <a:pt x="1349044" y="158140"/>
                </a:lnTo>
                <a:lnTo>
                  <a:pt x="1335709" y="114490"/>
                </a:lnTo>
                <a:lnTo>
                  <a:pt x="1314615" y="74993"/>
                </a:lnTo>
                <a:lnTo>
                  <a:pt x="1286675" y="40576"/>
                </a:lnTo>
                <a:lnTo>
                  <a:pt x="1252804" y="12179"/>
                </a:lnTo>
                <a:lnTo>
                  <a:pt x="1230744" y="12"/>
                </a:lnTo>
                <a:lnTo>
                  <a:pt x="1018984" y="12"/>
                </a:lnTo>
                <a:lnTo>
                  <a:pt x="963053" y="40576"/>
                </a:lnTo>
                <a:lnTo>
                  <a:pt x="935113" y="74993"/>
                </a:lnTo>
                <a:lnTo>
                  <a:pt x="914019" y="114490"/>
                </a:lnTo>
                <a:lnTo>
                  <a:pt x="900684" y="158140"/>
                </a:lnTo>
                <a:lnTo>
                  <a:pt x="896035" y="205016"/>
                </a:lnTo>
                <a:lnTo>
                  <a:pt x="900684" y="251879"/>
                </a:lnTo>
                <a:lnTo>
                  <a:pt x="914019" y="295529"/>
                </a:lnTo>
                <a:lnTo>
                  <a:pt x="935113" y="335038"/>
                </a:lnTo>
                <a:lnTo>
                  <a:pt x="963053" y="369443"/>
                </a:lnTo>
                <a:lnTo>
                  <a:pt x="996924" y="397840"/>
                </a:lnTo>
                <a:lnTo>
                  <a:pt x="1035799" y="419290"/>
                </a:lnTo>
                <a:lnTo>
                  <a:pt x="1078750" y="432841"/>
                </a:lnTo>
                <a:lnTo>
                  <a:pt x="1124864" y="437565"/>
                </a:lnTo>
                <a:lnTo>
                  <a:pt x="1170978" y="432841"/>
                </a:lnTo>
                <a:lnTo>
                  <a:pt x="1213929" y="419290"/>
                </a:lnTo>
                <a:lnTo>
                  <a:pt x="1252804" y="397840"/>
                </a:lnTo>
                <a:lnTo>
                  <a:pt x="1286675" y="369443"/>
                </a:lnTo>
                <a:lnTo>
                  <a:pt x="1314615" y="335038"/>
                </a:lnTo>
                <a:lnTo>
                  <a:pt x="1335709" y="295529"/>
                </a:lnTo>
                <a:lnTo>
                  <a:pt x="1349044" y="251879"/>
                </a:lnTo>
                <a:lnTo>
                  <a:pt x="1353693" y="205016"/>
                </a:lnTo>
                <a:close/>
              </a:path>
              <a:path w="4842509" h="4812030">
                <a:moveTo>
                  <a:pt x="2336165" y="3331895"/>
                </a:moveTo>
                <a:lnTo>
                  <a:pt x="2331415" y="3284131"/>
                </a:lnTo>
                <a:lnTo>
                  <a:pt x="2317826" y="3239643"/>
                </a:lnTo>
                <a:lnTo>
                  <a:pt x="2296325" y="3199384"/>
                </a:lnTo>
                <a:lnTo>
                  <a:pt x="2267851" y="3164319"/>
                </a:lnTo>
                <a:lnTo>
                  <a:pt x="2233333" y="3135376"/>
                </a:lnTo>
                <a:lnTo>
                  <a:pt x="2193721" y="3113519"/>
                </a:lnTo>
                <a:lnTo>
                  <a:pt x="2149945" y="3099714"/>
                </a:lnTo>
                <a:lnTo>
                  <a:pt x="2102954" y="3094901"/>
                </a:lnTo>
                <a:lnTo>
                  <a:pt x="2055952" y="3099714"/>
                </a:lnTo>
                <a:lnTo>
                  <a:pt x="2012175" y="3113519"/>
                </a:lnTo>
                <a:lnTo>
                  <a:pt x="1972564" y="3135376"/>
                </a:lnTo>
                <a:lnTo>
                  <a:pt x="1938058" y="3164319"/>
                </a:lnTo>
                <a:lnTo>
                  <a:pt x="1909572" y="3199384"/>
                </a:lnTo>
                <a:lnTo>
                  <a:pt x="1888070" y="3239643"/>
                </a:lnTo>
                <a:lnTo>
                  <a:pt x="1874494" y="3284131"/>
                </a:lnTo>
                <a:lnTo>
                  <a:pt x="1869757" y="3331895"/>
                </a:lnTo>
                <a:lnTo>
                  <a:pt x="1874494" y="3379660"/>
                </a:lnTo>
                <a:lnTo>
                  <a:pt x="1888070" y="3424148"/>
                </a:lnTo>
                <a:lnTo>
                  <a:pt x="1909572" y="3464407"/>
                </a:lnTo>
                <a:lnTo>
                  <a:pt x="1938058" y="3499485"/>
                </a:lnTo>
                <a:lnTo>
                  <a:pt x="1972564" y="3528428"/>
                </a:lnTo>
                <a:lnTo>
                  <a:pt x="2012175" y="3550272"/>
                </a:lnTo>
                <a:lnTo>
                  <a:pt x="2055952" y="3564090"/>
                </a:lnTo>
                <a:lnTo>
                  <a:pt x="2102954" y="3568903"/>
                </a:lnTo>
                <a:lnTo>
                  <a:pt x="2149945" y="3564090"/>
                </a:lnTo>
                <a:lnTo>
                  <a:pt x="2193721" y="3550272"/>
                </a:lnTo>
                <a:lnTo>
                  <a:pt x="2233333" y="3528428"/>
                </a:lnTo>
                <a:lnTo>
                  <a:pt x="2267851" y="3499485"/>
                </a:lnTo>
                <a:lnTo>
                  <a:pt x="2296325" y="3464407"/>
                </a:lnTo>
                <a:lnTo>
                  <a:pt x="2317826" y="3424148"/>
                </a:lnTo>
                <a:lnTo>
                  <a:pt x="2331415" y="3379660"/>
                </a:lnTo>
                <a:lnTo>
                  <a:pt x="2336165" y="3331895"/>
                </a:lnTo>
                <a:close/>
              </a:path>
              <a:path w="4842509" h="4812030">
                <a:moveTo>
                  <a:pt x="2815031" y="1458963"/>
                </a:moveTo>
                <a:lnTo>
                  <a:pt x="2805074" y="1409661"/>
                </a:lnTo>
                <a:lnTo>
                  <a:pt x="2777921" y="1369390"/>
                </a:lnTo>
                <a:lnTo>
                  <a:pt x="2737650" y="1342237"/>
                </a:lnTo>
                <a:lnTo>
                  <a:pt x="2688348" y="1332280"/>
                </a:lnTo>
                <a:lnTo>
                  <a:pt x="1587842" y="1332280"/>
                </a:lnTo>
                <a:lnTo>
                  <a:pt x="1594739" y="1302042"/>
                </a:lnTo>
                <a:lnTo>
                  <a:pt x="1611210" y="1240929"/>
                </a:lnTo>
                <a:lnTo>
                  <a:pt x="1635810" y="1170025"/>
                </a:lnTo>
                <a:lnTo>
                  <a:pt x="1653717" y="1129347"/>
                </a:lnTo>
                <a:lnTo>
                  <a:pt x="1674545" y="1088034"/>
                </a:lnTo>
                <a:lnTo>
                  <a:pt x="1698117" y="1046111"/>
                </a:lnTo>
                <a:lnTo>
                  <a:pt x="1724279" y="1003617"/>
                </a:lnTo>
                <a:lnTo>
                  <a:pt x="1724837" y="1003617"/>
                </a:lnTo>
                <a:lnTo>
                  <a:pt x="1725358" y="1003782"/>
                </a:lnTo>
                <a:lnTo>
                  <a:pt x="2587726" y="1003782"/>
                </a:lnTo>
                <a:lnTo>
                  <a:pt x="2588539" y="1003617"/>
                </a:lnTo>
                <a:lnTo>
                  <a:pt x="2637028" y="993825"/>
                </a:lnTo>
                <a:lnTo>
                  <a:pt x="2677299" y="966673"/>
                </a:lnTo>
                <a:lnTo>
                  <a:pt x="2704452" y="926414"/>
                </a:lnTo>
                <a:lnTo>
                  <a:pt x="2714409" y="877100"/>
                </a:lnTo>
                <a:lnTo>
                  <a:pt x="2704452" y="827798"/>
                </a:lnTo>
                <a:lnTo>
                  <a:pt x="2677299" y="787527"/>
                </a:lnTo>
                <a:lnTo>
                  <a:pt x="2637028" y="760374"/>
                </a:lnTo>
                <a:lnTo>
                  <a:pt x="2587726" y="750417"/>
                </a:lnTo>
                <a:lnTo>
                  <a:pt x="1918449" y="750417"/>
                </a:lnTo>
                <a:lnTo>
                  <a:pt x="1948662" y="716330"/>
                </a:lnTo>
                <a:lnTo>
                  <a:pt x="1979866" y="681990"/>
                </a:lnTo>
                <a:lnTo>
                  <a:pt x="2012010" y="647395"/>
                </a:lnTo>
                <a:lnTo>
                  <a:pt x="2045055" y="612559"/>
                </a:lnTo>
                <a:lnTo>
                  <a:pt x="2078926" y="577494"/>
                </a:lnTo>
                <a:lnTo>
                  <a:pt x="2113610" y="542213"/>
                </a:lnTo>
                <a:lnTo>
                  <a:pt x="2149030" y="506704"/>
                </a:lnTo>
                <a:lnTo>
                  <a:pt x="2185162" y="470992"/>
                </a:lnTo>
                <a:lnTo>
                  <a:pt x="2221954" y="435076"/>
                </a:lnTo>
                <a:lnTo>
                  <a:pt x="2297303" y="362648"/>
                </a:lnTo>
                <a:lnTo>
                  <a:pt x="2414079" y="252666"/>
                </a:lnTo>
                <a:lnTo>
                  <a:pt x="2687383" y="12"/>
                </a:lnTo>
                <a:lnTo>
                  <a:pt x="2146401" y="12"/>
                </a:lnTo>
                <a:lnTo>
                  <a:pt x="2069376" y="72491"/>
                </a:lnTo>
                <a:lnTo>
                  <a:pt x="1987892" y="150406"/>
                </a:lnTo>
                <a:lnTo>
                  <a:pt x="1947964" y="189191"/>
                </a:lnTo>
                <a:lnTo>
                  <a:pt x="1908632" y="227888"/>
                </a:lnTo>
                <a:lnTo>
                  <a:pt x="1869922" y="266471"/>
                </a:lnTo>
                <a:lnTo>
                  <a:pt x="1831911" y="304952"/>
                </a:lnTo>
                <a:lnTo>
                  <a:pt x="1794637" y="343331"/>
                </a:lnTo>
                <a:lnTo>
                  <a:pt x="1758124" y="381622"/>
                </a:lnTo>
                <a:lnTo>
                  <a:pt x="1722450" y="419811"/>
                </a:lnTo>
                <a:lnTo>
                  <a:pt x="1687626" y="457911"/>
                </a:lnTo>
                <a:lnTo>
                  <a:pt x="1653730" y="495922"/>
                </a:lnTo>
                <a:lnTo>
                  <a:pt x="1620786" y="533844"/>
                </a:lnTo>
                <a:lnTo>
                  <a:pt x="1588846" y="571690"/>
                </a:lnTo>
                <a:lnTo>
                  <a:pt x="1557959" y="609447"/>
                </a:lnTo>
                <a:lnTo>
                  <a:pt x="1528152" y="647115"/>
                </a:lnTo>
                <a:lnTo>
                  <a:pt x="1499501" y="684720"/>
                </a:lnTo>
                <a:lnTo>
                  <a:pt x="1472018" y="722249"/>
                </a:lnTo>
                <a:lnTo>
                  <a:pt x="1445780" y="759701"/>
                </a:lnTo>
                <a:lnTo>
                  <a:pt x="1420812" y="797077"/>
                </a:lnTo>
                <a:lnTo>
                  <a:pt x="1397165" y="834390"/>
                </a:lnTo>
                <a:lnTo>
                  <a:pt x="1374889" y="871639"/>
                </a:lnTo>
                <a:lnTo>
                  <a:pt x="1354023" y="908824"/>
                </a:lnTo>
                <a:lnTo>
                  <a:pt x="1334604" y="945946"/>
                </a:lnTo>
                <a:lnTo>
                  <a:pt x="1316697" y="983018"/>
                </a:lnTo>
                <a:lnTo>
                  <a:pt x="1300340" y="1020025"/>
                </a:lnTo>
                <a:lnTo>
                  <a:pt x="1285570" y="1056982"/>
                </a:lnTo>
                <a:lnTo>
                  <a:pt x="1272451" y="1093889"/>
                </a:lnTo>
                <a:lnTo>
                  <a:pt x="1251242" y="1162659"/>
                </a:lnTo>
                <a:lnTo>
                  <a:pt x="1233639" y="1230528"/>
                </a:lnTo>
                <a:lnTo>
                  <a:pt x="1219492" y="1297495"/>
                </a:lnTo>
                <a:lnTo>
                  <a:pt x="1208646" y="1363497"/>
                </a:lnTo>
                <a:lnTo>
                  <a:pt x="1200962" y="1428521"/>
                </a:lnTo>
                <a:lnTo>
                  <a:pt x="1196276" y="1492504"/>
                </a:lnTo>
                <a:lnTo>
                  <a:pt x="1194447" y="1555432"/>
                </a:lnTo>
                <a:lnTo>
                  <a:pt x="1195324" y="1617268"/>
                </a:lnTo>
                <a:lnTo>
                  <a:pt x="1198753" y="1677974"/>
                </a:lnTo>
                <a:lnTo>
                  <a:pt x="1204595" y="1737499"/>
                </a:lnTo>
                <a:lnTo>
                  <a:pt x="1212684" y="1795830"/>
                </a:lnTo>
                <a:lnTo>
                  <a:pt x="1222870" y="1852930"/>
                </a:lnTo>
                <a:lnTo>
                  <a:pt x="1235024" y="1908746"/>
                </a:lnTo>
                <a:lnTo>
                  <a:pt x="1248981" y="1963242"/>
                </a:lnTo>
                <a:lnTo>
                  <a:pt x="1264589" y="2016404"/>
                </a:lnTo>
                <a:lnTo>
                  <a:pt x="1281709" y="2068182"/>
                </a:lnTo>
                <a:lnTo>
                  <a:pt x="1300175" y="2118537"/>
                </a:lnTo>
                <a:lnTo>
                  <a:pt x="1319860" y="2167445"/>
                </a:lnTo>
                <a:lnTo>
                  <a:pt x="1340586" y="2214854"/>
                </a:lnTo>
                <a:lnTo>
                  <a:pt x="1362227" y="2260752"/>
                </a:lnTo>
                <a:lnTo>
                  <a:pt x="1384617" y="2305075"/>
                </a:lnTo>
                <a:lnTo>
                  <a:pt x="1407617" y="2347811"/>
                </a:lnTo>
                <a:lnTo>
                  <a:pt x="1431074" y="2388920"/>
                </a:lnTo>
                <a:lnTo>
                  <a:pt x="1454835" y="2428354"/>
                </a:lnTo>
                <a:lnTo>
                  <a:pt x="1478749" y="2466086"/>
                </a:lnTo>
                <a:lnTo>
                  <a:pt x="1502676" y="2502077"/>
                </a:lnTo>
                <a:lnTo>
                  <a:pt x="1526451" y="2536291"/>
                </a:lnTo>
                <a:lnTo>
                  <a:pt x="1549946" y="2568702"/>
                </a:lnTo>
                <a:lnTo>
                  <a:pt x="1572983" y="2599271"/>
                </a:lnTo>
                <a:lnTo>
                  <a:pt x="1617141" y="2654719"/>
                </a:lnTo>
                <a:lnTo>
                  <a:pt x="1657718" y="2702344"/>
                </a:lnTo>
                <a:lnTo>
                  <a:pt x="1693532" y="2741879"/>
                </a:lnTo>
                <a:lnTo>
                  <a:pt x="1723364" y="2773045"/>
                </a:lnTo>
                <a:lnTo>
                  <a:pt x="1754289" y="2803436"/>
                </a:lnTo>
                <a:lnTo>
                  <a:pt x="1791779" y="2833128"/>
                </a:lnTo>
                <a:lnTo>
                  <a:pt x="1853996" y="2856725"/>
                </a:lnTo>
                <a:lnTo>
                  <a:pt x="1886724" y="2859659"/>
                </a:lnTo>
                <a:lnTo>
                  <a:pt x="1923973" y="2855861"/>
                </a:lnTo>
                <a:lnTo>
                  <a:pt x="1993277" y="2825635"/>
                </a:lnTo>
                <a:lnTo>
                  <a:pt x="2022830" y="2799372"/>
                </a:lnTo>
                <a:lnTo>
                  <a:pt x="2050745" y="2758884"/>
                </a:lnTo>
                <a:lnTo>
                  <a:pt x="2066505" y="2714015"/>
                </a:lnTo>
                <a:lnTo>
                  <a:pt x="2070239" y="2667228"/>
                </a:lnTo>
                <a:lnTo>
                  <a:pt x="2062073" y="2621000"/>
                </a:lnTo>
                <a:lnTo>
                  <a:pt x="2042134" y="2577782"/>
                </a:lnTo>
                <a:lnTo>
                  <a:pt x="2010562" y="2540063"/>
                </a:lnTo>
                <a:lnTo>
                  <a:pt x="2002307" y="2532316"/>
                </a:lnTo>
                <a:lnTo>
                  <a:pt x="1986203" y="2516479"/>
                </a:lnTo>
                <a:lnTo>
                  <a:pt x="1934933" y="2461717"/>
                </a:lnTo>
                <a:lnTo>
                  <a:pt x="1902015" y="2423401"/>
                </a:lnTo>
                <a:lnTo>
                  <a:pt x="1865718" y="2378151"/>
                </a:lnTo>
                <a:lnTo>
                  <a:pt x="1827174" y="2326297"/>
                </a:lnTo>
                <a:lnTo>
                  <a:pt x="1787486" y="2268118"/>
                </a:lnTo>
                <a:lnTo>
                  <a:pt x="1747786" y="2203907"/>
                </a:lnTo>
                <a:lnTo>
                  <a:pt x="1709204" y="2133955"/>
                </a:lnTo>
                <a:lnTo>
                  <a:pt x="2085060" y="2133955"/>
                </a:lnTo>
                <a:lnTo>
                  <a:pt x="2134362" y="2123998"/>
                </a:lnTo>
                <a:lnTo>
                  <a:pt x="2174633" y="2096846"/>
                </a:lnTo>
                <a:lnTo>
                  <a:pt x="2201786" y="2056587"/>
                </a:lnTo>
                <a:lnTo>
                  <a:pt x="2211743" y="2007273"/>
                </a:lnTo>
                <a:lnTo>
                  <a:pt x="2201786" y="1957971"/>
                </a:lnTo>
                <a:lnTo>
                  <a:pt x="2174633" y="1917700"/>
                </a:lnTo>
                <a:lnTo>
                  <a:pt x="2134362" y="1890547"/>
                </a:lnTo>
                <a:lnTo>
                  <a:pt x="2085060" y="1880590"/>
                </a:lnTo>
                <a:lnTo>
                  <a:pt x="1607959" y="1880590"/>
                </a:lnTo>
                <a:lnTo>
                  <a:pt x="1595729" y="1834248"/>
                </a:lnTo>
                <a:lnTo>
                  <a:pt x="1585214" y="1786712"/>
                </a:lnTo>
                <a:lnTo>
                  <a:pt x="1576565" y="1738058"/>
                </a:lnTo>
                <a:lnTo>
                  <a:pt x="1569910" y="1688299"/>
                </a:lnTo>
                <a:lnTo>
                  <a:pt x="1565402" y="1637487"/>
                </a:lnTo>
                <a:lnTo>
                  <a:pt x="1563192" y="1585645"/>
                </a:lnTo>
                <a:lnTo>
                  <a:pt x="2688348" y="1585645"/>
                </a:lnTo>
                <a:lnTo>
                  <a:pt x="2737650" y="1575689"/>
                </a:lnTo>
                <a:lnTo>
                  <a:pt x="2777921" y="1548549"/>
                </a:lnTo>
                <a:lnTo>
                  <a:pt x="2805074" y="1508277"/>
                </a:lnTo>
                <a:lnTo>
                  <a:pt x="2815031" y="1458963"/>
                </a:lnTo>
                <a:close/>
              </a:path>
              <a:path w="4842509" h="4812030">
                <a:moveTo>
                  <a:pt x="3022498" y="2007273"/>
                </a:moveTo>
                <a:lnTo>
                  <a:pt x="3012541" y="1957959"/>
                </a:lnTo>
                <a:lnTo>
                  <a:pt x="2985389" y="1917700"/>
                </a:lnTo>
                <a:lnTo>
                  <a:pt x="2945130" y="1890547"/>
                </a:lnTo>
                <a:lnTo>
                  <a:pt x="2895816" y="1880590"/>
                </a:lnTo>
                <a:lnTo>
                  <a:pt x="2492959" y="1880590"/>
                </a:lnTo>
                <a:lnTo>
                  <a:pt x="2443645" y="1890547"/>
                </a:lnTo>
                <a:lnTo>
                  <a:pt x="2403373" y="1917700"/>
                </a:lnTo>
                <a:lnTo>
                  <a:pt x="2376220" y="1957959"/>
                </a:lnTo>
                <a:lnTo>
                  <a:pt x="2366264" y="2007273"/>
                </a:lnTo>
                <a:lnTo>
                  <a:pt x="2376220" y="2056587"/>
                </a:lnTo>
                <a:lnTo>
                  <a:pt x="2403373" y="2096846"/>
                </a:lnTo>
                <a:lnTo>
                  <a:pt x="2443645" y="2123998"/>
                </a:lnTo>
                <a:lnTo>
                  <a:pt x="2492959" y="2133955"/>
                </a:lnTo>
                <a:lnTo>
                  <a:pt x="2895816" y="2133955"/>
                </a:lnTo>
                <a:lnTo>
                  <a:pt x="2945130" y="2123998"/>
                </a:lnTo>
                <a:lnTo>
                  <a:pt x="2985389" y="2096846"/>
                </a:lnTo>
                <a:lnTo>
                  <a:pt x="3012541" y="2056587"/>
                </a:lnTo>
                <a:lnTo>
                  <a:pt x="3022498" y="2007273"/>
                </a:lnTo>
                <a:close/>
              </a:path>
              <a:path w="4842509" h="4812030">
                <a:moveTo>
                  <a:pt x="3290455" y="869467"/>
                </a:moveTo>
                <a:lnTo>
                  <a:pt x="3285413" y="824915"/>
                </a:lnTo>
                <a:lnTo>
                  <a:pt x="3271024" y="784021"/>
                </a:lnTo>
                <a:lnTo>
                  <a:pt x="3248456" y="747941"/>
                </a:lnTo>
                <a:lnTo>
                  <a:pt x="3218853" y="717854"/>
                </a:lnTo>
                <a:lnTo>
                  <a:pt x="3183344" y="694918"/>
                </a:lnTo>
                <a:lnTo>
                  <a:pt x="3143097" y="680300"/>
                </a:lnTo>
                <a:lnTo>
                  <a:pt x="3099257" y="675170"/>
                </a:lnTo>
                <a:lnTo>
                  <a:pt x="3055429" y="680300"/>
                </a:lnTo>
                <a:lnTo>
                  <a:pt x="3015183" y="694918"/>
                </a:lnTo>
                <a:lnTo>
                  <a:pt x="2979674" y="717854"/>
                </a:lnTo>
                <a:lnTo>
                  <a:pt x="2950070" y="747941"/>
                </a:lnTo>
                <a:lnTo>
                  <a:pt x="2927502" y="784021"/>
                </a:lnTo>
                <a:lnTo>
                  <a:pt x="2913113" y="824915"/>
                </a:lnTo>
                <a:lnTo>
                  <a:pt x="2908058" y="869467"/>
                </a:lnTo>
                <a:lnTo>
                  <a:pt x="2913113" y="914019"/>
                </a:lnTo>
                <a:lnTo>
                  <a:pt x="2927502" y="954925"/>
                </a:lnTo>
                <a:lnTo>
                  <a:pt x="2950070" y="990993"/>
                </a:lnTo>
                <a:lnTo>
                  <a:pt x="2979674" y="1021092"/>
                </a:lnTo>
                <a:lnTo>
                  <a:pt x="3015183" y="1044028"/>
                </a:lnTo>
                <a:lnTo>
                  <a:pt x="3055429" y="1058646"/>
                </a:lnTo>
                <a:lnTo>
                  <a:pt x="3099257" y="1063777"/>
                </a:lnTo>
                <a:lnTo>
                  <a:pt x="3143097" y="1058646"/>
                </a:lnTo>
                <a:lnTo>
                  <a:pt x="3183344" y="1044028"/>
                </a:lnTo>
                <a:lnTo>
                  <a:pt x="3218853" y="1021092"/>
                </a:lnTo>
                <a:lnTo>
                  <a:pt x="3248456" y="990993"/>
                </a:lnTo>
                <a:lnTo>
                  <a:pt x="3271024" y="954925"/>
                </a:lnTo>
                <a:lnTo>
                  <a:pt x="3285413" y="914019"/>
                </a:lnTo>
                <a:lnTo>
                  <a:pt x="3290455" y="869467"/>
                </a:lnTo>
                <a:close/>
              </a:path>
              <a:path w="4842509" h="4812030">
                <a:moveTo>
                  <a:pt x="3455378" y="1445844"/>
                </a:moveTo>
                <a:lnTo>
                  <a:pt x="3449624" y="1402283"/>
                </a:lnTo>
                <a:lnTo>
                  <a:pt x="3433368" y="1363154"/>
                </a:lnTo>
                <a:lnTo>
                  <a:pt x="3408159" y="1329994"/>
                </a:lnTo>
                <a:lnTo>
                  <a:pt x="3375533" y="1304378"/>
                </a:lnTo>
                <a:lnTo>
                  <a:pt x="3337026" y="1287868"/>
                </a:lnTo>
                <a:lnTo>
                  <a:pt x="3294164" y="1282014"/>
                </a:lnTo>
                <a:lnTo>
                  <a:pt x="3251314" y="1287868"/>
                </a:lnTo>
                <a:lnTo>
                  <a:pt x="3212795" y="1304378"/>
                </a:lnTo>
                <a:lnTo>
                  <a:pt x="3180169" y="1329994"/>
                </a:lnTo>
                <a:lnTo>
                  <a:pt x="3154959" y="1363154"/>
                </a:lnTo>
                <a:lnTo>
                  <a:pt x="3138716" y="1402283"/>
                </a:lnTo>
                <a:lnTo>
                  <a:pt x="3132950" y="1445844"/>
                </a:lnTo>
                <a:lnTo>
                  <a:pt x="3138716" y="1489392"/>
                </a:lnTo>
                <a:lnTo>
                  <a:pt x="3154959" y="1528533"/>
                </a:lnTo>
                <a:lnTo>
                  <a:pt x="3180169" y="1561680"/>
                </a:lnTo>
                <a:lnTo>
                  <a:pt x="3212795" y="1587309"/>
                </a:lnTo>
                <a:lnTo>
                  <a:pt x="3251314" y="1603819"/>
                </a:lnTo>
                <a:lnTo>
                  <a:pt x="3294164" y="1609674"/>
                </a:lnTo>
                <a:lnTo>
                  <a:pt x="3337026" y="1603819"/>
                </a:lnTo>
                <a:lnTo>
                  <a:pt x="3375533" y="1587309"/>
                </a:lnTo>
                <a:lnTo>
                  <a:pt x="3408159" y="1561680"/>
                </a:lnTo>
                <a:lnTo>
                  <a:pt x="3433368" y="1528533"/>
                </a:lnTo>
                <a:lnTo>
                  <a:pt x="3449624" y="1489392"/>
                </a:lnTo>
                <a:lnTo>
                  <a:pt x="3455378" y="1445844"/>
                </a:lnTo>
                <a:close/>
              </a:path>
              <a:path w="4842509" h="4812030">
                <a:moveTo>
                  <a:pt x="3677882" y="150622"/>
                </a:moveTo>
                <a:lnTo>
                  <a:pt x="3669868" y="100114"/>
                </a:lnTo>
                <a:lnTo>
                  <a:pt x="3647541" y="56248"/>
                </a:lnTo>
                <a:lnTo>
                  <a:pt x="3613505" y="21653"/>
                </a:lnTo>
                <a:lnTo>
                  <a:pt x="3572306" y="0"/>
                </a:lnTo>
                <a:lnTo>
                  <a:pt x="3468979" y="0"/>
                </a:lnTo>
                <a:lnTo>
                  <a:pt x="3427780" y="21653"/>
                </a:lnTo>
                <a:lnTo>
                  <a:pt x="3393744" y="56248"/>
                </a:lnTo>
                <a:lnTo>
                  <a:pt x="3371418" y="100114"/>
                </a:lnTo>
                <a:lnTo>
                  <a:pt x="3363404" y="150622"/>
                </a:lnTo>
                <a:lnTo>
                  <a:pt x="3371418" y="201129"/>
                </a:lnTo>
                <a:lnTo>
                  <a:pt x="3393744" y="244995"/>
                </a:lnTo>
                <a:lnTo>
                  <a:pt x="3427780" y="279577"/>
                </a:lnTo>
                <a:lnTo>
                  <a:pt x="3470935" y="302260"/>
                </a:lnTo>
                <a:lnTo>
                  <a:pt x="3520643" y="310413"/>
                </a:lnTo>
                <a:lnTo>
                  <a:pt x="3570338" y="302260"/>
                </a:lnTo>
                <a:lnTo>
                  <a:pt x="3613505" y="279577"/>
                </a:lnTo>
                <a:lnTo>
                  <a:pt x="3647541" y="244995"/>
                </a:lnTo>
                <a:lnTo>
                  <a:pt x="3669868" y="201129"/>
                </a:lnTo>
                <a:lnTo>
                  <a:pt x="3677882" y="150622"/>
                </a:lnTo>
                <a:close/>
              </a:path>
              <a:path w="4842509" h="4812030">
                <a:moveTo>
                  <a:pt x="3887127" y="718464"/>
                </a:moveTo>
                <a:lnTo>
                  <a:pt x="3882085" y="673912"/>
                </a:lnTo>
                <a:lnTo>
                  <a:pt x="3867696" y="633006"/>
                </a:lnTo>
                <a:lnTo>
                  <a:pt x="3845128" y="596925"/>
                </a:lnTo>
                <a:lnTo>
                  <a:pt x="3815524" y="566839"/>
                </a:lnTo>
                <a:lnTo>
                  <a:pt x="3780015" y="543902"/>
                </a:lnTo>
                <a:lnTo>
                  <a:pt x="3739769" y="529285"/>
                </a:lnTo>
                <a:lnTo>
                  <a:pt x="3695928" y="524154"/>
                </a:lnTo>
                <a:lnTo>
                  <a:pt x="3652101" y="529285"/>
                </a:lnTo>
                <a:lnTo>
                  <a:pt x="3611854" y="543902"/>
                </a:lnTo>
                <a:lnTo>
                  <a:pt x="3576345" y="566839"/>
                </a:lnTo>
                <a:lnTo>
                  <a:pt x="3546741" y="596925"/>
                </a:lnTo>
                <a:lnTo>
                  <a:pt x="3524173" y="633006"/>
                </a:lnTo>
                <a:lnTo>
                  <a:pt x="3509784" y="673912"/>
                </a:lnTo>
                <a:lnTo>
                  <a:pt x="3504730" y="718464"/>
                </a:lnTo>
                <a:lnTo>
                  <a:pt x="3509784" y="763016"/>
                </a:lnTo>
                <a:lnTo>
                  <a:pt x="3524173" y="803910"/>
                </a:lnTo>
                <a:lnTo>
                  <a:pt x="3546741" y="839990"/>
                </a:lnTo>
                <a:lnTo>
                  <a:pt x="3576345" y="870089"/>
                </a:lnTo>
                <a:lnTo>
                  <a:pt x="3611854" y="893025"/>
                </a:lnTo>
                <a:lnTo>
                  <a:pt x="3652101" y="907643"/>
                </a:lnTo>
                <a:lnTo>
                  <a:pt x="3695928" y="912774"/>
                </a:lnTo>
                <a:lnTo>
                  <a:pt x="3739769" y="907643"/>
                </a:lnTo>
                <a:lnTo>
                  <a:pt x="3780015" y="893025"/>
                </a:lnTo>
                <a:lnTo>
                  <a:pt x="3815524" y="870089"/>
                </a:lnTo>
                <a:lnTo>
                  <a:pt x="3845128" y="839990"/>
                </a:lnTo>
                <a:lnTo>
                  <a:pt x="3867696" y="803910"/>
                </a:lnTo>
                <a:lnTo>
                  <a:pt x="3882085" y="763016"/>
                </a:lnTo>
                <a:lnTo>
                  <a:pt x="3887127" y="718464"/>
                </a:lnTo>
                <a:close/>
              </a:path>
              <a:path w="4842509" h="4812030">
                <a:moveTo>
                  <a:pt x="4802949" y="2826423"/>
                </a:moveTo>
                <a:lnTo>
                  <a:pt x="4797895" y="2781871"/>
                </a:lnTo>
                <a:lnTo>
                  <a:pt x="4783518" y="2740977"/>
                </a:lnTo>
                <a:lnTo>
                  <a:pt x="4760950" y="2704896"/>
                </a:lnTo>
                <a:lnTo>
                  <a:pt x="4731334" y="2674810"/>
                </a:lnTo>
                <a:lnTo>
                  <a:pt x="4695837" y="2651874"/>
                </a:lnTo>
                <a:lnTo>
                  <a:pt x="4655591" y="2637256"/>
                </a:lnTo>
                <a:lnTo>
                  <a:pt x="4611751" y="2632113"/>
                </a:lnTo>
                <a:lnTo>
                  <a:pt x="4567910" y="2637256"/>
                </a:lnTo>
                <a:lnTo>
                  <a:pt x="4527664" y="2651874"/>
                </a:lnTo>
                <a:lnTo>
                  <a:pt x="4492168" y="2674810"/>
                </a:lnTo>
                <a:lnTo>
                  <a:pt x="4462551" y="2704896"/>
                </a:lnTo>
                <a:lnTo>
                  <a:pt x="4439983" y="2740977"/>
                </a:lnTo>
                <a:lnTo>
                  <a:pt x="4425607" y="2781871"/>
                </a:lnTo>
                <a:lnTo>
                  <a:pt x="4420552" y="2826423"/>
                </a:lnTo>
                <a:lnTo>
                  <a:pt x="4425607" y="2870987"/>
                </a:lnTo>
                <a:lnTo>
                  <a:pt x="4439983" y="2911881"/>
                </a:lnTo>
                <a:lnTo>
                  <a:pt x="4462551" y="2947962"/>
                </a:lnTo>
                <a:lnTo>
                  <a:pt x="4492168" y="2978048"/>
                </a:lnTo>
                <a:lnTo>
                  <a:pt x="4527664" y="3000984"/>
                </a:lnTo>
                <a:lnTo>
                  <a:pt x="4567910" y="3015602"/>
                </a:lnTo>
                <a:lnTo>
                  <a:pt x="4611751" y="3020733"/>
                </a:lnTo>
                <a:lnTo>
                  <a:pt x="4655591" y="3015602"/>
                </a:lnTo>
                <a:lnTo>
                  <a:pt x="4695837" y="3000984"/>
                </a:lnTo>
                <a:lnTo>
                  <a:pt x="4731334" y="2978048"/>
                </a:lnTo>
                <a:lnTo>
                  <a:pt x="4760950" y="2947962"/>
                </a:lnTo>
                <a:lnTo>
                  <a:pt x="4783518" y="2911881"/>
                </a:lnTo>
                <a:lnTo>
                  <a:pt x="4797895" y="2870987"/>
                </a:lnTo>
                <a:lnTo>
                  <a:pt x="4802949" y="2826423"/>
                </a:lnTo>
                <a:close/>
              </a:path>
              <a:path w="4842509" h="4812030">
                <a:moveTo>
                  <a:pt x="4841951" y="3211792"/>
                </a:moveTo>
                <a:lnTo>
                  <a:pt x="4773104" y="3214001"/>
                </a:lnTo>
                <a:lnTo>
                  <a:pt x="4732858" y="3228619"/>
                </a:lnTo>
                <a:lnTo>
                  <a:pt x="4697349" y="3251555"/>
                </a:lnTo>
                <a:lnTo>
                  <a:pt x="4667745" y="3281642"/>
                </a:lnTo>
                <a:lnTo>
                  <a:pt x="4645177" y="3317722"/>
                </a:lnTo>
                <a:lnTo>
                  <a:pt x="4630788" y="3358629"/>
                </a:lnTo>
                <a:lnTo>
                  <a:pt x="4625746" y="3403181"/>
                </a:lnTo>
                <a:lnTo>
                  <a:pt x="4630788" y="3447732"/>
                </a:lnTo>
                <a:lnTo>
                  <a:pt x="4645177" y="3488626"/>
                </a:lnTo>
                <a:lnTo>
                  <a:pt x="4667745" y="3524707"/>
                </a:lnTo>
                <a:lnTo>
                  <a:pt x="4697349" y="3554806"/>
                </a:lnTo>
                <a:lnTo>
                  <a:pt x="4732858" y="3577742"/>
                </a:lnTo>
                <a:lnTo>
                  <a:pt x="4773104" y="3592360"/>
                </a:lnTo>
                <a:lnTo>
                  <a:pt x="4816945" y="3597491"/>
                </a:lnTo>
                <a:lnTo>
                  <a:pt x="4841951" y="3594557"/>
                </a:lnTo>
                <a:lnTo>
                  <a:pt x="4841951" y="3211792"/>
                </a:lnTo>
                <a:close/>
              </a:path>
              <a:path w="4842509" h="4812030">
                <a:moveTo>
                  <a:pt x="4841951" y="1851342"/>
                </a:moveTo>
                <a:lnTo>
                  <a:pt x="4807712" y="1884832"/>
                </a:lnTo>
                <a:lnTo>
                  <a:pt x="4783315" y="1919909"/>
                </a:lnTo>
                <a:lnTo>
                  <a:pt x="4765014" y="1959063"/>
                </a:lnTo>
                <a:lnTo>
                  <a:pt x="4753534" y="2001583"/>
                </a:lnTo>
                <a:lnTo>
                  <a:pt x="4749546" y="2046757"/>
                </a:lnTo>
                <a:lnTo>
                  <a:pt x="4753534" y="2091944"/>
                </a:lnTo>
                <a:lnTo>
                  <a:pt x="4765014" y="2134463"/>
                </a:lnTo>
                <a:lnTo>
                  <a:pt x="4783315" y="2173617"/>
                </a:lnTo>
                <a:lnTo>
                  <a:pt x="4807712" y="2208695"/>
                </a:lnTo>
                <a:lnTo>
                  <a:pt x="4837519" y="2238997"/>
                </a:lnTo>
                <a:lnTo>
                  <a:pt x="4841951" y="2242185"/>
                </a:lnTo>
                <a:lnTo>
                  <a:pt x="4841951" y="1851342"/>
                </a:lnTo>
                <a:close/>
              </a:path>
              <a:path w="4842509" h="4812030">
                <a:moveTo>
                  <a:pt x="4841951" y="582485"/>
                </a:moveTo>
                <a:lnTo>
                  <a:pt x="4189387" y="582485"/>
                </a:lnTo>
                <a:lnTo>
                  <a:pt x="4140073" y="592455"/>
                </a:lnTo>
                <a:lnTo>
                  <a:pt x="4099814" y="619594"/>
                </a:lnTo>
                <a:lnTo>
                  <a:pt x="4072674" y="659866"/>
                </a:lnTo>
                <a:lnTo>
                  <a:pt x="4062730" y="709168"/>
                </a:lnTo>
                <a:lnTo>
                  <a:pt x="4072674" y="758482"/>
                </a:lnTo>
                <a:lnTo>
                  <a:pt x="4099814" y="798753"/>
                </a:lnTo>
                <a:lnTo>
                  <a:pt x="4140073" y="825906"/>
                </a:lnTo>
                <a:lnTo>
                  <a:pt x="4189387" y="835850"/>
                </a:lnTo>
                <a:lnTo>
                  <a:pt x="4767542" y="835850"/>
                </a:lnTo>
                <a:lnTo>
                  <a:pt x="4736668" y="873556"/>
                </a:lnTo>
                <a:lnTo>
                  <a:pt x="4705045" y="911199"/>
                </a:lnTo>
                <a:lnTo>
                  <a:pt x="4672723" y="948778"/>
                </a:lnTo>
                <a:lnTo>
                  <a:pt x="4639742" y="986294"/>
                </a:lnTo>
                <a:lnTo>
                  <a:pt x="4606137" y="1023747"/>
                </a:lnTo>
                <a:lnTo>
                  <a:pt x="4571949" y="1061110"/>
                </a:lnTo>
                <a:lnTo>
                  <a:pt x="4537214" y="1098384"/>
                </a:lnTo>
                <a:lnTo>
                  <a:pt x="4501985" y="1135583"/>
                </a:lnTo>
                <a:lnTo>
                  <a:pt x="4466285" y="1172667"/>
                </a:lnTo>
                <a:lnTo>
                  <a:pt x="4430166" y="1209662"/>
                </a:lnTo>
                <a:lnTo>
                  <a:pt x="4393654" y="1246543"/>
                </a:lnTo>
                <a:lnTo>
                  <a:pt x="4356811" y="1283309"/>
                </a:lnTo>
                <a:lnTo>
                  <a:pt x="4319663" y="1319961"/>
                </a:lnTo>
                <a:lnTo>
                  <a:pt x="4282249" y="1356474"/>
                </a:lnTo>
                <a:lnTo>
                  <a:pt x="4206786" y="1429118"/>
                </a:lnTo>
                <a:lnTo>
                  <a:pt x="4092625" y="1536966"/>
                </a:lnTo>
                <a:lnTo>
                  <a:pt x="3735552" y="1867319"/>
                </a:lnTo>
                <a:lnTo>
                  <a:pt x="3567468" y="2024532"/>
                </a:lnTo>
                <a:lnTo>
                  <a:pt x="3485985" y="2102446"/>
                </a:lnTo>
                <a:lnTo>
                  <a:pt x="3446056" y="2141245"/>
                </a:lnTo>
                <a:lnTo>
                  <a:pt x="3406711" y="2179929"/>
                </a:lnTo>
                <a:lnTo>
                  <a:pt x="3368014" y="2218512"/>
                </a:lnTo>
                <a:lnTo>
                  <a:pt x="3330003" y="2256993"/>
                </a:lnTo>
                <a:lnTo>
                  <a:pt x="3292716" y="2295372"/>
                </a:lnTo>
                <a:lnTo>
                  <a:pt x="3256216" y="2333663"/>
                </a:lnTo>
                <a:lnTo>
                  <a:pt x="3220529" y="2371852"/>
                </a:lnTo>
                <a:lnTo>
                  <a:pt x="3185718" y="2409952"/>
                </a:lnTo>
                <a:lnTo>
                  <a:pt x="3151809" y="2447963"/>
                </a:lnTo>
                <a:lnTo>
                  <a:pt x="3118866" y="2485885"/>
                </a:lnTo>
                <a:lnTo>
                  <a:pt x="3086925" y="2523731"/>
                </a:lnTo>
                <a:lnTo>
                  <a:pt x="3056039" y="2561488"/>
                </a:lnTo>
                <a:lnTo>
                  <a:pt x="3026245" y="2599169"/>
                </a:lnTo>
                <a:lnTo>
                  <a:pt x="2997581" y="2636761"/>
                </a:lnTo>
                <a:lnTo>
                  <a:pt x="2970111" y="2674289"/>
                </a:lnTo>
                <a:lnTo>
                  <a:pt x="2943860" y="2711742"/>
                </a:lnTo>
                <a:lnTo>
                  <a:pt x="2918904" y="2749118"/>
                </a:lnTo>
                <a:lnTo>
                  <a:pt x="2895257" y="2786430"/>
                </a:lnTo>
                <a:lnTo>
                  <a:pt x="2872981" y="2823680"/>
                </a:lnTo>
                <a:lnTo>
                  <a:pt x="2852102" y="2860865"/>
                </a:lnTo>
                <a:lnTo>
                  <a:pt x="2832697" y="2898000"/>
                </a:lnTo>
                <a:lnTo>
                  <a:pt x="2814790" y="2935059"/>
                </a:lnTo>
                <a:lnTo>
                  <a:pt x="2798432" y="2972066"/>
                </a:lnTo>
                <a:lnTo>
                  <a:pt x="2783662" y="3009023"/>
                </a:lnTo>
                <a:lnTo>
                  <a:pt x="2770543" y="3045930"/>
                </a:lnTo>
                <a:lnTo>
                  <a:pt x="2749334" y="3114700"/>
                </a:lnTo>
                <a:lnTo>
                  <a:pt x="2731732" y="3182582"/>
                </a:lnTo>
                <a:lnTo>
                  <a:pt x="2717584" y="3249536"/>
                </a:lnTo>
                <a:lnTo>
                  <a:pt x="2706751" y="3315551"/>
                </a:lnTo>
                <a:lnTo>
                  <a:pt x="2699054" y="3380562"/>
                </a:lnTo>
                <a:lnTo>
                  <a:pt x="2694368" y="3444557"/>
                </a:lnTo>
                <a:lnTo>
                  <a:pt x="2692539" y="3507486"/>
                </a:lnTo>
                <a:lnTo>
                  <a:pt x="2693416" y="3569322"/>
                </a:lnTo>
                <a:lnTo>
                  <a:pt x="2696845" y="3630015"/>
                </a:lnTo>
                <a:lnTo>
                  <a:pt x="2702687" y="3689553"/>
                </a:lnTo>
                <a:lnTo>
                  <a:pt x="2710777" y="3747884"/>
                </a:lnTo>
                <a:lnTo>
                  <a:pt x="2720975" y="3804970"/>
                </a:lnTo>
                <a:lnTo>
                  <a:pt x="2733116" y="3860787"/>
                </a:lnTo>
                <a:lnTo>
                  <a:pt x="2747073" y="3915295"/>
                </a:lnTo>
                <a:lnTo>
                  <a:pt x="2762681" y="3968458"/>
                </a:lnTo>
                <a:lnTo>
                  <a:pt x="2779801" y="4020235"/>
                </a:lnTo>
                <a:lnTo>
                  <a:pt x="2798267" y="4070591"/>
                </a:lnTo>
                <a:lnTo>
                  <a:pt x="2817952" y="4119499"/>
                </a:lnTo>
                <a:lnTo>
                  <a:pt x="2838678" y="4166908"/>
                </a:lnTo>
                <a:lnTo>
                  <a:pt x="2860319" y="4212806"/>
                </a:lnTo>
                <a:lnTo>
                  <a:pt x="2882709" y="4257129"/>
                </a:lnTo>
                <a:lnTo>
                  <a:pt x="2905709" y="4299864"/>
                </a:lnTo>
                <a:lnTo>
                  <a:pt x="2929166" y="4340974"/>
                </a:lnTo>
                <a:lnTo>
                  <a:pt x="2952927" y="4380408"/>
                </a:lnTo>
                <a:lnTo>
                  <a:pt x="2976854" y="4418139"/>
                </a:lnTo>
                <a:lnTo>
                  <a:pt x="3000768" y="4454131"/>
                </a:lnTo>
                <a:lnTo>
                  <a:pt x="3024555" y="4488345"/>
                </a:lnTo>
                <a:lnTo>
                  <a:pt x="3048038" y="4520755"/>
                </a:lnTo>
                <a:lnTo>
                  <a:pt x="3071076" y="4551324"/>
                </a:lnTo>
                <a:lnTo>
                  <a:pt x="3115233" y="4606772"/>
                </a:lnTo>
                <a:lnTo>
                  <a:pt x="3155810" y="4654410"/>
                </a:lnTo>
                <a:lnTo>
                  <a:pt x="3191624" y="4693945"/>
                </a:lnTo>
                <a:lnTo>
                  <a:pt x="3221456" y="4725098"/>
                </a:lnTo>
                <a:lnTo>
                  <a:pt x="3252393" y="4755489"/>
                </a:lnTo>
                <a:lnTo>
                  <a:pt x="3289871" y="4785195"/>
                </a:lnTo>
                <a:lnTo>
                  <a:pt x="3352101" y="4808791"/>
                </a:lnTo>
                <a:lnTo>
                  <a:pt x="3384816" y="4811725"/>
                </a:lnTo>
                <a:lnTo>
                  <a:pt x="3422065" y="4807928"/>
                </a:lnTo>
                <a:lnTo>
                  <a:pt x="3491369" y="4777714"/>
                </a:lnTo>
                <a:lnTo>
                  <a:pt x="3520922" y="4751438"/>
                </a:lnTo>
                <a:lnTo>
                  <a:pt x="3548837" y="4710963"/>
                </a:lnTo>
                <a:lnTo>
                  <a:pt x="3564598" y="4666081"/>
                </a:lnTo>
                <a:lnTo>
                  <a:pt x="3568331" y="4619295"/>
                </a:lnTo>
                <a:lnTo>
                  <a:pt x="3560165" y="4573067"/>
                </a:lnTo>
                <a:lnTo>
                  <a:pt x="3540239" y="4529861"/>
                </a:lnTo>
                <a:lnTo>
                  <a:pt x="3508654" y="4492129"/>
                </a:lnTo>
                <a:lnTo>
                  <a:pt x="3500399" y="4484382"/>
                </a:lnTo>
                <a:lnTo>
                  <a:pt x="3484295" y="4468546"/>
                </a:lnTo>
                <a:lnTo>
                  <a:pt x="3433026" y="4413796"/>
                </a:lnTo>
                <a:lnTo>
                  <a:pt x="3400107" y="4375455"/>
                </a:lnTo>
                <a:lnTo>
                  <a:pt x="3363798" y="4330217"/>
                </a:lnTo>
                <a:lnTo>
                  <a:pt x="3325253" y="4278363"/>
                </a:lnTo>
                <a:lnTo>
                  <a:pt x="3285566" y="4220172"/>
                </a:lnTo>
                <a:lnTo>
                  <a:pt x="3245878" y="4155960"/>
                </a:lnTo>
                <a:lnTo>
                  <a:pt x="3207283" y="4085996"/>
                </a:lnTo>
                <a:lnTo>
                  <a:pt x="3803065" y="4085996"/>
                </a:lnTo>
                <a:lnTo>
                  <a:pt x="3852380" y="4076039"/>
                </a:lnTo>
                <a:lnTo>
                  <a:pt x="3892639" y="4048887"/>
                </a:lnTo>
                <a:lnTo>
                  <a:pt x="3919766" y="4008628"/>
                </a:lnTo>
                <a:lnTo>
                  <a:pt x="3929723" y="3959314"/>
                </a:lnTo>
                <a:lnTo>
                  <a:pt x="3919766" y="3910012"/>
                </a:lnTo>
                <a:lnTo>
                  <a:pt x="3892639" y="3869740"/>
                </a:lnTo>
                <a:lnTo>
                  <a:pt x="3852380" y="3842588"/>
                </a:lnTo>
                <a:lnTo>
                  <a:pt x="3803065" y="3832631"/>
                </a:lnTo>
                <a:lnTo>
                  <a:pt x="3106051" y="3832631"/>
                </a:lnTo>
                <a:lnTo>
                  <a:pt x="3093821" y="3786289"/>
                </a:lnTo>
                <a:lnTo>
                  <a:pt x="3083318" y="3738765"/>
                </a:lnTo>
                <a:lnTo>
                  <a:pt x="3074657" y="3690099"/>
                </a:lnTo>
                <a:lnTo>
                  <a:pt x="3068002" y="3640340"/>
                </a:lnTo>
                <a:lnTo>
                  <a:pt x="3063494" y="3589528"/>
                </a:lnTo>
                <a:lnTo>
                  <a:pt x="3061284" y="3537686"/>
                </a:lnTo>
                <a:lnTo>
                  <a:pt x="4186415" y="3537686"/>
                </a:lnTo>
                <a:lnTo>
                  <a:pt x="4235729" y="3527742"/>
                </a:lnTo>
                <a:lnTo>
                  <a:pt x="4275988" y="3500590"/>
                </a:lnTo>
                <a:lnTo>
                  <a:pt x="4303128" y="3460318"/>
                </a:lnTo>
                <a:lnTo>
                  <a:pt x="4313072" y="3411004"/>
                </a:lnTo>
                <a:lnTo>
                  <a:pt x="4303128" y="3361702"/>
                </a:lnTo>
                <a:lnTo>
                  <a:pt x="4275988" y="3321431"/>
                </a:lnTo>
                <a:lnTo>
                  <a:pt x="4235729" y="3294291"/>
                </a:lnTo>
                <a:lnTo>
                  <a:pt x="4186415" y="3284321"/>
                </a:lnTo>
                <a:lnTo>
                  <a:pt x="3085935" y="3284321"/>
                </a:lnTo>
                <a:lnTo>
                  <a:pt x="3092831" y="3254083"/>
                </a:lnTo>
                <a:lnTo>
                  <a:pt x="3109315" y="3192983"/>
                </a:lnTo>
                <a:lnTo>
                  <a:pt x="3133902" y="3122079"/>
                </a:lnTo>
                <a:lnTo>
                  <a:pt x="3151809" y="3081401"/>
                </a:lnTo>
                <a:lnTo>
                  <a:pt x="3172637" y="3040075"/>
                </a:lnTo>
                <a:lnTo>
                  <a:pt x="3196209" y="2998165"/>
                </a:lnTo>
                <a:lnTo>
                  <a:pt x="3222371" y="2955658"/>
                </a:lnTo>
                <a:lnTo>
                  <a:pt x="3222929" y="2955658"/>
                </a:lnTo>
                <a:lnTo>
                  <a:pt x="3223450" y="2955823"/>
                </a:lnTo>
                <a:lnTo>
                  <a:pt x="4085818" y="2955823"/>
                </a:lnTo>
                <a:lnTo>
                  <a:pt x="4086631" y="2955658"/>
                </a:lnTo>
                <a:lnTo>
                  <a:pt x="4135132" y="2945866"/>
                </a:lnTo>
                <a:lnTo>
                  <a:pt x="4175391" y="2918714"/>
                </a:lnTo>
                <a:lnTo>
                  <a:pt x="4202519" y="2878455"/>
                </a:lnTo>
                <a:lnTo>
                  <a:pt x="4212475" y="2829141"/>
                </a:lnTo>
                <a:lnTo>
                  <a:pt x="4202519" y="2779839"/>
                </a:lnTo>
                <a:lnTo>
                  <a:pt x="4175391" y="2739567"/>
                </a:lnTo>
                <a:lnTo>
                  <a:pt x="4135132" y="2712415"/>
                </a:lnTo>
                <a:lnTo>
                  <a:pt x="4085818" y="2702458"/>
                </a:lnTo>
                <a:lnTo>
                  <a:pt x="3416541" y="2702458"/>
                </a:lnTo>
                <a:lnTo>
                  <a:pt x="3446754" y="2668371"/>
                </a:lnTo>
                <a:lnTo>
                  <a:pt x="3477958" y="2634030"/>
                </a:lnTo>
                <a:lnTo>
                  <a:pt x="3510102" y="2599436"/>
                </a:lnTo>
                <a:lnTo>
                  <a:pt x="3543135" y="2564612"/>
                </a:lnTo>
                <a:lnTo>
                  <a:pt x="3577018" y="2529548"/>
                </a:lnTo>
                <a:lnTo>
                  <a:pt x="3611702" y="2494267"/>
                </a:lnTo>
                <a:lnTo>
                  <a:pt x="3647122" y="2458758"/>
                </a:lnTo>
                <a:lnTo>
                  <a:pt x="3683254" y="2423045"/>
                </a:lnTo>
                <a:lnTo>
                  <a:pt x="3720046" y="2387117"/>
                </a:lnTo>
                <a:lnTo>
                  <a:pt x="3795395" y="2314702"/>
                </a:lnTo>
                <a:lnTo>
                  <a:pt x="3912184" y="2204707"/>
                </a:lnTo>
                <a:lnTo>
                  <a:pt x="4351325" y="1798180"/>
                </a:lnTo>
                <a:lnTo>
                  <a:pt x="4468863" y="1687245"/>
                </a:lnTo>
                <a:lnTo>
                  <a:pt x="4546206" y="1612912"/>
                </a:lnTo>
                <a:lnTo>
                  <a:pt x="4584484" y="1575625"/>
                </a:lnTo>
                <a:lnTo>
                  <a:pt x="4622444" y="1538236"/>
                </a:lnTo>
                <a:lnTo>
                  <a:pt x="4660087" y="1500771"/>
                </a:lnTo>
                <a:lnTo>
                  <a:pt x="4697361" y="1463205"/>
                </a:lnTo>
                <a:lnTo>
                  <a:pt x="4734242" y="1425549"/>
                </a:lnTo>
                <a:lnTo>
                  <a:pt x="4770691" y="1387792"/>
                </a:lnTo>
                <a:lnTo>
                  <a:pt x="4806696" y="1349933"/>
                </a:lnTo>
                <a:lnTo>
                  <a:pt x="4841951" y="1312240"/>
                </a:lnTo>
                <a:lnTo>
                  <a:pt x="4841951" y="582485"/>
                </a:lnTo>
                <a:close/>
              </a:path>
              <a:path w="4842509" h="4812030">
                <a:moveTo>
                  <a:pt x="4841951" y="7937"/>
                </a:moveTo>
                <a:lnTo>
                  <a:pt x="4133786" y="7937"/>
                </a:lnTo>
                <a:lnTo>
                  <a:pt x="4084472" y="17907"/>
                </a:lnTo>
                <a:lnTo>
                  <a:pt x="4044213" y="45046"/>
                </a:lnTo>
                <a:lnTo>
                  <a:pt x="4017073" y="85318"/>
                </a:lnTo>
                <a:lnTo>
                  <a:pt x="4007129" y="134620"/>
                </a:lnTo>
                <a:lnTo>
                  <a:pt x="4017073" y="183934"/>
                </a:lnTo>
                <a:lnTo>
                  <a:pt x="4044213" y="224205"/>
                </a:lnTo>
                <a:lnTo>
                  <a:pt x="4084472" y="251358"/>
                </a:lnTo>
                <a:lnTo>
                  <a:pt x="4133786" y="261315"/>
                </a:lnTo>
                <a:lnTo>
                  <a:pt x="4841951" y="261315"/>
                </a:lnTo>
                <a:lnTo>
                  <a:pt x="4841951" y="7937"/>
                </a:lnTo>
                <a:close/>
              </a:path>
            </a:pathLst>
          </a:custGeom>
          <a:solidFill>
            <a:srgbClr val="0E5C77">
              <a:alpha val="23999"/>
            </a:srgbClr>
          </a:solidFill>
        </p:spPr>
        <p:txBody>
          <a:bodyPr wrap="square" lIns="0" tIns="0" rIns="0" bIns="0" rtlCol="0"/>
          <a:lstStyle/>
          <a:p>
            <a:endParaRPr/>
          </a:p>
        </p:txBody>
      </p:sp>
      <p:grpSp>
        <p:nvGrpSpPr>
          <p:cNvPr id="21" name="Group 20">
            <a:extLst>
              <a:ext uri="{FF2B5EF4-FFF2-40B4-BE49-F238E27FC236}">
                <a16:creationId xmlns:a16="http://schemas.microsoft.com/office/drawing/2014/main" id="{59489945-D82B-16EA-87F9-4DB1AC09BCAB}"/>
              </a:ext>
            </a:extLst>
          </p:cNvPr>
          <p:cNvGrpSpPr/>
          <p:nvPr userDrawn="1"/>
        </p:nvGrpSpPr>
        <p:grpSpPr>
          <a:xfrm>
            <a:off x="9598" y="4557616"/>
            <a:ext cx="3097294" cy="2298207"/>
            <a:chOff x="9598" y="4557616"/>
            <a:chExt cx="3097294" cy="2298207"/>
          </a:xfrm>
        </p:grpSpPr>
        <p:sp>
          <p:nvSpPr>
            <p:cNvPr id="22" name="object 4">
              <a:extLst>
                <a:ext uri="{FF2B5EF4-FFF2-40B4-BE49-F238E27FC236}">
                  <a16:creationId xmlns:a16="http://schemas.microsoft.com/office/drawing/2014/main" id="{863EF05D-4F3C-2EAC-0BD4-17EC180015FD}"/>
                </a:ext>
              </a:extLst>
            </p:cNvPr>
            <p:cNvSpPr/>
            <p:nvPr/>
          </p:nvSpPr>
          <p:spPr>
            <a:xfrm>
              <a:off x="1316370" y="6327748"/>
              <a:ext cx="614398" cy="528026"/>
            </a:xfrm>
            <a:custGeom>
              <a:avLst/>
              <a:gdLst/>
              <a:ahLst/>
              <a:cxnLst/>
              <a:rect l="l" t="t" r="r" b="b"/>
              <a:pathLst>
                <a:path w="677544" h="582295">
                  <a:moveTo>
                    <a:pt x="166528" y="0"/>
                  </a:moveTo>
                  <a:lnTo>
                    <a:pt x="120868" y="10089"/>
                  </a:lnTo>
                  <a:lnTo>
                    <a:pt x="78669" y="31774"/>
                  </a:lnTo>
                  <a:lnTo>
                    <a:pt x="42356" y="64816"/>
                  </a:lnTo>
                  <a:lnTo>
                    <a:pt x="16032" y="106257"/>
                  </a:lnTo>
                  <a:lnTo>
                    <a:pt x="1987" y="151637"/>
                  </a:lnTo>
                  <a:lnTo>
                    <a:pt x="0" y="198494"/>
                  </a:lnTo>
                  <a:lnTo>
                    <a:pt x="9847" y="244368"/>
                  </a:lnTo>
                  <a:lnTo>
                    <a:pt x="31309" y="286798"/>
                  </a:lnTo>
                  <a:lnTo>
                    <a:pt x="64161" y="323324"/>
                  </a:lnTo>
                  <a:lnTo>
                    <a:pt x="72492" y="330740"/>
                  </a:lnTo>
                  <a:lnTo>
                    <a:pt x="89603" y="347032"/>
                  </a:lnTo>
                  <a:lnTo>
                    <a:pt x="143984" y="405507"/>
                  </a:lnTo>
                  <a:lnTo>
                    <a:pt x="178162" y="447320"/>
                  </a:lnTo>
                  <a:lnTo>
                    <a:pt x="214937" y="497272"/>
                  </a:lnTo>
                  <a:lnTo>
                    <a:pt x="252764" y="555177"/>
                  </a:lnTo>
                  <a:lnTo>
                    <a:pt x="267956" y="581905"/>
                  </a:lnTo>
                  <a:lnTo>
                    <a:pt x="676956" y="581905"/>
                  </a:lnTo>
                  <a:lnTo>
                    <a:pt x="654079" y="529010"/>
                  </a:lnTo>
                  <a:lnTo>
                    <a:pt x="630400" y="479497"/>
                  </a:lnTo>
                  <a:lnTo>
                    <a:pt x="605823" y="432480"/>
                  </a:lnTo>
                  <a:lnTo>
                    <a:pt x="580604" y="387985"/>
                  </a:lnTo>
                  <a:lnTo>
                    <a:pt x="555000" y="346039"/>
                  </a:lnTo>
                  <a:lnTo>
                    <a:pt x="529267" y="306670"/>
                  </a:lnTo>
                  <a:lnTo>
                    <a:pt x="503664" y="269906"/>
                  </a:lnTo>
                  <a:lnTo>
                    <a:pt x="478447" y="235772"/>
                  </a:lnTo>
                  <a:lnTo>
                    <a:pt x="453872" y="204296"/>
                  </a:lnTo>
                  <a:lnTo>
                    <a:pt x="407680" y="149427"/>
                  </a:lnTo>
                  <a:lnTo>
                    <a:pt x="367144" y="105516"/>
                  </a:lnTo>
                  <a:lnTo>
                    <a:pt x="334319" y="72781"/>
                  </a:lnTo>
                  <a:lnTo>
                    <a:pt x="300026" y="41702"/>
                  </a:lnTo>
                  <a:lnTo>
                    <a:pt x="258532" y="15566"/>
                  </a:lnTo>
                  <a:lnTo>
                    <a:pt x="213224" y="1745"/>
                  </a:lnTo>
                  <a:lnTo>
                    <a:pt x="166528" y="0"/>
                  </a:lnTo>
                  <a:close/>
                </a:path>
              </a:pathLst>
            </a:custGeom>
            <a:solidFill>
              <a:srgbClr val="0E5C77">
                <a:alpha val="23999"/>
              </a:srgbClr>
            </a:solidFill>
          </p:spPr>
          <p:txBody>
            <a:bodyPr wrap="square" lIns="0" tIns="0" rIns="0" bIns="0" rtlCol="0"/>
            <a:lstStyle/>
            <a:p>
              <a:endParaRPr/>
            </a:p>
          </p:txBody>
        </p:sp>
        <p:sp>
          <p:nvSpPr>
            <p:cNvPr id="23" name="object 5">
              <a:extLst>
                <a:ext uri="{FF2B5EF4-FFF2-40B4-BE49-F238E27FC236}">
                  <a16:creationId xmlns:a16="http://schemas.microsoft.com/office/drawing/2014/main" id="{CB05B7DE-D1A8-92D2-6742-E486186D58AC}"/>
                </a:ext>
              </a:extLst>
            </p:cNvPr>
            <p:cNvSpPr/>
            <p:nvPr/>
          </p:nvSpPr>
          <p:spPr>
            <a:xfrm>
              <a:off x="809301" y="6172078"/>
              <a:ext cx="347219" cy="352401"/>
            </a:xfrm>
            <a:custGeom>
              <a:avLst/>
              <a:gdLst/>
              <a:ahLst/>
              <a:cxnLst/>
              <a:rect l="l" t="t" r="r" b="b"/>
              <a:pathLst>
                <a:path w="382905" h="388620">
                  <a:moveTo>
                    <a:pt x="191198" y="0"/>
                  </a:moveTo>
                  <a:lnTo>
                    <a:pt x="147357" y="5131"/>
                  </a:lnTo>
                  <a:lnTo>
                    <a:pt x="107112" y="19749"/>
                  </a:lnTo>
                  <a:lnTo>
                    <a:pt x="71611" y="42686"/>
                  </a:lnTo>
                  <a:lnTo>
                    <a:pt x="42002" y="72776"/>
                  </a:lnTo>
                  <a:lnTo>
                    <a:pt x="19432" y="108852"/>
                  </a:lnTo>
                  <a:lnTo>
                    <a:pt x="5049" y="149748"/>
                  </a:lnTo>
                  <a:lnTo>
                    <a:pt x="0" y="194297"/>
                  </a:lnTo>
                  <a:lnTo>
                    <a:pt x="5049" y="238850"/>
                  </a:lnTo>
                  <a:lnTo>
                    <a:pt x="19432" y="279750"/>
                  </a:lnTo>
                  <a:lnTo>
                    <a:pt x="42002" y="315828"/>
                  </a:lnTo>
                  <a:lnTo>
                    <a:pt x="71611" y="345919"/>
                  </a:lnTo>
                  <a:lnTo>
                    <a:pt x="107112" y="368857"/>
                  </a:lnTo>
                  <a:lnTo>
                    <a:pt x="147357" y="383475"/>
                  </a:lnTo>
                  <a:lnTo>
                    <a:pt x="191198" y="388607"/>
                  </a:lnTo>
                  <a:lnTo>
                    <a:pt x="235039" y="383475"/>
                  </a:lnTo>
                  <a:lnTo>
                    <a:pt x="275284" y="368857"/>
                  </a:lnTo>
                  <a:lnTo>
                    <a:pt x="310785" y="345919"/>
                  </a:lnTo>
                  <a:lnTo>
                    <a:pt x="340394" y="315828"/>
                  </a:lnTo>
                  <a:lnTo>
                    <a:pt x="362964" y="279750"/>
                  </a:lnTo>
                  <a:lnTo>
                    <a:pt x="377347" y="238850"/>
                  </a:lnTo>
                  <a:lnTo>
                    <a:pt x="382397" y="194297"/>
                  </a:lnTo>
                  <a:lnTo>
                    <a:pt x="377347" y="149748"/>
                  </a:lnTo>
                  <a:lnTo>
                    <a:pt x="362964" y="108852"/>
                  </a:lnTo>
                  <a:lnTo>
                    <a:pt x="340394" y="72776"/>
                  </a:lnTo>
                  <a:lnTo>
                    <a:pt x="310785" y="42686"/>
                  </a:lnTo>
                  <a:lnTo>
                    <a:pt x="275284" y="19749"/>
                  </a:lnTo>
                  <a:lnTo>
                    <a:pt x="235039" y="5131"/>
                  </a:lnTo>
                  <a:lnTo>
                    <a:pt x="191198" y="0"/>
                  </a:lnTo>
                  <a:close/>
                </a:path>
              </a:pathLst>
            </a:custGeom>
            <a:solidFill>
              <a:srgbClr val="0E5C77">
                <a:alpha val="23999"/>
              </a:srgbClr>
            </a:solidFill>
          </p:spPr>
          <p:txBody>
            <a:bodyPr wrap="square" lIns="0" tIns="0" rIns="0" bIns="0" rtlCol="0"/>
            <a:lstStyle/>
            <a:p>
              <a:endParaRPr/>
            </a:p>
          </p:txBody>
        </p:sp>
        <p:sp>
          <p:nvSpPr>
            <p:cNvPr id="24" name="object 6">
              <a:extLst>
                <a:ext uri="{FF2B5EF4-FFF2-40B4-BE49-F238E27FC236}">
                  <a16:creationId xmlns:a16="http://schemas.microsoft.com/office/drawing/2014/main" id="{B42D0B40-8726-CFF6-45C8-D6DD9073ADC5}"/>
                </a:ext>
              </a:extLst>
            </p:cNvPr>
            <p:cNvSpPr/>
            <p:nvPr/>
          </p:nvSpPr>
          <p:spPr>
            <a:xfrm>
              <a:off x="1879928" y="6007961"/>
              <a:ext cx="347219" cy="352401"/>
            </a:xfrm>
            <a:custGeom>
              <a:avLst/>
              <a:gdLst/>
              <a:ahLst/>
              <a:cxnLst/>
              <a:rect l="l" t="t" r="r" b="b"/>
              <a:pathLst>
                <a:path w="382905" h="388620">
                  <a:moveTo>
                    <a:pt x="191198" y="0"/>
                  </a:moveTo>
                  <a:lnTo>
                    <a:pt x="147357" y="5131"/>
                  </a:lnTo>
                  <a:lnTo>
                    <a:pt x="107112" y="19749"/>
                  </a:lnTo>
                  <a:lnTo>
                    <a:pt x="71611" y="42687"/>
                  </a:lnTo>
                  <a:lnTo>
                    <a:pt x="42002" y="72778"/>
                  </a:lnTo>
                  <a:lnTo>
                    <a:pt x="19432" y="108857"/>
                  </a:lnTo>
                  <a:lnTo>
                    <a:pt x="5049" y="149756"/>
                  </a:lnTo>
                  <a:lnTo>
                    <a:pt x="0" y="194310"/>
                  </a:lnTo>
                  <a:lnTo>
                    <a:pt x="5049" y="238863"/>
                  </a:lnTo>
                  <a:lnTo>
                    <a:pt x="19432" y="279762"/>
                  </a:lnTo>
                  <a:lnTo>
                    <a:pt x="42002" y="315841"/>
                  </a:lnTo>
                  <a:lnTo>
                    <a:pt x="71611" y="345932"/>
                  </a:lnTo>
                  <a:lnTo>
                    <a:pt x="107112" y="368870"/>
                  </a:lnTo>
                  <a:lnTo>
                    <a:pt x="147357" y="383488"/>
                  </a:lnTo>
                  <a:lnTo>
                    <a:pt x="191198" y="388620"/>
                  </a:lnTo>
                  <a:lnTo>
                    <a:pt x="235035" y="383488"/>
                  </a:lnTo>
                  <a:lnTo>
                    <a:pt x="275279" y="368870"/>
                  </a:lnTo>
                  <a:lnTo>
                    <a:pt x="310779" y="345932"/>
                  </a:lnTo>
                  <a:lnTo>
                    <a:pt x="340390" y="315841"/>
                  </a:lnTo>
                  <a:lnTo>
                    <a:pt x="362961" y="279762"/>
                  </a:lnTo>
                  <a:lnTo>
                    <a:pt x="377346" y="238863"/>
                  </a:lnTo>
                  <a:lnTo>
                    <a:pt x="382397" y="194310"/>
                  </a:lnTo>
                  <a:lnTo>
                    <a:pt x="377346" y="149756"/>
                  </a:lnTo>
                  <a:lnTo>
                    <a:pt x="362961" y="108857"/>
                  </a:lnTo>
                  <a:lnTo>
                    <a:pt x="340390" y="72778"/>
                  </a:lnTo>
                  <a:lnTo>
                    <a:pt x="310779" y="42687"/>
                  </a:lnTo>
                  <a:lnTo>
                    <a:pt x="275279" y="19749"/>
                  </a:lnTo>
                  <a:lnTo>
                    <a:pt x="235035" y="5131"/>
                  </a:lnTo>
                  <a:lnTo>
                    <a:pt x="191198" y="0"/>
                  </a:lnTo>
                  <a:close/>
                </a:path>
              </a:pathLst>
            </a:custGeom>
            <a:solidFill>
              <a:srgbClr val="0E5C77">
                <a:alpha val="23999"/>
              </a:srgbClr>
            </a:solidFill>
          </p:spPr>
          <p:txBody>
            <a:bodyPr wrap="square" lIns="0" tIns="0" rIns="0" bIns="0" rtlCol="0"/>
            <a:lstStyle/>
            <a:p>
              <a:endParaRPr/>
            </a:p>
          </p:txBody>
        </p:sp>
        <p:sp>
          <p:nvSpPr>
            <p:cNvPr id="25" name="object 7">
              <a:extLst>
                <a:ext uri="{FF2B5EF4-FFF2-40B4-BE49-F238E27FC236}">
                  <a16:creationId xmlns:a16="http://schemas.microsoft.com/office/drawing/2014/main" id="{94932D03-1DB6-8192-A37F-9BC1EC4AD97E}"/>
                </a:ext>
              </a:extLst>
            </p:cNvPr>
            <p:cNvSpPr/>
            <p:nvPr/>
          </p:nvSpPr>
          <p:spPr>
            <a:xfrm>
              <a:off x="1755210" y="5407218"/>
              <a:ext cx="347219" cy="352401"/>
            </a:xfrm>
            <a:custGeom>
              <a:avLst/>
              <a:gdLst/>
              <a:ahLst/>
              <a:cxnLst/>
              <a:rect l="l" t="t" r="r" b="b"/>
              <a:pathLst>
                <a:path w="382905" h="388620">
                  <a:moveTo>
                    <a:pt x="191198" y="0"/>
                  </a:moveTo>
                  <a:lnTo>
                    <a:pt x="147357" y="5131"/>
                  </a:lnTo>
                  <a:lnTo>
                    <a:pt x="107112" y="19749"/>
                  </a:lnTo>
                  <a:lnTo>
                    <a:pt x="71611" y="42687"/>
                  </a:lnTo>
                  <a:lnTo>
                    <a:pt x="42002" y="72778"/>
                  </a:lnTo>
                  <a:lnTo>
                    <a:pt x="19432" y="108857"/>
                  </a:lnTo>
                  <a:lnTo>
                    <a:pt x="5049" y="149756"/>
                  </a:lnTo>
                  <a:lnTo>
                    <a:pt x="0" y="194309"/>
                  </a:lnTo>
                  <a:lnTo>
                    <a:pt x="5049" y="238863"/>
                  </a:lnTo>
                  <a:lnTo>
                    <a:pt x="19432" y="279762"/>
                  </a:lnTo>
                  <a:lnTo>
                    <a:pt x="42002" y="315841"/>
                  </a:lnTo>
                  <a:lnTo>
                    <a:pt x="71611" y="345932"/>
                  </a:lnTo>
                  <a:lnTo>
                    <a:pt x="107112" y="368870"/>
                  </a:lnTo>
                  <a:lnTo>
                    <a:pt x="147357" y="383488"/>
                  </a:lnTo>
                  <a:lnTo>
                    <a:pt x="191198" y="388619"/>
                  </a:lnTo>
                  <a:lnTo>
                    <a:pt x="235039" y="383488"/>
                  </a:lnTo>
                  <a:lnTo>
                    <a:pt x="275284" y="368870"/>
                  </a:lnTo>
                  <a:lnTo>
                    <a:pt x="310785" y="345932"/>
                  </a:lnTo>
                  <a:lnTo>
                    <a:pt x="340394" y="315841"/>
                  </a:lnTo>
                  <a:lnTo>
                    <a:pt x="362964" y="279762"/>
                  </a:lnTo>
                  <a:lnTo>
                    <a:pt x="377347" y="238863"/>
                  </a:lnTo>
                  <a:lnTo>
                    <a:pt x="382397" y="194309"/>
                  </a:lnTo>
                  <a:lnTo>
                    <a:pt x="377347" y="149756"/>
                  </a:lnTo>
                  <a:lnTo>
                    <a:pt x="362964" y="108857"/>
                  </a:lnTo>
                  <a:lnTo>
                    <a:pt x="340394" y="72778"/>
                  </a:lnTo>
                  <a:lnTo>
                    <a:pt x="310785" y="42687"/>
                  </a:lnTo>
                  <a:lnTo>
                    <a:pt x="275284" y="19749"/>
                  </a:lnTo>
                  <a:lnTo>
                    <a:pt x="235039" y="5131"/>
                  </a:lnTo>
                  <a:lnTo>
                    <a:pt x="191198" y="0"/>
                  </a:lnTo>
                  <a:close/>
                </a:path>
              </a:pathLst>
            </a:custGeom>
            <a:solidFill>
              <a:srgbClr val="0E5C77">
                <a:alpha val="23999"/>
              </a:srgbClr>
            </a:solidFill>
          </p:spPr>
          <p:txBody>
            <a:bodyPr wrap="square" lIns="0" tIns="0" rIns="0" bIns="0" rtlCol="0"/>
            <a:lstStyle/>
            <a:p>
              <a:endParaRPr/>
            </a:p>
          </p:txBody>
        </p:sp>
        <p:sp>
          <p:nvSpPr>
            <p:cNvPr id="26" name="object 8">
              <a:extLst>
                <a:ext uri="{FF2B5EF4-FFF2-40B4-BE49-F238E27FC236}">
                  <a16:creationId xmlns:a16="http://schemas.microsoft.com/office/drawing/2014/main" id="{870B1266-3B19-111C-D391-A0174B1E3628}"/>
                </a:ext>
              </a:extLst>
            </p:cNvPr>
            <p:cNvSpPr/>
            <p:nvPr/>
          </p:nvSpPr>
          <p:spPr>
            <a:xfrm>
              <a:off x="1088618" y="5550074"/>
              <a:ext cx="415741" cy="422651"/>
            </a:xfrm>
            <a:custGeom>
              <a:avLst/>
              <a:gdLst/>
              <a:ahLst/>
              <a:cxnLst/>
              <a:rect l="l" t="t" r="r" b="b"/>
              <a:pathLst>
                <a:path w="458469" h="466090">
                  <a:moveTo>
                    <a:pt x="229044" y="0"/>
                  </a:moveTo>
                  <a:lnTo>
                    <a:pt x="182885" y="4728"/>
                  </a:lnTo>
                  <a:lnTo>
                    <a:pt x="139892" y="18290"/>
                  </a:lnTo>
                  <a:lnTo>
                    <a:pt x="100986" y="39750"/>
                  </a:lnTo>
                  <a:lnTo>
                    <a:pt x="67087" y="68172"/>
                  </a:lnTo>
                  <a:lnTo>
                    <a:pt x="39118" y="102620"/>
                  </a:lnTo>
                  <a:lnTo>
                    <a:pt x="18000" y="142158"/>
                  </a:lnTo>
                  <a:lnTo>
                    <a:pt x="4653" y="185852"/>
                  </a:lnTo>
                  <a:lnTo>
                    <a:pt x="0" y="232765"/>
                  </a:lnTo>
                  <a:lnTo>
                    <a:pt x="4653" y="279679"/>
                  </a:lnTo>
                  <a:lnTo>
                    <a:pt x="18000" y="323374"/>
                  </a:lnTo>
                  <a:lnTo>
                    <a:pt x="39118" y="362915"/>
                  </a:lnTo>
                  <a:lnTo>
                    <a:pt x="67087" y="397365"/>
                  </a:lnTo>
                  <a:lnTo>
                    <a:pt x="100986" y="425789"/>
                  </a:lnTo>
                  <a:lnTo>
                    <a:pt x="139892" y="447251"/>
                  </a:lnTo>
                  <a:lnTo>
                    <a:pt x="182885" y="460814"/>
                  </a:lnTo>
                  <a:lnTo>
                    <a:pt x="229044" y="465543"/>
                  </a:lnTo>
                  <a:lnTo>
                    <a:pt x="275207" y="460814"/>
                  </a:lnTo>
                  <a:lnTo>
                    <a:pt x="318203" y="447251"/>
                  </a:lnTo>
                  <a:lnTo>
                    <a:pt x="357112" y="425789"/>
                  </a:lnTo>
                  <a:lnTo>
                    <a:pt x="391012" y="397365"/>
                  </a:lnTo>
                  <a:lnTo>
                    <a:pt x="418982" y="362915"/>
                  </a:lnTo>
                  <a:lnTo>
                    <a:pt x="440101" y="323374"/>
                  </a:lnTo>
                  <a:lnTo>
                    <a:pt x="453448" y="279679"/>
                  </a:lnTo>
                  <a:lnTo>
                    <a:pt x="458101" y="232765"/>
                  </a:lnTo>
                  <a:lnTo>
                    <a:pt x="453448" y="185852"/>
                  </a:lnTo>
                  <a:lnTo>
                    <a:pt x="440101" y="142158"/>
                  </a:lnTo>
                  <a:lnTo>
                    <a:pt x="418982" y="102620"/>
                  </a:lnTo>
                  <a:lnTo>
                    <a:pt x="391012" y="68172"/>
                  </a:lnTo>
                  <a:lnTo>
                    <a:pt x="357112" y="39750"/>
                  </a:lnTo>
                  <a:lnTo>
                    <a:pt x="318203" y="18290"/>
                  </a:lnTo>
                  <a:lnTo>
                    <a:pt x="275207" y="4728"/>
                  </a:lnTo>
                  <a:lnTo>
                    <a:pt x="229044" y="0"/>
                  </a:lnTo>
                  <a:close/>
                </a:path>
              </a:pathLst>
            </a:custGeom>
            <a:solidFill>
              <a:srgbClr val="0E5C77">
                <a:alpha val="23999"/>
              </a:srgbClr>
            </a:solidFill>
          </p:spPr>
          <p:txBody>
            <a:bodyPr wrap="square" lIns="0" tIns="0" rIns="0" bIns="0" rtlCol="0"/>
            <a:lstStyle/>
            <a:p>
              <a:endParaRPr/>
            </a:p>
          </p:txBody>
        </p:sp>
        <p:sp>
          <p:nvSpPr>
            <p:cNvPr id="27" name="object 9">
              <a:extLst>
                <a:ext uri="{FF2B5EF4-FFF2-40B4-BE49-F238E27FC236}">
                  <a16:creationId xmlns:a16="http://schemas.microsoft.com/office/drawing/2014/main" id="{A1B8B559-FDDD-3768-BE13-48E60B67B738}"/>
                </a:ext>
              </a:extLst>
            </p:cNvPr>
            <p:cNvSpPr/>
            <p:nvPr/>
          </p:nvSpPr>
          <p:spPr>
            <a:xfrm>
              <a:off x="2464854" y="6493633"/>
              <a:ext cx="642038" cy="362190"/>
            </a:xfrm>
            <a:custGeom>
              <a:avLst/>
              <a:gdLst/>
              <a:ahLst/>
              <a:cxnLst/>
              <a:rect l="l" t="t" r="r" b="b"/>
              <a:pathLst>
                <a:path w="708025" h="399415">
                  <a:moveTo>
                    <a:pt x="353898" y="0"/>
                  </a:moveTo>
                  <a:lnTo>
                    <a:pt x="305876" y="3283"/>
                  </a:lnTo>
                  <a:lnTo>
                    <a:pt x="259817" y="12847"/>
                  </a:lnTo>
                  <a:lnTo>
                    <a:pt x="216144" y="28263"/>
                  </a:lnTo>
                  <a:lnTo>
                    <a:pt x="175278" y="49103"/>
                  </a:lnTo>
                  <a:lnTo>
                    <a:pt x="137641" y="74938"/>
                  </a:lnTo>
                  <a:lnTo>
                    <a:pt x="103654" y="105340"/>
                  </a:lnTo>
                  <a:lnTo>
                    <a:pt x="73739" y="139879"/>
                  </a:lnTo>
                  <a:lnTo>
                    <a:pt x="48317" y="178129"/>
                  </a:lnTo>
                  <a:lnTo>
                    <a:pt x="27811" y="219659"/>
                  </a:lnTo>
                  <a:lnTo>
                    <a:pt x="12641" y="264042"/>
                  </a:lnTo>
                  <a:lnTo>
                    <a:pt x="3230" y="310849"/>
                  </a:lnTo>
                  <a:lnTo>
                    <a:pt x="0" y="359651"/>
                  </a:lnTo>
                  <a:lnTo>
                    <a:pt x="2602" y="398971"/>
                  </a:lnTo>
                  <a:lnTo>
                    <a:pt x="705193" y="398971"/>
                  </a:lnTo>
                  <a:lnTo>
                    <a:pt x="707796" y="359651"/>
                  </a:lnTo>
                  <a:lnTo>
                    <a:pt x="704565" y="310849"/>
                  </a:lnTo>
                  <a:lnTo>
                    <a:pt x="695154" y="264042"/>
                  </a:lnTo>
                  <a:lnTo>
                    <a:pt x="679985" y="219659"/>
                  </a:lnTo>
                  <a:lnTo>
                    <a:pt x="659479" y="178129"/>
                  </a:lnTo>
                  <a:lnTo>
                    <a:pt x="634057" y="139879"/>
                  </a:lnTo>
                  <a:lnTo>
                    <a:pt x="604142" y="105340"/>
                  </a:lnTo>
                  <a:lnTo>
                    <a:pt x="570155" y="74938"/>
                  </a:lnTo>
                  <a:lnTo>
                    <a:pt x="532517" y="49103"/>
                  </a:lnTo>
                  <a:lnTo>
                    <a:pt x="491651" y="28263"/>
                  </a:lnTo>
                  <a:lnTo>
                    <a:pt x="447978" y="12847"/>
                  </a:lnTo>
                  <a:lnTo>
                    <a:pt x="401920" y="3283"/>
                  </a:lnTo>
                  <a:lnTo>
                    <a:pt x="353898" y="0"/>
                  </a:lnTo>
                  <a:close/>
                </a:path>
              </a:pathLst>
            </a:custGeom>
            <a:solidFill>
              <a:srgbClr val="0E5C77">
                <a:alpha val="23999"/>
              </a:srgbClr>
            </a:solidFill>
          </p:spPr>
          <p:txBody>
            <a:bodyPr wrap="square" lIns="0" tIns="0" rIns="0" bIns="0" rtlCol="0"/>
            <a:lstStyle/>
            <a:p>
              <a:endParaRPr/>
            </a:p>
          </p:txBody>
        </p:sp>
        <p:sp>
          <p:nvSpPr>
            <p:cNvPr id="28" name="object 10">
              <a:extLst>
                <a:ext uri="{FF2B5EF4-FFF2-40B4-BE49-F238E27FC236}">
                  <a16:creationId xmlns:a16="http://schemas.microsoft.com/office/drawing/2014/main" id="{9412B5DB-583A-8967-5D35-7E8CFCA6F004}"/>
                </a:ext>
              </a:extLst>
            </p:cNvPr>
            <p:cNvSpPr/>
            <p:nvPr/>
          </p:nvSpPr>
          <p:spPr>
            <a:xfrm>
              <a:off x="871644" y="4706903"/>
              <a:ext cx="536087" cy="545300"/>
            </a:xfrm>
            <a:custGeom>
              <a:avLst/>
              <a:gdLst/>
              <a:ahLst/>
              <a:cxnLst/>
              <a:rect l="l" t="t" r="r" b="b"/>
              <a:pathLst>
                <a:path w="591185" h="601345">
                  <a:moveTo>
                    <a:pt x="295554" y="0"/>
                  </a:moveTo>
                  <a:lnTo>
                    <a:pt x="247613" y="3930"/>
                  </a:lnTo>
                  <a:lnTo>
                    <a:pt x="202135" y="15311"/>
                  </a:lnTo>
                  <a:lnTo>
                    <a:pt x="159728" y="33523"/>
                  </a:lnTo>
                  <a:lnTo>
                    <a:pt x="121002" y="57949"/>
                  </a:lnTo>
                  <a:lnTo>
                    <a:pt x="86564" y="87969"/>
                  </a:lnTo>
                  <a:lnTo>
                    <a:pt x="57024" y="122966"/>
                  </a:lnTo>
                  <a:lnTo>
                    <a:pt x="32988" y="162321"/>
                  </a:lnTo>
                  <a:lnTo>
                    <a:pt x="15067" y="205417"/>
                  </a:lnTo>
                  <a:lnTo>
                    <a:pt x="3868" y="251634"/>
                  </a:lnTo>
                  <a:lnTo>
                    <a:pt x="0" y="300354"/>
                  </a:lnTo>
                  <a:lnTo>
                    <a:pt x="3868" y="349075"/>
                  </a:lnTo>
                  <a:lnTo>
                    <a:pt x="15067" y="395294"/>
                  </a:lnTo>
                  <a:lnTo>
                    <a:pt x="32988" y="438390"/>
                  </a:lnTo>
                  <a:lnTo>
                    <a:pt x="57024" y="477747"/>
                  </a:lnTo>
                  <a:lnTo>
                    <a:pt x="86564" y="512746"/>
                  </a:lnTo>
                  <a:lnTo>
                    <a:pt x="121002" y="542768"/>
                  </a:lnTo>
                  <a:lnTo>
                    <a:pt x="159728" y="567195"/>
                  </a:lnTo>
                  <a:lnTo>
                    <a:pt x="202135" y="585409"/>
                  </a:lnTo>
                  <a:lnTo>
                    <a:pt x="247613" y="596791"/>
                  </a:lnTo>
                  <a:lnTo>
                    <a:pt x="295554" y="600722"/>
                  </a:lnTo>
                  <a:lnTo>
                    <a:pt x="343495" y="596791"/>
                  </a:lnTo>
                  <a:lnTo>
                    <a:pt x="388973" y="585409"/>
                  </a:lnTo>
                  <a:lnTo>
                    <a:pt x="431379" y="567195"/>
                  </a:lnTo>
                  <a:lnTo>
                    <a:pt x="470106" y="542768"/>
                  </a:lnTo>
                  <a:lnTo>
                    <a:pt x="504544" y="512746"/>
                  </a:lnTo>
                  <a:lnTo>
                    <a:pt x="534084" y="477747"/>
                  </a:lnTo>
                  <a:lnTo>
                    <a:pt x="558120" y="438390"/>
                  </a:lnTo>
                  <a:lnTo>
                    <a:pt x="576041" y="395294"/>
                  </a:lnTo>
                  <a:lnTo>
                    <a:pt x="587240" y="349075"/>
                  </a:lnTo>
                  <a:lnTo>
                    <a:pt x="591108" y="300354"/>
                  </a:lnTo>
                  <a:lnTo>
                    <a:pt x="587240" y="251634"/>
                  </a:lnTo>
                  <a:lnTo>
                    <a:pt x="576041" y="205417"/>
                  </a:lnTo>
                  <a:lnTo>
                    <a:pt x="558120" y="162321"/>
                  </a:lnTo>
                  <a:lnTo>
                    <a:pt x="534084" y="122966"/>
                  </a:lnTo>
                  <a:lnTo>
                    <a:pt x="504544" y="87969"/>
                  </a:lnTo>
                  <a:lnTo>
                    <a:pt x="470106" y="57949"/>
                  </a:lnTo>
                  <a:lnTo>
                    <a:pt x="431379" y="33523"/>
                  </a:lnTo>
                  <a:lnTo>
                    <a:pt x="388973" y="15311"/>
                  </a:lnTo>
                  <a:lnTo>
                    <a:pt x="343495" y="3930"/>
                  </a:lnTo>
                  <a:lnTo>
                    <a:pt x="295554" y="0"/>
                  </a:lnTo>
                  <a:close/>
                </a:path>
              </a:pathLst>
            </a:custGeom>
            <a:solidFill>
              <a:srgbClr val="0E5C77">
                <a:alpha val="23999"/>
              </a:srgbClr>
            </a:solidFill>
          </p:spPr>
          <p:txBody>
            <a:bodyPr wrap="square" lIns="0" tIns="0" rIns="0" bIns="0" rtlCol="0"/>
            <a:lstStyle/>
            <a:p>
              <a:endParaRPr/>
            </a:p>
          </p:txBody>
        </p:sp>
        <p:sp>
          <p:nvSpPr>
            <p:cNvPr id="29" name="object 11">
              <a:extLst>
                <a:ext uri="{FF2B5EF4-FFF2-40B4-BE49-F238E27FC236}">
                  <a16:creationId xmlns:a16="http://schemas.microsoft.com/office/drawing/2014/main" id="{357063B8-8F24-016B-ED8E-8A23E93B516A}"/>
                </a:ext>
              </a:extLst>
            </p:cNvPr>
            <p:cNvSpPr/>
            <p:nvPr/>
          </p:nvSpPr>
          <p:spPr>
            <a:xfrm>
              <a:off x="9598" y="4557616"/>
              <a:ext cx="660464" cy="2298092"/>
            </a:xfrm>
            <a:custGeom>
              <a:avLst/>
              <a:gdLst/>
              <a:ahLst/>
              <a:cxnLst/>
              <a:rect l="l" t="t" r="r" b="b"/>
              <a:pathLst>
                <a:path w="728345" h="2534284">
                  <a:moveTo>
                    <a:pt x="339378" y="1250138"/>
                  </a:moveTo>
                  <a:lnTo>
                    <a:pt x="0" y="1250138"/>
                  </a:lnTo>
                  <a:lnTo>
                    <a:pt x="0" y="1503516"/>
                  </a:lnTo>
                  <a:lnTo>
                    <a:pt x="293099" y="1503516"/>
                  </a:lnTo>
                  <a:lnTo>
                    <a:pt x="275124" y="1549292"/>
                  </a:lnTo>
                  <a:lnTo>
                    <a:pt x="255196" y="1595118"/>
                  </a:lnTo>
                  <a:lnTo>
                    <a:pt x="233381" y="1640986"/>
                  </a:lnTo>
                  <a:lnTo>
                    <a:pt x="209742" y="1686883"/>
                  </a:lnTo>
                  <a:lnTo>
                    <a:pt x="184347" y="1732802"/>
                  </a:lnTo>
                  <a:lnTo>
                    <a:pt x="157259" y="1778731"/>
                  </a:lnTo>
                  <a:lnTo>
                    <a:pt x="128545" y="1824661"/>
                  </a:lnTo>
                  <a:lnTo>
                    <a:pt x="0" y="1824661"/>
                  </a:lnTo>
                  <a:lnTo>
                    <a:pt x="0" y="2533969"/>
                  </a:lnTo>
                  <a:lnTo>
                    <a:pt x="37168" y="2533969"/>
                  </a:lnTo>
                  <a:lnTo>
                    <a:pt x="53615" y="2516081"/>
                  </a:lnTo>
                  <a:lnTo>
                    <a:pt x="88081" y="2477894"/>
                  </a:lnTo>
                  <a:lnTo>
                    <a:pt x="121975" y="2439592"/>
                  </a:lnTo>
                  <a:lnTo>
                    <a:pt x="155266" y="2401172"/>
                  </a:lnTo>
                  <a:lnTo>
                    <a:pt x="187926" y="2362631"/>
                  </a:lnTo>
                  <a:lnTo>
                    <a:pt x="219923" y="2323966"/>
                  </a:lnTo>
                  <a:lnTo>
                    <a:pt x="251229" y="2285174"/>
                  </a:lnTo>
                  <a:lnTo>
                    <a:pt x="281814" y="2246251"/>
                  </a:lnTo>
                  <a:lnTo>
                    <a:pt x="311647" y="2207195"/>
                  </a:lnTo>
                  <a:lnTo>
                    <a:pt x="340699" y="2168003"/>
                  </a:lnTo>
                  <a:lnTo>
                    <a:pt x="368940" y="2128671"/>
                  </a:lnTo>
                  <a:lnTo>
                    <a:pt x="396340" y="2089196"/>
                  </a:lnTo>
                  <a:lnTo>
                    <a:pt x="422870" y="2049575"/>
                  </a:lnTo>
                  <a:lnTo>
                    <a:pt x="448500" y="2009806"/>
                  </a:lnTo>
                  <a:lnTo>
                    <a:pt x="473199" y="1969884"/>
                  </a:lnTo>
                  <a:lnTo>
                    <a:pt x="496938" y="1929807"/>
                  </a:lnTo>
                  <a:lnTo>
                    <a:pt x="519688" y="1889572"/>
                  </a:lnTo>
                  <a:lnTo>
                    <a:pt x="541417" y="1849176"/>
                  </a:lnTo>
                  <a:lnTo>
                    <a:pt x="562098" y="1808615"/>
                  </a:lnTo>
                  <a:lnTo>
                    <a:pt x="581699" y="1767887"/>
                  </a:lnTo>
                  <a:lnTo>
                    <a:pt x="600190" y="1726988"/>
                  </a:lnTo>
                  <a:lnTo>
                    <a:pt x="617543" y="1685916"/>
                  </a:lnTo>
                  <a:lnTo>
                    <a:pt x="633727" y="1644667"/>
                  </a:lnTo>
                  <a:lnTo>
                    <a:pt x="648713" y="1603237"/>
                  </a:lnTo>
                  <a:lnTo>
                    <a:pt x="662470" y="1561625"/>
                  </a:lnTo>
                  <a:lnTo>
                    <a:pt x="674969" y="1519827"/>
                  </a:lnTo>
                  <a:lnTo>
                    <a:pt x="686180" y="1477840"/>
                  </a:lnTo>
                  <a:lnTo>
                    <a:pt x="696072" y="1435660"/>
                  </a:lnTo>
                  <a:lnTo>
                    <a:pt x="704618" y="1393285"/>
                  </a:lnTo>
                  <a:lnTo>
                    <a:pt x="711785" y="1350711"/>
                  </a:lnTo>
                  <a:lnTo>
                    <a:pt x="717546" y="1307936"/>
                  </a:lnTo>
                  <a:lnTo>
                    <a:pt x="722689" y="1252323"/>
                  </a:lnTo>
                  <a:lnTo>
                    <a:pt x="353602" y="1252323"/>
                  </a:lnTo>
                  <a:lnTo>
                    <a:pt x="346541" y="1251103"/>
                  </a:lnTo>
                  <a:lnTo>
                    <a:pt x="339378" y="1250138"/>
                  </a:lnTo>
                  <a:close/>
                </a:path>
                <a:path w="728345" h="2534284">
                  <a:moveTo>
                    <a:pt x="109487" y="0"/>
                  </a:moveTo>
                  <a:lnTo>
                    <a:pt x="63837" y="10091"/>
                  </a:lnTo>
                  <a:lnTo>
                    <a:pt x="21648" y="31783"/>
                  </a:lnTo>
                  <a:lnTo>
                    <a:pt x="37" y="51456"/>
                  </a:lnTo>
                  <a:lnTo>
                    <a:pt x="0" y="315397"/>
                  </a:lnTo>
                  <a:lnTo>
                    <a:pt x="7146" y="323343"/>
                  </a:lnTo>
                  <a:lnTo>
                    <a:pt x="15476" y="330759"/>
                  </a:lnTo>
                  <a:lnTo>
                    <a:pt x="32587" y="347051"/>
                  </a:lnTo>
                  <a:lnTo>
                    <a:pt x="86967" y="405526"/>
                  </a:lnTo>
                  <a:lnTo>
                    <a:pt x="121144" y="447339"/>
                  </a:lnTo>
                  <a:lnTo>
                    <a:pt x="157917" y="497291"/>
                  </a:lnTo>
                  <a:lnTo>
                    <a:pt x="195742" y="555196"/>
                  </a:lnTo>
                  <a:lnTo>
                    <a:pt x="233071" y="620872"/>
                  </a:lnTo>
                  <a:lnTo>
                    <a:pt x="268359" y="694132"/>
                  </a:lnTo>
                  <a:lnTo>
                    <a:pt x="0" y="694132"/>
                  </a:lnTo>
                  <a:lnTo>
                    <a:pt x="0" y="947497"/>
                  </a:lnTo>
                  <a:lnTo>
                    <a:pt x="344547" y="947497"/>
                  </a:lnTo>
                  <a:lnTo>
                    <a:pt x="351547" y="994539"/>
                  </a:lnTo>
                  <a:lnTo>
                    <a:pt x="356566" y="1043098"/>
                  </a:lnTo>
                  <a:lnTo>
                    <a:pt x="359442" y="1093166"/>
                  </a:lnTo>
                  <a:lnTo>
                    <a:pt x="360014" y="1144733"/>
                  </a:lnTo>
                  <a:lnTo>
                    <a:pt x="358121" y="1197788"/>
                  </a:lnTo>
                  <a:lnTo>
                    <a:pt x="353602" y="1252323"/>
                  </a:lnTo>
                  <a:lnTo>
                    <a:pt x="722689" y="1252323"/>
                  </a:lnTo>
                  <a:lnTo>
                    <a:pt x="724699" y="1230596"/>
                  </a:lnTo>
                  <a:lnTo>
                    <a:pt x="727870" y="1155425"/>
                  </a:lnTo>
                  <a:lnTo>
                    <a:pt x="727315" y="1082452"/>
                  </a:lnTo>
                  <a:lnTo>
                    <a:pt x="723292" y="1011702"/>
                  </a:lnTo>
                  <a:lnTo>
                    <a:pt x="716057" y="943204"/>
                  </a:lnTo>
                  <a:lnTo>
                    <a:pt x="705867" y="876984"/>
                  </a:lnTo>
                  <a:lnTo>
                    <a:pt x="692980" y="813069"/>
                  </a:lnTo>
                  <a:lnTo>
                    <a:pt x="677652" y="751487"/>
                  </a:lnTo>
                  <a:lnTo>
                    <a:pt x="660140" y="692264"/>
                  </a:lnTo>
                  <a:lnTo>
                    <a:pt x="640702" y="635429"/>
                  </a:lnTo>
                  <a:lnTo>
                    <a:pt x="619593" y="581007"/>
                  </a:lnTo>
                  <a:lnTo>
                    <a:pt x="597072" y="529026"/>
                  </a:lnTo>
                  <a:lnTo>
                    <a:pt x="573395" y="479514"/>
                  </a:lnTo>
                  <a:lnTo>
                    <a:pt x="548819" y="432497"/>
                  </a:lnTo>
                  <a:lnTo>
                    <a:pt x="523601" y="388002"/>
                  </a:lnTo>
                  <a:lnTo>
                    <a:pt x="497998" y="346057"/>
                  </a:lnTo>
                  <a:lnTo>
                    <a:pt x="472267" y="306688"/>
                  </a:lnTo>
                  <a:lnTo>
                    <a:pt x="446665" y="269924"/>
                  </a:lnTo>
                  <a:lnTo>
                    <a:pt x="421449" y="235790"/>
                  </a:lnTo>
                  <a:lnTo>
                    <a:pt x="396875" y="204314"/>
                  </a:lnTo>
                  <a:lnTo>
                    <a:pt x="350685" y="149446"/>
                  </a:lnTo>
                  <a:lnTo>
                    <a:pt x="310151" y="105535"/>
                  </a:lnTo>
                  <a:lnTo>
                    <a:pt x="277327" y="72800"/>
                  </a:lnTo>
                  <a:lnTo>
                    <a:pt x="247047" y="45123"/>
                  </a:lnTo>
                  <a:lnTo>
                    <a:pt x="201504" y="15575"/>
                  </a:lnTo>
                  <a:lnTo>
                    <a:pt x="156182" y="1748"/>
                  </a:lnTo>
                  <a:lnTo>
                    <a:pt x="109487" y="0"/>
                  </a:lnTo>
                  <a:close/>
                </a:path>
              </a:pathLst>
            </a:custGeom>
            <a:solidFill>
              <a:srgbClr val="0E5C77">
                <a:alpha val="23999"/>
              </a:srgbClr>
            </a:solidFill>
          </p:spPr>
          <p:txBody>
            <a:bodyPr wrap="square" lIns="0" tIns="0" rIns="0" bIns="0" rtlCol="0"/>
            <a:lstStyle/>
            <a:p>
              <a:endParaRPr/>
            </a:p>
          </p:txBody>
        </p:sp>
      </p:grpSp>
      <p:sp>
        <p:nvSpPr>
          <p:cNvPr id="2" name="Title 1">
            <a:extLst>
              <a:ext uri="{FF2B5EF4-FFF2-40B4-BE49-F238E27FC236}">
                <a16:creationId xmlns:a16="http://schemas.microsoft.com/office/drawing/2014/main" id="{E70AF5EC-C3A2-AE47-AC58-C795316B7127}"/>
              </a:ext>
            </a:extLst>
          </p:cNvPr>
          <p:cNvSpPr>
            <a:spLocks noGrp="1"/>
          </p:cNvSpPr>
          <p:nvPr>
            <p:ph type="title"/>
          </p:nvPr>
        </p:nvSpPr>
        <p:spPr>
          <a:xfrm>
            <a:off x="732346" y="593213"/>
            <a:ext cx="8915844" cy="752109"/>
          </a:xfrm>
        </p:spPr>
        <p:txBody>
          <a:bodyPr anchor="b">
            <a:normAutofit/>
          </a:bodyPr>
          <a:lstStyle>
            <a:lvl1pPr>
              <a:defRPr sz="4400">
                <a:solidFill>
                  <a:schemeClr val="bg1"/>
                </a:solidFill>
                <a:latin typeface="Quicksand" pitchFamily="2" charset="0"/>
              </a:defRPr>
            </a:lvl1p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5ADC4885-E653-9F9B-1C72-2AA34FCB44D8}"/>
              </a:ext>
            </a:extLst>
          </p:cNvPr>
          <p:cNvSpPr>
            <a:spLocks noGrp="1"/>
          </p:cNvSpPr>
          <p:nvPr>
            <p:ph type="body" idx="1"/>
          </p:nvPr>
        </p:nvSpPr>
        <p:spPr>
          <a:xfrm>
            <a:off x="725996" y="1882770"/>
            <a:ext cx="8915844" cy="3872235"/>
          </a:xfrm>
        </p:spPr>
        <p:txBody>
          <a:bodyPr>
            <a:normAutofit/>
          </a:bodyPr>
          <a:lstStyle>
            <a:lvl1pPr marL="0" indent="0">
              <a:buNone/>
              <a:defRPr sz="28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pic>
        <p:nvPicPr>
          <p:cNvPr id="19" name="Picture 18" descr="A picture containing text&#10;&#10;Description automatically generated">
            <a:extLst>
              <a:ext uri="{FF2B5EF4-FFF2-40B4-BE49-F238E27FC236}">
                <a16:creationId xmlns:a16="http://schemas.microsoft.com/office/drawing/2014/main" id="{912BFDD1-69DB-D848-4E1F-9342E314FF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58512" y="5755005"/>
            <a:ext cx="887325" cy="866809"/>
          </a:xfrm>
          <a:prstGeom prst="rect">
            <a:avLst/>
          </a:prstGeom>
        </p:spPr>
      </p:pic>
      <p:sp>
        <p:nvSpPr>
          <p:cNvPr id="30" name="Footer Placeholder 4">
            <a:extLst>
              <a:ext uri="{FF2B5EF4-FFF2-40B4-BE49-F238E27FC236}">
                <a16:creationId xmlns:a16="http://schemas.microsoft.com/office/drawing/2014/main" id="{02C401B5-B453-3BF0-01CE-3F0F63B03A02}"/>
              </a:ext>
            </a:extLst>
          </p:cNvPr>
          <p:cNvSpPr>
            <a:spLocks noGrp="1"/>
          </p:cNvSpPr>
          <p:nvPr>
            <p:ph type="ftr" sz="quarter" idx="3"/>
          </p:nvPr>
        </p:nvSpPr>
        <p:spPr>
          <a:xfrm>
            <a:off x="746162" y="6114954"/>
            <a:ext cx="8909745" cy="365125"/>
          </a:xfrm>
          <a:prstGeom prst="rect">
            <a:avLst/>
          </a:prstGeom>
        </p:spPr>
        <p:txBody>
          <a:bodyPr/>
          <a:lstStyle>
            <a:lvl1pPr>
              <a:defRPr sz="1400">
                <a:solidFill>
                  <a:schemeClr val="bg1"/>
                </a:solidFill>
              </a:defRPr>
            </a:lvl1pPr>
          </a:lstStyle>
          <a:p>
            <a:endParaRPr lang="en-GB" dirty="0"/>
          </a:p>
        </p:txBody>
      </p:sp>
    </p:spTree>
    <p:extLst>
      <p:ext uri="{BB962C8B-B14F-4D97-AF65-F5344CB8AC3E}">
        <p14:creationId xmlns:p14="http://schemas.microsoft.com/office/powerpoint/2010/main" val="114816596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2D00DCAC-C40F-C3B9-F022-BCEE66A66A0B}"/>
              </a:ext>
            </a:extLst>
          </p:cNvPr>
          <p:cNvSpPr/>
          <p:nvPr userDrawn="1"/>
        </p:nvSpPr>
        <p:spPr>
          <a:xfrm>
            <a:off x="0" y="-4957"/>
            <a:ext cx="12197847" cy="6908925"/>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chemeClr val="accent1"/>
          </a:solidFill>
        </p:spPr>
        <p:txBody>
          <a:bodyPr wrap="square" lIns="0" tIns="0" rIns="0" bIns="0" rtlCol="0"/>
          <a:lstStyle/>
          <a:p>
            <a:endParaRPr sz="2000"/>
          </a:p>
        </p:txBody>
      </p:sp>
      <p:sp>
        <p:nvSpPr>
          <p:cNvPr id="16" name="object 9">
            <a:extLst>
              <a:ext uri="{FF2B5EF4-FFF2-40B4-BE49-F238E27FC236}">
                <a16:creationId xmlns:a16="http://schemas.microsoft.com/office/drawing/2014/main" id="{74EB452A-3F34-E4BC-36A1-B9E06407DD9D}"/>
              </a:ext>
            </a:extLst>
          </p:cNvPr>
          <p:cNvSpPr/>
          <p:nvPr/>
        </p:nvSpPr>
        <p:spPr>
          <a:xfrm rot="10800000">
            <a:off x="8177366" y="3758779"/>
            <a:ext cx="3694477" cy="4834083"/>
          </a:xfrm>
          <a:custGeom>
            <a:avLst/>
            <a:gdLst/>
            <a:ahLst/>
            <a:cxnLst/>
            <a:rect l="l" t="t" r="r" b="b"/>
            <a:pathLst>
              <a:path w="3693795" h="4721860">
                <a:moveTo>
                  <a:pt x="985329" y="60604"/>
                </a:moveTo>
                <a:lnTo>
                  <a:pt x="977315" y="10096"/>
                </a:lnTo>
                <a:lnTo>
                  <a:pt x="972172" y="0"/>
                </a:lnTo>
                <a:lnTo>
                  <a:pt x="684009" y="0"/>
                </a:lnTo>
                <a:lnTo>
                  <a:pt x="678865" y="10096"/>
                </a:lnTo>
                <a:lnTo>
                  <a:pt x="670852" y="60604"/>
                </a:lnTo>
                <a:lnTo>
                  <a:pt x="678865" y="111112"/>
                </a:lnTo>
                <a:lnTo>
                  <a:pt x="701192" y="154978"/>
                </a:lnTo>
                <a:lnTo>
                  <a:pt x="735228" y="189572"/>
                </a:lnTo>
                <a:lnTo>
                  <a:pt x="778395" y="212255"/>
                </a:lnTo>
                <a:lnTo>
                  <a:pt x="828090" y="220395"/>
                </a:lnTo>
                <a:lnTo>
                  <a:pt x="877785" y="212255"/>
                </a:lnTo>
                <a:lnTo>
                  <a:pt x="920953" y="189572"/>
                </a:lnTo>
                <a:lnTo>
                  <a:pt x="954989" y="154978"/>
                </a:lnTo>
                <a:lnTo>
                  <a:pt x="977315" y="111112"/>
                </a:lnTo>
                <a:lnTo>
                  <a:pt x="985329" y="60604"/>
                </a:lnTo>
                <a:close/>
              </a:path>
              <a:path w="3693795" h="4721860">
                <a:moveTo>
                  <a:pt x="1194587" y="628446"/>
                </a:moveTo>
                <a:lnTo>
                  <a:pt x="1189532" y="583895"/>
                </a:lnTo>
                <a:lnTo>
                  <a:pt x="1175143" y="543001"/>
                </a:lnTo>
                <a:lnTo>
                  <a:pt x="1152575" y="506920"/>
                </a:lnTo>
                <a:lnTo>
                  <a:pt x="1122972" y="476821"/>
                </a:lnTo>
                <a:lnTo>
                  <a:pt x="1087462" y="453885"/>
                </a:lnTo>
                <a:lnTo>
                  <a:pt x="1047229" y="439267"/>
                </a:lnTo>
                <a:lnTo>
                  <a:pt x="1003388" y="434136"/>
                </a:lnTo>
                <a:lnTo>
                  <a:pt x="959548" y="439267"/>
                </a:lnTo>
                <a:lnTo>
                  <a:pt x="919302" y="453885"/>
                </a:lnTo>
                <a:lnTo>
                  <a:pt x="883805" y="476821"/>
                </a:lnTo>
                <a:lnTo>
                  <a:pt x="854189" y="506920"/>
                </a:lnTo>
                <a:lnTo>
                  <a:pt x="831621" y="543001"/>
                </a:lnTo>
                <a:lnTo>
                  <a:pt x="817232" y="583895"/>
                </a:lnTo>
                <a:lnTo>
                  <a:pt x="812190" y="628446"/>
                </a:lnTo>
                <a:lnTo>
                  <a:pt x="817232" y="672998"/>
                </a:lnTo>
                <a:lnTo>
                  <a:pt x="831621" y="713905"/>
                </a:lnTo>
                <a:lnTo>
                  <a:pt x="854189" y="749973"/>
                </a:lnTo>
                <a:lnTo>
                  <a:pt x="883805" y="780072"/>
                </a:lnTo>
                <a:lnTo>
                  <a:pt x="919302" y="803008"/>
                </a:lnTo>
                <a:lnTo>
                  <a:pt x="959548" y="817626"/>
                </a:lnTo>
                <a:lnTo>
                  <a:pt x="1003388" y="822756"/>
                </a:lnTo>
                <a:lnTo>
                  <a:pt x="1047229" y="817626"/>
                </a:lnTo>
                <a:lnTo>
                  <a:pt x="1087462" y="803008"/>
                </a:lnTo>
                <a:lnTo>
                  <a:pt x="1122972" y="780072"/>
                </a:lnTo>
                <a:lnTo>
                  <a:pt x="1152575" y="749973"/>
                </a:lnTo>
                <a:lnTo>
                  <a:pt x="1175143" y="713905"/>
                </a:lnTo>
                <a:lnTo>
                  <a:pt x="1189532" y="672998"/>
                </a:lnTo>
                <a:lnTo>
                  <a:pt x="1194587" y="628446"/>
                </a:lnTo>
                <a:close/>
              </a:path>
              <a:path w="3693795" h="4721860">
                <a:moveTo>
                  <a:pt x="2110397" y="2736418"/>
                </a:moveTo>
                <a:lnTo>
                  <a:pt x="2105355" y="2691866"/>
                </a:lnTo>
                <a:lnTo>
                  <a:pt x="2090966" y="2650960"/>
                </a:lnTo>
                <a:lnTo>
                  <a:pt x="2068398" y="2614892"/>
                </a:lnTo>
                <a:lnTo>
                  <a:pt x="2038781" y="2584793"/>
                </a:lnTo>
                <a:lnTo>
                  <a:pt x="2003285" y="2561856"/>
                </a:lnTo>
                <a:lnTo>
                  <a:pt x="1963039" y="2547239"/>
                </a:lnTo>
                <a:lnTo>
                  <a:pt x="1919198" y="2542108"/>
                </a:lnTo>
                <a:lnTo>
                  <a:pt x="1875358" y="2547239"/>
                </a:lnTo>
                <a:lnTo>
                  <a:pt x="1835111" y="2561856"/>
                </a:lnTo>
                <a:lnTo>
                  <a:pt x="1799615" y="2584793"/>
                </a:lnTo>
                <a:lnTo>
                  <a:pt x="1770011" y="2614892"/>
                </a:lnTo>
                <a:lnTo>
                  <a:pt x="1747431" y="2650960"/>
                </a:lnTo>
                <a:lnTo>
                  <a:pt x="1733054" y="2691866"/>
                </a:lnTo>
                <a:lnTo>
                  <a:pt x="1728000" y="2736418"/>
                </a:lnTo>
                <a:lnTo>
                  <a:pt x="1733054" y="2780969"/>
                </a:lnTo>
                <a:lnTo>
                  <a:pt x="1747431" y="2821863"/>
                </a:lnTo>
                <a:lnTo>
                  <a:pt x="1770011" y="2857944"/>
                </a:lnTo>
                <a:lnTo>
                  <a:pt x="1799615" y="2888043"/>
                </a:lnTo>
                <a:lnTo>
                  <a:pt x="1835111" y="2910979"/>
                </a:lnTo>
                <a:lnTo>
                  <a:pt x="1875358" y="2925597"/>
                </a:lnTo>
                <a:lnTo>
                  <a:pt x="1919198" y="2930728"/>
                </a:lnTo>
                <a:lnTo>
                  <a:pt x="1963039" y="2925597"/>
                </a:lnTo>
                <a:lnTo>
                  <a:pt x="2003285" y="2910979"/>
                </a:lnTo>
                <a:lnTo>
                  <a:pt x="2038781" y="2888043"/>
                </a:lnTo>
                <a:lnTo>
                  <a:pt x="2068398" y="2857944"/>
                </a:lnTo>
                <a:lnTo>
                  <a:pt x="2090966" y="2821863"/>
                </a:lnTo>
                <a:lnTo>
                  <a:pt x="2105355" y="2780969"/>
                </a:lnTo>
                <a:lnTo>
                  <a:pt x="2110397" y="2736418"/>
                </a:lnTo>
                <a:close/>
              </a:path>
              <a:path w="3693795" h="4721860">
                <a:moveTo>
                  <a:pt x="2315591" y="3313163"/>
                </a:moveTo>
                <a:lnTo>
                  <a:pt x="2310536" y="3268611"/>
                </a:lnTo>
                <a:lnTo>
                  <a:pt x="2296160" y="3227717"/>
                </a:lnTo>
                <a:lnTo>
                  <a:pt x="2273592" y="3191637"/>
                </a:lnTo>
                <a:lnTo>
                  <a:pt x="2243975" y="3161538"/>
                </a:lnTo>
                <a:lnTo>
                  <a:pt x="2208479" y="3138601"/>
                </a:lnTo>
                <a:lnTo>
                  <a:pt x="2168233" y="3123984"/>
                </a:lnTo>
                <a:lnTo>
                  <a:pt x="2124392" y="3118853"/>
                </a:lnTo>
                <a:lnTo>
                  <a:pt x="2080552" y="3123984"/>
                </a:lnTo>
                <a:lnTo>
                  <a:pt x="2040305" y="3138601"/>
                </a:lnTo>
                <a:lnTo>
                  <a:pt x="2004809" y="3161538"/>
                </a:lnTo>
                <a:lnTo>
                  <a:pt x="1975192" y="3191637"/>
                </a:lnTo>
                <a:lnTo>
                  <a:pt x="1952625" y="3227717"/>
                </a:lnTo>
                <a:lnTo>
                  <a:pt x="1938235" y="3268611"/>
                </a:lnTo>
                <a:lnTo>
                  <a:pt x="1933194" y="3313163"/>
                </a:lnTo>
                <a:lnTo>
                  <a:pt x="1938235" y="3357715"/>
                </a:lnTo>
                <a:lnTo>
                  <a:pt x="1952625" y="3398621"/>
                </a:lnTo>
                <a:lnTo>
                  <a:pt x="1975192" y="3434689"/>
                </a:lnTo>
                <a:lnTo>
                  <a:pt x="2004809" y="3464788"/>
                </a:lnTo>
                <a:lnTo>
                  <a:pt x="2040305" y="3487724"/>
                </a:lnTo>
                <a:lnTo>
                  <a:pt x="2080552" y="3502342"/>
                </a:lnTo>
                <a:lnTo>
                  <a:pt x="2124392" y="3507473"/>
                </a:lnTo>
                <a:lnTo>
                  <a:pt x="2168233" y="3502342"/>
                </a:lnTo>
                <a:lnTo>
                  <a:pt x="2208479" y="3487724"/>
                </a:lnTo>
                <a:lnTo>
                  <a:pt x="2243975" y="3464788"/>
                </a:lnTo>
                <a:lnTo>
                  <a:pt x="2273592" y="3434689"/>
                </a:lnTo>
                <a:lnTo>
                  <a:pt x="2296160" y="3398621"/>
                </a:lnTo>
                <a:lnTo>
                  <a:pt x="2310536" y="3357715"/>
                </a:lnTo>
                <a:lnTo>
                  <a:pt x="2315591" y="3313163"/>
                </a:lnTo>
                <a:close/>
              </a:path>
              <a:path w="3693795" h="4721860">
                <a:moveTo>
                  <a:pt x="2551633" y="1956752"/>
                </a:moveTo>
                <a:lnTo>
                  <a:pt x="2547645" y="1911578"/>
                </a:lnTo>
                <a:lnTo>
                  <a:pt x="2536164" y="1869046"/>
                </a:lnTo>
                <a:lnTo>
                  <a:pt x="2517864" y="1829892"/>
                </a:lnTo>
                <a:lnTo>
                  <a:pt x="2493467" y="1794814"/>
                </a:lnTo>
                <a:lnTo>
                  <a:pt x="2463660" y="1764525"/>
                </a:lnTo>
                <a:lnTo>
                  <a:pt x="2429141" y="1739722"/>
                </a:lnTo>
                <a:lnTo>
                  <a:pt x="2390610" y="1721129"/>
                </a:lnTo>
                <a:lnTo>
                  <a:pt x="2348776" y="1709458"/>
                </a:lnTo>
                <a:lnTo>
                  <a:pt x="2304313" y="1705406"/>
                </a:lnTo>
                <a:lnTo>
                  <a:pt x="2259863" y="1709458"/>
                </a:lnTo>
                <a:lnTo>
                  <a:pt x="2218017" y="1721129"/>
                </a:lnTo>
                <a:lnTo>
                  <a:pt x="2179485" y="1739722"/>
                </a:lnTo>
                <a:lnTo>
                  <a:pt x="2144966" y="1764525"/>
                </a:lnTo>
                <a:lnTo>
                  <a:pt x="2115159" y="1794814"/>
                </a:lnTo>
                <a:lnTo>
                  <a:pt x="2090762" y="1829892"/>
                </a:lnTo>
                <a:lnTo>
                  <a:pt x="2072474" y="1869046"/>
                </a:lnTo>
                <a:lnTo>
                  <a:pt x="2060981" y="1911578"/>
                </a:lnTo>
                <a:lnTo>
                  <a:pt x="2056993" y="1956752"/>
                </a:lnTo>
                <a:lnTo>
                  <a:pt x="2060981" y="2001926"/>
                </a:lnTo>
                <a:lnTo>
                  <a:pt x="2072474" y="2044458"/>
                </a:lnTo>
                <a:lnTo>
                  <a:pt x="2090762" y="2083612"/>
                </a:lnTo>
                <a:lnTo>
                  <a:pt x="2115159" y="2118690"/>
                </a:lnTo>
                <a:lnTo>
                  <a:pt x="2144966" y="2148979"/>
                </a:lnTo>
                <a:lnTo>
                  <a:pt x="2179485" y="2173782"/>
                </a:lnTo>
                <a:lnTo>
                  <a:pt x="2218017" y="2192375"/>
                </a:lnTo>
                <a:lnTo>
                  <a:pt x="2259863" y="2204047"/>
                </a:lnTo>
                <a:lnTo>
                  <a:pt x="2304313" y="2208098"/>
                </a:lnTo>
                <a:lnTo>
                  <a:pt x="2348776" y="2204047"/>
                </a:lnTo>
                <a:lnTo>
                  <a:pt x="2390610" y="2192375"/>
                </a:lnTo>
                <a:lnTo>
                  <a:pt x="2429141" y="2173782"/>
                </a:lnTo>
                <a:lnTo>
                  <a:pt x="2463660" y="2148979"/>
                </a:lnTo>
                <a:lnTo>
                  <a:pt x="2493467" y="2118690"/>
                </a:lnTo>
                <a:lnTo>
                  <a:pt x="2517864" y="2083612"/>
                </a:lnTo>
                <a:lnTo>
                  <a:pt x="2536164" y="2044458"/>
                </a:lnTo>
                <a:lnTo>
                  <a:pt x="2547645" y="2001926"/>
                </a:lnTo>
                <a:lnTo>
                  <a:pt x="2551633" y="1956752"/>
                </a:lnTo>
                <a:close/>
              </a:path>
              <a:path w="3693795" h="4721860">
                <a:moveTo>
                  <a:pt x="2845346" y="10020"/>
                </a:moveTo>
                <a:lnTo>
                  <a:pt x="1323581" y="10020"/>
                </a:lnTo>
                <a:lnTo>
                  <a:pt x="1314577" y="48120"/>
                </a:lnTo>
                <a:lnTo>
                  <a:pt x="1324521" y="98920"/>
                </a:lnTo>
                <a:lnTo>
                  <a:pt x="1351661" y="137020"/>
                </a:lnTo>
                <a:lnTo>
                  <a:pt x="1391920" y="162420"/>
                </a:lnTo>
                <a:lnTo>
                  <a:pt x="1441234" y="175120"/>
                </a:lnTo>
                <a:lnTo>
                  <a:pt x="2424163" y="175120"/>
                </a:lnTo>
                <a:lnTo>
                  <a:pt x="2406192" y="225920"/>
                </a:lnTo>
                <a:lnTo>
                  <a:pt x="2386253" y="264020"/>
                </a:lnTo>
                <a:lnTo>
                  <a:pt x="2364435" y="314820"/>
                </a:lnTo>
                <a:lnTo>
                  <a:pt x="2340800" y="365620"/>
                </a:lnTo>
                <a:lnTo>
                  <a:pt x="2315400" y="403720"/>
                </a:lnTo>
                <a:lnTo>
                  <a:pt x="2288298" y="454520"/>
                </a:lnTo>
                <a:lnTo>
                  <a:pt x="2259584" y="492620"/>
                </a:lnTo>
                <a:lnTo>
                  <a:pt x="1496834" y="492620"/>
                </a:lnTo>
                <a:lnTo>
                  <a:pt x="1447520" y="505320"/>
                </a:lnTo>
                <a:lnTo>
                  <a:pt x="1407261" y="530720"/>
                </a:lnTo>
                <a:lnTo>
                  <a:pt x="1380121" y="581520"/>
                </a:lnTo>
                <a:lnTo>
                  <a:pt x="1370177" y="619620"/>
                </a:lnTo>
                <a:lnTo>
                  <a:pt x="1380121" y="670420"/>
                </a:lnTo>
                <a:lnTo>
                  <a:pt x="1407261" y="721220"/>
                </a:lnTo>
                <a:lnTo>
                  <a:pt x="1447520" y="746620"/>
                </a:lnTo>
                <a:lnTo>
                  <a:pt x="2074989" y="746620"/>
                </a:lnTo>
                <a:lnTo>
                  <a:pt x="2044115" y="784720"/>
                </a:lnTo>
                <a:lnTo>
                  <a:pt x="2012492" y="822820"/>
                </a:lnTo>
                <a:lnTo>
                  <a:pt x="1980171" y="860920"/>
                </a:lnTo>
                <a:lnTo>
                  <a:pt x="1947189" y="899020"/>
                </a:lnTo>
                <a:lnTo>
                  <a:pt x="1913585" y="937120"/>
                </a:lnTo>
                <a:lnTo>
                  <a:pt x="1879396" y="975220"/>
                </a:lnTo>
                <a:lnTo>
                  <a:pt x="1844662" y="1013320"/>
                </a:lnTo>
                <a:lnTo>
                  <a:pt x="1809432" y="1051420"/>
                </a:lnTo>
                <a:lnTo>
                  <a:pt x="1773732" y="1089520"/>
                </a:lnTo>
                <a:lnTo>
                  <a:pt x="1737614" y="1127620"/>
                </a:lnTo>
                <a:lnTo>
                  <a:pt x="1701114" y="1165720"/>
                </a:lnTo>
                <a:lnTo>
                  <a:pt x="1627111" y="1241920"/>
                </a:lnTo>
                <a:lnTo>
                  <a:pt x="1589697" y="1267320"/>
                </a:lnTo>
                <a:lnTo>
                  <a:pt x="1400073" y="1457820"/>
                </a:lnTo>
                <a:lnTo>
                  <a:pt x="1361909" y="1483220"/>
                </a:lnTo>
                <a:lnTo>
                  <a:pt x="1247686" y="1597520"/>
                </a:lnTo>
                <a:lnTo>
                  <a:pt x="1128903" y="1699120"/>
                </a:lnTo>
                <a:lnTo>
                  <a:pt x="1085837" y="1749920"/>
                </a:lnTo>
                <a:lnTo>
                  <a:pt x="958227" y="1864220"/>
                </a:lnTo>
                <a:lnTo>
                  <a:pt x="874915" y="1940420"/>
                </a:lnTo>
                <a:lnTo>
                  <a:pt x="833920" y="1978520"/>
                </a:lnTo>
                <a:lnTo>
                  <a:pt x="793445" y="2016620"/>
                </a:lnTo>
                <a:lnTo>
                  <a:pt x="753503" y="2054720"/>
                </a:lnTo>
                <a:lnTo>
                  <a:pt x="714159" y="2092820"/>
                </a:lnTo>
                <a:lnTo>
                  <a:pt x="675462" y="2130920"/>
                </a:lnTo>
                <a:lnTo>
                  <a:pt x="637451" y="2169020"/>
                </a:lnTo>
                <a:lnTo>
                  <a:pt x="600176" y="2207120"/>
                </a:lnTo>
                <a:lnTo>
                  <a:pt x="563664" y="2245220"/>
                </a:lnTo>
                <a:lnTo>
                  <a:pt x="527977" y="2283320"/>
                </a:lnTo>
                <a:lnTo>
                  <a:pt x="493166" y="2321420"/>
                </a:lnTo>
                <a:lnTo>
                  <a:pt x="459270" y="2359520"/>
                </a:lnTo>
                <a:lnTo>
                  <a:pt x="426326" y="2397620"/>
                </a:lnTo>
                <a:lnTo>
                  <a:pt x="394373" y="2435720"/>
                </a:lnTo>
                <a:lnTo>
                  <a:pt x="363486" y="2473820"/>
                </a:lnTo>
                <a:lnTo>
                  <a:pt x="333692" y="2511920"/>
                </a:lnTo>
                <a:lnTo>
                  <a:pt x="305028" y="2550020"/>
                </a:lnTo>
                <a:lnTo>
                  <a:pt x="277558" y="2588120"/>
                </a:lnTo>
                <a:lnTo>
                  <a:pt x="251320" y="2626220"/>
                </a:lnTo>
                <a:lnTo>
                  <a:pt x="226352" y="2664320"/>
                </a:lnTo>
                <a:lnTo>
                  <a:pt x="202704" y="2702420"/>
                </a:lnTo>
                <a:lnTo>
                  <a:pt x="180428" y="2740520"/>
                </a:lnTo>
                <a:lnTo>
                  <a:pt x="159562" y="2778620"/>
                </a:lnTo>
                <a:lnTo>
                  <a:pt x="140144" y="2816720"/>
                </a:lnTo>
                <a:lnTo>
                  <a:pt x="122237" y="2854820"/>
                </a:lnTo>
                <a:lnTo>
                  <a:pt x="105879" y="2892920"/>
                </a:lnTo>
                <a:lnTo>
                  <a:pt x="91122" y="2931020"/>
                </a:lnTo>
                <a:lnTo>
                  <a:pt x="77990" y="2956420"/>
                </a:lnTo>
                <a:lnTo>
                  <a:pt x="56781" y="3032620"/>
                </a:lnTo>
                <a:lnTo>
                  <a:pt x="39179" y="3096120"/>
                </a:lnTo>
                <a:lnTo>
                  <a:pt x="25031" y="3159620"/>
                </a:lnTo>
                <a:lnTo>
                  <a:pt x="14198" y="3235820"/>
                </a:lnTo>
                <a:lnTo>
                  <a:pt x="6502" y="3299320"/>
                </a:lnTo>
                <a:lnTo>
                  <a:pt x="1828" y="3362820"/>
                </a:lnTo>
                <a:lnTo>
                  <a:pt x="0" y="3426320"/>
                </a:lnTo>
                <a:lnTo>
                  <a:pt x="863" y="3489820"/>
                </a:lnTo>
                <a:lnTo>
                  <a:pt x="4305" y="3540620"/>
                </a:lnTo>
                <a:lnTo>
                  <a:pt x="10134" y="3604120"/>
                </a:lnTo>
                <a:lnTo>
                  <a:pt x="18224" y="3667620"/>
                </a:lnTo>
                <a:lnTo>
                  <a:pt x="28422" y="3718420"/>
                </a:lnTo>
                <a:lnTo>
                  <a:pt x="40576" y="3781920"/>
                </a:lnTo>
                <a:lnTo>
                  <a:pt x="54521" y="3832720"/>
                </a:lnTo>
                <a:lnTo>
                  <a:pt x="70142" y="3883520"/>
                </a:lnTo>
                <a:lnTo>
                  <a:pt x="87249" y="3934320"/>
                </a:lnTo>
                <a:lnTo>
                  <a:pt x="105727" y="3985120"/>
                </a:lnTo>
                <a:lnTo>
                  <a:pt x="125399" y="4035920"/>
                </a:lnTo>
                <a:lnTo>
                  <a:pt x="146138" y="4086720"/>
                </a:lnTo>
                <a:lnTo>
                  <a:pt x="167767" y="4124820"/>
                </a:lnTo>
                <a:lnTo>
                  <a:pt x="190169" y="4175620"/>
                </a:lnTo>
                <a:lnTo>
                  <a:pt x="213169" y="4213720"/>
                </a:lnTo>
                <a:lnTo>
                  <a:pt x="236613" y="4251820"/>
                </a:lnTo>
                <a:lnTo>
                  <a:pt x="260375" y="4302620"/>
                </a:lnTo>
                <a:lnTo>
                  <a:pt x="284302" y="4340720"/>
                </a:lnTo>
                <a:lnTo>
                  <a:pt x="308216" y="4366120"/>
                </a:lnTo>
                <a:lnTo>
                  <a:pt x="332003" y="4404220"/>
                </a:lnTo>
                <a:lnTo>
                  <a:pt x="355485" y="4442320"/>
                </a:lnTo>
                <a:lnTo>
                  <a:pt x="378536" y="4467720"/>
                </a:lnTo>
                <a:lnTo>
                  <a:pt x="400977" y="4493120"/>
                </a:lnTo>
                <a:lnTo>
                  <a:pt x="422681" y="4518520"/>
                </a:lnTo>
                <a:lnTo>
                  <a:pt x="443496" y="4543920"/>
                </a:lnTo>
                <a:lnTo>
                  <a:pt x="463270" y="4569320"/>
                </a:lnTo>
                <a:lnTo>
                  <a:pt x="481838" y="4594720"/>
                </a:lnTo>
                <a:lnTo>
                  <a:pt x="499071" y="4607420"/>
                </a:lnTo>
                <a:lnTo>
                  <a:pt x="514807" y="4632820"/>
                </a:lnTo>
                <a:lnTo>
                  <a:pt x="528904" y="4645520"/>
                </a:lnTo>
                <a:lnTo>
                  <a:pt x="541210" y="4658220"/>
                </a:lnTo>
                <a:lnTo>
                  <a:pt x="551573" y="4658220"/>
                </a:lnTo>
                <a:lnTo>
                  <a:pt x="559841" y="4670920"/>
                </a:lnTo>
                <a:lnTo>
                  <a:pt x="565861" y="4683620"/>
                </a:lnTo>
                <a:lnTo>
                  <a:pt x="569493" y="4683620"/>
                </a:lnTo>
                <a:lnTo>
                  <a:pt x="597319" y="4696320"/>
                </a:lnTo>
                <a:lnTo>
                  <a:pt x="627621" y="4721720"/>
                </a:lnTo>
                <a:lnTo>
                  <a:pt x="729513" y="4721720"/>
                </a:lnTo>
                <a:lnTo>
                  <a:pt x="765454" y="4709020"/>
                </a:lnTo>
                <a:lnTo>
                  <a:pt x="828370" y="4670920"/>
                </a:lnTo>
                <a:lnTo>
                  <a:pt x="856284" y="4632820"/>
                </a:lnTo>
                <a:lnTo>
                  <a:pt x="872045" y="4582020"/>
                </a:lnTo>
                <a:lnTo>
                  <a:pt x="875779" y="4531220"/>
                </a:lnTo>
                <a:lnTo>
                  <a:pt x="867625" y="4493120"/>
                </a:lnTo>
                <a:lnTo>
                  <a:pt x="847686" y="4442320"/>
                </a:lnTo>
                <a:lnTo>
                  <a:pt x="816102" y="4404220"/>
                </a:lnTo>
                <a:lnTo>
                  <a:pt x="807847" y="4404220"/>
                </a:lnTo>
                <a:lnTo>
                  <a:pt x="791743" y="4378820"/>
                </a:lnTo>
                <a:lnTo>
                  <a:pt x="768921" y="4366120"/>
                </a:lnTo>
                <a:lnTo>
                  <a:pt x="740473" y="4328020"/>
                </a:lnTo>
                <a:lnTo>
                  <a:pt x="707555" y="4289920"/>
                </a:lnTo>
                <a:lnTo>
                  <a:pt x="671258" y="4251820"/>
                </a:lnTo>
                <a:lnTo>
                  <a:pt x="632701" y="4201020"/>
                </a:lnTo>
                <a:lnTo>
                  <a:pt x="553326" y="4074020"/>
                </a:lnTo>
                <a:lnTo>
                  <a:pt x="514731" y="3997820"/>
                </a:lnTo>
                <a:lnTo>
                  <a:pt x="1159827" y="3997820"/>
                </a:lnTo>
                <a:lnTo>
                  <a:pt x="1200086" y="3959720"/>
                </a:lnTo>
                <a:lnTo>
                  <a:pt x="1227226" y="3921620"/>
                </a:lnTo>
                <a:lnTo>
                  <a:pt x="1237170" y="3870820"/>
                </a:lnTo>
                <a:lnTo>
                  <a:pt x="1227226" y="3820020"/>
                </a:lnTo>
                <a:lnTo>
                  <a:pt x="1200086" y="3781920"/>
                </a:lnTo>
                <a:lnTo>
                  <a:pt x="1159827" y="3756520"/>
                </a:lnTo>
                <a:lnTo>
                  <a:pt x="1110513" y="3743820"/>
                </a:lnTo>
                <a:lnTo>
                  <a:pt x="413499" y="3743820"/>
                </a:lnTo>
                <a:lnTo>
                  <a:pt x="401281" y="3705720"/>
                </a:lnTo>
                <a:lnTo>
                  <a:pt x="390766" y="3654920"/>
                </a:lnTo>
                <a:lnTo>
                  <a:pt x="382104" y="3604120"/>
                </a:lnTo>
                <a:lnTo>
                  <a:pt x="375450" y="3553320"/>
                </a:lnTo>
                <a:lnTo>
                  <a:pt x="370941" y="3502520"/>
                </a:lnTo>
                <a:lnTo>
                  <a:pt x="368731" y="3451720"/>
                </a:lnTo>
                <a:lnTo>
                  <a:pt x="1493862" y="3451720"/>
                </a:lnTo>
                <a:lnTo>
                  <a:pt x="1543177" y="3439020"/>
                </a:lnTo>
                <a:lnTo>
                  <a:pt x="1583436" y="3413620"/>
                </a:lnTo>
                <a:lnTo>
                  <a:pt x="1610575" y="3375520"/>
                </a:lnTo>
                <a:lnTo>
                  <a:pt x="1620520" y="3324720"/>
                </a:lnTo>
                <a:lnTo>
                  <a:pt x="1610575" y="3273920"/>
                </a:lnTo>
                <a:lnTo>
                  <a:pt x="1583436" y="3235820"/>
                </a:lnTo>
                <a:lnTo>
                  <a:pt x="1543177" y="3210420"/>
                </a:lnTo>
                <a:lnTo>
                  <a:pt x="1493862" y="3197720"/>
                </a:lnTo>
                <a:lnTo>
                  <a:pt x="393382" y="3197720"/>
                </a:lnTo>
                <a:lnTo>
                  <a:pt x="400278" y="3172320"/>
                </a:lnTo>
                <a:lnTo>
                  <a:pt x="408038" y="3134220"/>
                </a:lnTo>
                <a:lnTo>
                  <a:pt x="416763" y="3108820"/>
                </a:lnTo>
                <a:lnTo>
                  <a:pt x="426529" y="3083420"/>
                </a:lnTo>
                <a:lnTo>
                  <a:pt x="441350" y="3032620"/>
                </a:lnTo>
                <a:lnTo>
                  <a:pt x="459257" y="2994520"/>
                </a:lnTo>
                <a:lnTo>
                  <a:pt x="480085" y="2956420"/>
                </a:lnTo>
                <a:lnTo>
                  <a:pt x="503656" y="2918320"/>
                </a:lnTo>
                <a:lnTo>
                  <a:pt x="529818" y="2867520"/>
                </a:lnTo>
                <a:lnTo>
                  <a:pt x="1442580" y="2867520"/>
                </a:lnTo>
                <a:lnTo>
                  <a:pt x="1482839" y="2829420"/>
                </a:lnTo>
                <a:lnTo>
                  <a:pt x="1509979" y="2791320"/>
                </a:lnTo>
                <a:lnTo>
                  <a:pt x="1519923" y="2740520"/>
                </a:lnTo>
                <a:lnTo>
                  <a:pt x="1509979" y="2702420"/>
                </a:lnTo>
                <a:lnTo>
                  <a:pt x="1482839" y="2651620"/>
                </a:lnTo>
                <a:lnTo>
                  <a:pt x="1442580" y="2626220"/>
                </a:lnTo>
                <a:lnTo>
                  <a:pt x="1393266" y="2613520"/>
                </a:lnTo>
                <a:lnTo>
                  <a:pt x="723988" y="2613520"/>
                </a:lnTo>
                <a:lnTo>
                  <a:pt x="754214" y="2588120"/>
                </a:lnTo>
                <a:lnTo>
                  <a:pt x="785418" y="2550020"/>
                </a:lnTo>
                <a:lnTo>
                  <a:pt x="817549" y="2511920"/>
                </a:lnTo>
                <a:lnTo>
                  <a:pt x="850595" y="2486520"/>
                </a:lnTo>
                <a:lnTo>
                  <a:pt x="884466" y="2448420"/>
                </a:lnTo>
                <a:lnTo>
                  <a:pt x="919149" y="2410320"/>
                </a:lnTo>
                <a:lnTo>
                  <a:pt x="954570" y="2372220"/>
                </a:lnTo>
                <a:lnTo>
                  <a:pt x="990701" y="2334120"/>
                </a:lnTo>
                <a:lnTo>
                  <a:pt x="1027493" y="2308720"/>
                </a:lnTo>
                <a:lnTo>
                  <a:pt x="1064895" y="2270620"/>
                </a:lnTo>
                <a:lnTo>
                  <a:pt x="1102842" y="2232520"/>
                </a:lnTo>
                <a:lnTo>
                  <a:pt x="1141323" y="2194420"/>
                </a:lnTo>
                <a:lnTo>
                  <a:pt x="1180261" y="2156320"/>
                </a:lnTo>
                <a:lnTo>
                  <a:pt x="1259370" y="2080120"/>
                </a:lnTo>
                <a:lnTo>
                  <a:pt x="1339773" y="2003920"/>
                </a:lnTo>
                <a:lnTo>
                  <a:pt x="1380350" y="1978520"/>
                </a:lnTo>
                <a:lnTo>
                  <a:pt x="1460766" y="1902320"/>
                </a:lnTo>
                <a:lnTo>
                  <a:pt x="1737309" y="1635620"/>
                </a:lnTo>
                <a:lnTo>
                  <a:pt x="1776310" y="1597520"/>
                </a:lnTo>
                <a:lnTo>
                  <a:pt x="1815109" y="1572120"/>
                </a:lnTo>
                <a:lnTo>
                  <a:pt x="1891931" y="1495920"/>
                </a:lnTo>
                <a:lnTo>
                  <a:pt x="1967534" y="1419720"/>
                </a:lnTo>
                <a:lnTo>
                  <a:pt x="2004809" y="1381620"/>
                </a:lnTo>
                <a:lnTo>
                  <a:pt x="2041690" y="1343520"/>
                </a:lnTo>
                <a:lnTo>
                  <a:pt x="2078139" y="1305420"/>
                </a:lnTo>
                <a:lnTo>
                  <a:pt x="2114143" y="1267320"/>
                </a:lnTo>
                <a:lnTo>
                  <a:pt x="2149665" y="1229220"/>
                </a:lnTo>
                <a:lnTo>
                  <a:pt x="2184679" y="1191120"/>
                </a:lnTo>
                <a:lnTo>
                  <a:pt x="2219147" y="1153020"/>
                </a:lnTo>
                <a:lnTo>
                  <a:pt x="2253030" y="1114920"/>
                </a:lnTo>
                <a:lnTo>
                  <a:pt x="2286330" y="1076820"/>
                </a:lnTo>
                <a:lnTo>
                  <a:pt x="2318982" y="1038720"/>
                </a:lnTo>
                <a:lnTo>
                  <a:pt x="2350986" y="1000620"/>
                </a:lnTo>
                <a:lnTo>
                  <a:pt x="2382291" y="962520"/>
                </a:lnTo>
                <a:lnTo>
                  <a:pt x="2412873" y="924420"/>
                </a:lnTo>
                <a:lnTo>
                  <a:pt x="2442705" y="886320"/>
                </a:lnTo>
                <a:lnTo>
                  <a:pt x="2471763" y="848220"/>
                </a:lnTo>
                <a:lnTo>
                  <a:pt x="2499995" y="797420"/>
                </a:lnTo>
                <a:lnTo>
                  <a:pt x="2527401" y="759320"/>
                </a:lnTo>
                <a:lnTo>
                  <a:pt x="2553932" y="721220"/>
                </a:lnTo>
                <a:lnTo>
                  <a:pt x="2579560" y="683120"/>
                </a:lnTo>
                <a:lnTo>
                  <a:pt x="2604262" y="645020"/>
                </a:lnTo>
                <a:lnTo>
                  <a:pt x="2627998" y="606920"/>
                </a:lnTo>
                <a:lnTo>
                  <a:pt x="2650744" y="568820"/>
                </a:lnTo>
                <a:lnTo>
                  <a:pt x="2672473" y="518020"/>
                </a:lnTo>
                <a:lnTo>
                  <a:pt x="2693162" y="479920"/>
                </a:lnTo>
                <a:lnTo>
                  <a:pt x="2712758" y="441820"/>
                </a:lnTo>
                <a:lnTo>
                  <a:pt x="2731249" y="403720"/>
                </a:lnTo>
                <a:lnTo>
                  <a:pt x="2748610" y="365620"/>
                </a:lnTo>
                <a:lnTo>
                  <a:pt x="2764790" y="314820"/>
                </a:lnTo>
                <a:lnTo>
                  <a:pt x="2779776" y="276720"/>
                </a:lnTo>
                <a:lnTo>
                  <a:pt x="2793530" y="238620"/>
                </a:lnTo>
                <a:lnTo>
                  <a:pt x="2806039" y="187820"/>
                </a:lnTo>
                <a:lnTo>
                  <a:pt x="2817241" y="149720"/>
                </a:lnTo>
                <a:lnTo>
                  <a:pt x="2827134" y="111620"/>
                </a:lnTo>
                <a:lnTo>
                  <a:pt x="2835681" y="73520"/>
                </a:lnTo>
                <a:lnTo>
                  <a:pt x="2842857" y="22720"/>
                </a:lnTo>
                <a:lnTo>
                  <a:pt x="2845346" y="10020"/>
                </a:lnTo>
                <a:close/>
              </a:path>
              <a:path w="3693795" h="4721860">
                <a:moveTo>
                  <a:pt x="3506774" y="1344333"/>
                </a:moveTo>
                <a:lnTo>
                  <a:pt x="3503396" y="1297622"/>
                </a:lnTo>
                <a:lnTo>
                  <a:pt x="3493605" y="1253045"/>
                </a:lnTo>
                <a:lnTo>
                  <a:pt x="3477857" y="1211084"/>
                </a:lnTo>
                <a:lnTo>
                  <a:pt x="3456660" y="1172222"/>
                </a:lnTo>
                <a:lnTo>
                  <a:pt x="3430473" y="1136954"/>
                </a:lnTo>
                <a:lnTo>
                  <a:pt x="3399790" y="1105776"/>
                </a:lnTo>
                <a:lnTo>
                  <a:pt x="3365093" y="1079169"/>
                </a:lnTo>
                <a:lnTo>
                  <a:pt x="3326854" y="1057630"/>
                </a:lnTo>
                <a:lnTo>
                  <a:pt x="3285566" y="1041628"/>
                </a:lnTo>
                <a:lnTo>
                  <a:pt x="3241700" y="1031671"/>
                </a:lnTo>
                <a:lnTo>
                  <a:pt x="3195739" y="1028242"/>
                </a:lnTo>
                <a:lnTo>
                  <a:pt x="3149777" y="1031671"/>
                </a:lnTo>
                <a:lnTo>
                  <a:pt x="3105899" y="1041628"/>
                </a:lnTo>
                <a:lnTo>
                  <a:pt x="3064611" y="1057630"/>
                </a:lnTo>
                <a:lnTo>
                  <a:pt x="3026372" y="1079169"/>
                </a:lnTo>
                <a:lnTo>
                  <a:pt x="2991675" y="1105776"/>
                </a:lnTo>
                <a:lnTo>
                  <a:pt x="2960992" y="1136954"/>
                </a:lnTo>
                <a:lnTo>
                  <a:pt x="2934805" y="1172222"/>
                </a:lnTo>
                <a:lnTo>
                  <a:pt x="2913608" y="1211084"/>
                </a:lnTo>
                <a:lnTo>
                  <a:pt x="2897873" y="1253045"/>
                </a:lnTo>
                <a:lnTo>
                  <a:pt x="2888069" y="1297622"/>
                </a:lnTo>
                <a:lnTo>
                  <a:pt x="2884703" y="1344333"/>
                </a:lnTo>
                <a:lnTo>
                  <a:pt x="2888069" y="1391043"/>
                </a:lnTo>
                <a:lnTo>
                  <a:pt x="2897873" y="1435633"/>
                </a:lnTo>
                <a:lnTo>
                  <a:pt x="2913608" y="1477594"/>
                </a:lnTo>
                <a:lnTo>
                  <a:pt x="2934805" y="1516456"/>
                </a:lnTo>
                <a:lnTo>
                  <a:pt x="2960992" y="1551711"/>
                </a:lnTo>
                <a:lnTo>
                  <a:pt x="2991675" y="1582902"/>
                </a:lnTo>
                <a:lnTo>
                  <a:pt x="3026372" y="1609509"/>
                </a:lnTo>
                <a:lnTo>
                  <a:pt x="3064611" y="1631048"/>
                </a:lnTo>
                <a:lnTo>
                  <a:pt x="3105899" y="1647050"/>
                </a:lnTo>
                <a:lnTo>
                  <a:pt x="3149777" y="1657007"/>
                </a:lnTo>
                <a:lnTo>
                  <a:pt x="3195739" y="1660423"/>
                </a:lnTo>
                <a:lnTo>
                  <a:pt x="3241700" y="1657007"/>
                </a:lnTo>
                <a:lnTo>
                  <a:pt x="3285566" y="1647050"/>
                </a:lnTo>
                <a:lnTo>
                  <a:pt x="3326854" y="1631048"/>
                </a:lnTo>
                <a:lnTo>
                  <a:pt x="3365093" y="1609509"/>
                </a:lnTo>
                <a:lnTo>
                  <a:pt x="3399790" y="1582902"/>
                </a:lnTo>
                <a:lnTo>
                  <a:pt x="3430473" y="1551711"/>
                </a:lnTo>
                <a:lnTo>
                  <a:pt x="3456660" y="1516456"/>
                </a:lnTo>
                <a:lnTo>
                  <a:pt x="3477857" y="1477594"/>
                </a:lnTo>
                <a:lnTo>
                  <a:pt x="3493605" y="1435633"/>
                </a:lnTo>
                <a:lnTo>
                  <a:pt x="3503396" y="1391043"/>
                </a:lnTo>
                <a:lnTo>
                  <a:pt x="3506774" y="1344333"/>
                </a:lnTo>
                <a:close/>
              </a:path>
              <a:path w="3693795" h="4721860">
                <a:moveTo>
                  <a:pt x="3508527" y="2550566"/>
                </a:moveTo>
                <a:lnTo>
                  <a:pt x="3505873" y="2503855"/>
                </a:lnTo>
                <a:lnTo>
                  <a:pt x="3498113" y="2458732"/>
                </a:lnTo>
                <a:lnTo>
                  <a:pt x="3485540" y="2415476"/>
                </a:lnTo>
                <a:lnTo>
                  <a:pt x="3468459" y="2374417"/>
                </a:lnTo>
                <a:lnTo>
                  <a:pt x="3447161" y="2335834"/>
                </a:lnTo>
                <a:lnTo>
                  <a:pt x="3421938" y="2300046"/>
                </a:lnTo>
                <a:lnTo>
                  <a:pt x="3393084" y="2267331"/>
                </a:lnTo>
                <a:lnTo>
                  <a:pt x="3360890" y="2238006"/>
                </a:lnTo>
                <a:lnTo>
                  <a:pt x="3325672" y="2212378"/>
                </a:lnTo>
                <a:lnTo>
                  <a:pt x="3287712" y="2190724"/>
                </a:lnTo>
                <a:lnTo>
                  <a:pt x="3247301" y="2173363"/>
                </a:lnTo>
                <a:lnTo>
                  <a:pt x="3204756" y="2160587"/>
                </a:lnTo>
                <a:lnTo>
                  <a:pt x="3160344" y="2152713"/>
                </a:lnTo>
                <a:lnTo>
                  <a:pt x="3114383" y="2150008"/>
                </a:lnTo>
                <a:lnTo>
                  <a:pt x="3068409" y="2152713"/>
                </a:lnTo>
                <a:lnTo>
                  <a:pt x="3024009" y="2160587"/>
                </a:lnTo>
                <a:lnTo>
                  <a:pt x="2981452" y="2173363"/>
                </a:lnTo>
                <a:lnTo>
                  <a:pt x="2941040" y="2190724"/>
                </a:lnTo>
                <a:lnTo>
                  <a:pt x="2903080" y="2212378"/>
                </a:lnTo>
                <a:lnTo>
                  <a:pt x="2867863" y="2238006"/>
                </a:lnTo>
                <a:lnTo>
                  <a:pt x="2835681" y="2267331"/>
                </a:lnTo>
                <a:lnTo>
                  <a:pt x="2806827" y="2300046"/>
                </a:lnTo>
                <a:lnTo>
                  <a:pt x="2781604" y="2335834"/>
                </a:lnTo>
                <a:lnTo>
                  <a:pt x="2760294" y="2374417"/>
                </a:lnTo>
                <a:lnTo>
                  <a:pt x="2743212" y="2415476"/>
                </a:lnTo>
                <a:lnTo>
                  <a:pt x="2730639" y="2458732"/>
                </a:lnTo>
                <a:lnTo>
                  <a:pt x="2722880" y="2503855"/>
                </a:lnTo>
                <a:lnTo>
                  <a:pt x="2720238" y="2550566"/>
                </a:lnTo>
                <a:lnTo>
                  <a:pt x="2722880" y="2597289"/>
                </a:lnTo>
                <a:lnTo>
                  <a:pt x="2730639" y="2642412"/>
                </a:lnTo>
                <a:lnTo>
                  <a:pt x="2743212" y="2685669"/>
                </a:lnTo>
                <a:lnTo>
                  <a:pt x="2760294" y="2726728"/>
                </a:lnTo>
                <a:lnTo>
                  <a:pt x="2781604" y="2765310"/>
                </a:lnTo>
                <a:lnTo>
                  <a:pt x="2806827" y="2801099"/>
                </a:lnTo>
                <a:lnTo>
                  <a:pt x="2835681" y="2833814"/>
                </a:lnTo>
                <a:lnTo>
                  <a:pt x="2867863" y="2863126"/>
                </a:lnTo>
                <a:lnTo>
                  <a:pt x="2903080" y="2888767"/>
                </a:lnTo>
                <a:lnTo>
                  <a:pt x="2941040" y="2910421"/>
                </a:lnTo>
                <a:lnTo>
                  <a:pt x="2981452" y="2927781"/>
                </a:lnTo>
                <a:lnTo>
                  <a:pt x="3024009" y="2940545"/>
                </a:lnTo>
                <a:lnTo>
                  <a:pt x="3068409" y="2948432"/>
                </a:lnTo>
                <a:lnTo>
                  <a:pt x="3114383" y="2951124"/>
                </a:lnTo>
                <a:lnTo>
                  <a:pt x="3160344" y="2948432"/>
                </a:lnTo>
                <a:lnTo>
                  <a:pt x="3204756" y="2940545"/>
                </a:lnTo>
                <a:lnTo>
                  <a:pt x="3247301" y="2927781"/>
                </a:lnTo>
                <a:lnTo>
                  <a:pt x="3287712" y="2910421"/>
                </a:lnTo>
                <a:lnTo>
                  <a:pt x="3325672" y="2888767"/>
                </a:lnTo>
                <a:lnTo>
                  <a:pt x="3360890" y="2863126"/>
                </a:lnTo>
                <a:lnTo>
                  <a:pt x="3393084" y="2833814"/>
                </a:lnTo>
                <a:lnTo>
                  <a:pt x="3421938" y="2801099"/>
                </a:lnTo>
                <a:lnTo>
                  <a:pt x="3447161" y="2765310"/>
                </a:lnTo>
                <a:lnTo>
                  <a:pt x="3468459" y="2726728"/>
                </a:lnTo>
                <a:lnTo>
                  <a:pt x="3485540" y="2685669"/>
                </a:lnTo>
                <a:lnTo>
                  <a:pt x="3498113" y="2642412"/>
                </a:lnTo>
                <a:lnTo>
                  <a:pt x="3505873" y="2597289"/>
                </a:lnTo>
                <a:lnTo>
                  <a:pt x="3508527" y="2550566"/>
                </a:lnTo>
                <a:close/>
              </a:path>
              <a:path w="3693795" h="4721860">
                <a:moveTo>
                  <a:pt x="3693350" y="317944"/>
                </a:moveTo>
                <a:lnTo>
                  <a:pt x="3689007" y="268770"/>
                </a:lnTo>
                <a:lnTo>
                  <a:pt x="3676510" y="222491"/>
                </a:lnTo>
                <a:lnTo>
                  <a:pt x="3656596" y="179870"/>
                </a:lnTo>
                <a:lnTo>
                  <a:pt x="3630041" y="141693"/>
                </a:lnTo>
                <a:lnTo>
                  <a:pt x="3597592" y="108724"/>
                </a:lnTo>
                <a:lnTo>
                  <a:pt x="3560026" y="81737"/>
                </a:lnTo>
                <a:lnTo>
                  <a:pt x="3518090" y="61506"/>
                </a:lnTo>
                <a:lnTo>
                  <a:pt x="3472548" y="48793"/>
                </a:lnTo>
                <a:lnTo>
                  <a:pt x="3424161" y="44386"/>
                </a:lnTo>
                <a:lnTo>
                  <a:pt x="3375774" y="48793"/>
                </a:lnTo>
                <a:lnTo>
                  <a:pt x="3330232" y="61506"/>
                </a:lnTo>
                <a:lnTo>
                  <a:pt x="3288296" y="81737"/>
                </a:lnTo>
                <a:lnTo>
                  <a:pt x="3250730" y="108724"/>
                </a:lnTo>
                <a:lnTo>
                  <a:pt x="3218281" y="141693"/>
                </a:lnTo>
                <a:lnTo>
                  <a:pt x="3191726" y="179870"/>
                </a:lnTo>
                <a:lnTo>
                  <a:pt x="3171812" y="222491"/>
                </a:lnTo>
                <a:lnTo>
                  <a:pt x="3159315" y="268770"/>
                </a:lnTo>
                <a:lnTo>
                  <a:pt x="3154972" y="317944"/>
                </a:lnTo>
                <a:lnTo>
                  <a:pt x="3159315" y="367118"/>
                </a:lnTo>
                <a:lnTo>
                  <a:pt x="3171812" y="413397"/>
                </a:lnTo>
                <a:lnTo>
                  <a:pt x="3191726" y="456018"/>
                </a:lnTo>
                <a:lnTo>
                  <a:pt x="3218281" y="494207"/>
                </a:lnTo>
                <a:lnTo>
                  <a:pt x="3250730" y="527177"/>
                </a:lnTo>
                <a:lnTo>
                  <a:pt x="3288296" y="554164"/>
                </a:lnTo>
                <a:lnTo>
                  <a:pt x="3330232" y="574395"/>
                </a:lnTo>
                <a:lnTo>
                  <a:pt x="3375774" y="587108"/>
                </a:lnTo>
                <a:lnTo>
                  <a:pt x="3424161" y="591515"/>
                </a:lnTo>
                <a:lnTo>
                  <a:pt x="3472548" y="587108"/>
                </a:lnTo>
                <a:lnTo>
                  <a:pt x="3518090" y="574395"/>
                </a:lnTo>
                <a:lnTo>
                  <a:pt x="3560026" y="554164"/>
                </a:lnTo>
                <a:lnTo>
                  <a:pt x="3597592" y="527177"/>
                </a:lnTo>
                <a:lnTo>
                  <a:pt x="3630041" y="494207"/>
                </a:lnTo>
                <a:lnTo>
                  <a:pt x="3656596" y="456018"/>
                </a:lnTo>
                <a:lnTo>
                  <a:pt x="3676510" y="413397"/>
                </a:lnTo>
                <a:lnTo>
                  <a:pt x="3689007" y="367118"/>
                </a:lnTo>
                <a:lnTo>
                  <a:pt x="3693350" y="317944"/>
                </a:lnTo>
                <a:close/>
              </a:path>
            </a:pathLst>
          </a:custGeom>
          <a:solidFill>
            <a:srgbClr val="0E5C77">
              <a:alpha val="19999"/>
            </a:srgbClr>
          </a:solidFill>
        </p:spPr>
        <p:txBody>
          <a:bodyPr wrap="square" lIns="0" tIns="0" rIns="0" bIns="0" rtlCol="0"/>
          <a:lstStyle/>
          <a:p>
            <a:endParaRPr dirty="0"/>
          </a:p>
        </p:txBody>
      </p:sp>
      <p:sp>
        <p:nvSpPr>
          <p:cNvPr id="17" name="object 10">
            <a:extLst>
              <a:ext uri="{FF2B5EF4-FFF2-40B4-BE49-F238E27FC236}">
                <a16:creationId xmlns:a16="http://schemas.microsoft.com/office/drawing/2014/main" id="{2691EC91-92A9-2DFD-4EDA-F8644AAFDF47}"/>
              </a:ext>
            </a:extLst>
          </p:cNvPr>
          <p:cNvSpPr/>
          <p:nvPr/>
        </p:nvSpPr>
        <p:spPr>
          <a:xfrm rot="10800000">
            <a:off x="7677415" y="6480079"/>
            <a:ext cx="765566" cy="796245"/>
          </a:xfrm>
          <a:custGeom>
            <a:avLst/>
            <a:gdLst/>
            <a:ahLst/>
            <a:cxnLst/>
            <a:rect l="l" t="t" r="r" b="b"/>
            <a:pathLst>
              <a:path w="788035" h="800735">
                <a:moveTo>
                  <a:pt x="393953" y="0"/>
                </a:moveTo>
                <a:lnTo>
                  <a:pt x="348010" y="2693"/>
                </a:lnTo>
                <a:lnTo>
                  <a:pt x="303623" y="10573"/>
                </a:lnTo>
                <a:lnTo>
                  <a:pt x="261088" y="23340"/>
                </a:lnTo>
                <a:lnTo>
                  <a:pt x="220702" y="40693"/>
                </a:lnTo>
                <a:lnTo>
                  <a:pt x="182759" y="62331"/>
                </a:lnTo>
                <a:lnTo>
                  <a:pt x="147555" y="87955"/>
                </a:lnTo>
                <a:lnTo>
                  <a:pt x="115385" y="117263"/>
                </a:lnTo>
                <a:lnTo>
                  <a:pt x="86546" y="149956"/>
                </a:lnTo>
                <a:lnTo>
                  <a:pt x="61333" y="185733"/>
                </a:lnTo>
                <a:lnTo>
                  <a:pt x="40041" y="224294"/>
                </a:lnTo>
                <a:lnTo>
                  <a:pt x="22966" y="265338"/>
                </a:lnTo>
                <a:lnTo>
                  <a:pt x="10404" y="308566"/>
                </a:lnTo>
                <a:lnTo>
                  <a:pt x="2650" y="353675"/>
                </a:lnTo>
                <a:lnTo>
                  <a:pt x="0" y="400367"/>
                </a:lnTo>
                <a:lnTo>
                  <a:pt x="2650" y="447056"/>
                </a:lnTo>
                <a:lnTo>
                  <a:pt x="10404" y="492164"/>
                </a:lnTo>
                <a:lnTo>
                  <a:pt x="22966" y="535389"/>
                </a:lnTo>
                <a:lnTo>
                  <a:pt x="40041" y="576432"/>
                </a:lnTo>
                <a:lnTo>
                  <a:pt x="61333" y="614991"/>
                </a:lnTo>
                <a:lnTo>
                  <a:pt x="86546" y="650767"/>
                </a:lnTo>
                <a:lnTo>
                  <a:pt x="115385" y="683460"/>
                </a:lnTo>
                <a:lnTo>
                  <a:pt x="147555" y="712767"/>
                </a:lnTo>
                <a:lnTo>
                  <a:pt x="182759" y="738391"/>
                </a:lnTo>
                <a:lnTo>
                  <a:pt x="220702" y="760029"/>
                </a:lnTo>
                <a:lnTo>
                  <a:pt x="261088" y="777381"/>
                </a:lnTo>
                <a:lnTo>
                  <a:pt x="303623" y="790148"/>
                </a:lnTo>
                <a:lnTo>
                  <a:pt x="348010" y="798028"/>
                </a:lnTo>
                <a:lnTo>
                  <a:pt x="393953" y="800722"/>
                </a:lnTo>
                <a:lnTo>
                  <a:pt x="439897" y="798028"/>
                </a:lnTo>
                <a:lnTo>
                  <a:pt x="484284" y="790148"/>
                </a:lnTo>
                <a:lnTo>
                  <a:pt x="526819" y="777381"/>
                </a:lnTo>
                <a:lnTo>
                  <a:pt x="567205" y="760029"/>
                </a:lnTo>
                <a:lnTo>
                  <a:pt x="605148" y="738391"/>
                </a:lnTo>
                <a:lnTo>
                  <a:pt x="640352" y="712767"/>
                </a:lnTo>
                <a:lnTo>
                  <a:pt x="672522" y="683460"/>
                </a:lnTo>
                <a:lnTo>
                  <a:pt x="701361" y="650767"/>
                </a:lnTo>
                <a:lnTo>
                  <a:pt x="726574" y="614991"/>
                </a:lnTo>
                <a:lnTo>
                  <a:pt x="747866" y="576432"/>
                </a:lnTo>
                <a:lnTo>
                  <a:pt x="764941" y="535389"/>
                </a:lnTo>
                <a:lnTo>
                  <a:pt x="777503" y="492164"/>
                </a:lnTo>
                <a:lnTo>
                  <a:pt x="785257" y="447056"/>
                </a:lnTo>
                <a:lnTo>
                  <a:pt x="787907" y="400367"/>
                </a:lnTo>
                <a:lnTo>
                  <a:pt x="785257" y="353675"/>
                </a:lnTo>
                <a:lnTo>
                  <a:pt x="777503" y="308566"/>
                </a:lnTo>
                <a:lnTo>
                  <a:pt x="764941" y="265338"/>
                </a:lnTo>
                <a:lnTo>
                  <a:pt x="747866" y="224294"/>
                </a:lnTo>
                <a:lnTo>
                  <a:pt x="726574" y="185733"/>
                </a:lnTo>
                <a:lnTo>
                  <a:pt x="701361" y="149956"/>
                </a:lnTo>
                <a:lnTo>
                  <a:pt x="672522" y="117263"/>
                </a:lnTo>
                <a:lnTo>
                  <a:pt x="640352" y="87955"/>
                </a:lnTo>
                <a:lnTo>
                  <a:pt x="605148" y="62331"/>
                </a:lnTo>
                <a:lnTo>
                  <a:pt x="567205" y="40693"/>
                </a:lnTo>
                <a:lnTo>
                  <a:pt x="526819" y="23340"/>
                </a:lnTo>
                <a:lnTo>
                  <a:pt x="484284" y="10573"/>
                </a:lnTo>
                <a:lnTo>
                  <a:pt x="439897" y="2693"/>
                </a:lnTo>
                <a:lnTo>
                  <a:pt x="393953" y="0"/>
                </a:lnTo>
                <a:close/>
              </a:path>
            </a:pathLst>
          </a:custGeom>
          <a:solidFill>
            <a:srgbClr val="0E5C77">
              <a:alpha val="19999"/>
            </a:srgbClr>
          </a:solidFill>
        </p:spPr>
        <p:txBody>
          <a:bodyPr wrap="square" lIns="0" tIns="0" rIns="0" bIns="0" rtlCol="0"/>
          <a:lstStyle/>
          <a:p>
            <a:endParaRPr dirty="0"/>
          </a:p>
        </p:txBody>
      </p:sp>
      <p:sp>
        <p:nvSpPr>
          <p:cNvPr id="32" name="object 12">
            <a:extLst>
              <a:ext uri="{FF2B5EF4-FFF2-40B4-BE49-F238E27FC236}">
                <a16:creationId xmlns:a16="http://schemas.microsoft.com/office/drawing/2014/main" id="{4849155B-A9DE-EE8A-9AF8-81425A554348}"/>
              </a:ext>
            </a:extLst>
          </p:cNvPr>
          <p:cNvSpPr/>
          <p:nvPr/>
        </p:nvSpPr>
        <p:spPr>
          <a:xfrm rot="10800000">
            <a:off x="11530830" y="6395080"/>
            <a:ext cx="638498" cy="334033"/>
          </a:xfrm>
          <a:custGeom>
            <a:avLst/>
            <a:gdLst/>
            <a:ahLst/>
            <a:cxnLst/>
            <a:rect l="l" t="t" r="r" b="b"/>
            <a:pathLst>
              <a:path w="440055" h="253364">
                <a:moveTo>
                  <a:pt x="312827" y="0"/>
                </a:moveTo>
                <a:lnTo>
                  <a:pt x="0" y="0"/>
                </a:lnTo>
                <a:lnTo>
                  <a:pt x="0" y="253365"/>
                </a:lnTo>
                <a:lnTo>
                  <a:pt x="312827" y="253365"/>
                </a:lnTo>
                <a:lnTo>
                  <a:pt x="362132" y="243409"/>
                </a:lnTo>
                <a:lnTo>
                  <a:pt x="402400" y="216260"/>
                </a:lnTo>
                <a:lnTo>
                  <a:pt x="429552" y="175992"/>
                </a:lnTo>
                <a:lnTo>
                  <a:pt x="439510" y="126682"/>
                </a:lnTo>
                <a:lnTo>
                  <a:pt x="429552" y="77372"/>
                </a:lnTo>
                <a:lnTo>
                  <a:pt x="402400" y="37104"/>
                </a:lnTo>
                <a:lnTo>
                  <a:pt x="362132" y="9955"/>
                </a:lnTo>
                <a:lnTo>
                  <a:pt x="312827" y="0"/>
                </a:lnTo>
                <a:close/>
              </a:path>
            </a:pathLst>
          </a:custGeom>
          <a:solidFill>
            <a:srgbClr val="0E5C77">
              <a:alpha val="19999"/>
            </a:srgbClr>
          </a:solidFill>
        </p:spPr>
        <p:txBody>
          <a:bodyPr wrap="square" lIns="0" tIns="0" rIns="0" bIns="0" rtlCol="0"/>
          <a:lstStyle/>
          <a:p>
            <a:endParaRPr/>
          </a:p>
        </p:txBody>
      </p:sp>
      <p:sp>
        <p:nvSpPr>
          <p:cNvPr id="33" name="object 13">
            <a:extLst>
              <a:ext uri="{FF2B5EF4-FFF2-40B4-BE49-F238E27FC236}">
                <a16:creationId xmlns:a16="http://schemas.microsoft.com/office/drawing/2014/main" id="{A0C82D7B-43A0-E7DA-A947-D2D94D26026C}"/>
              </a:ext>
            </a:extLst>
          </p:cNvPr>
          <p:cNvSpPr/>
          <p:nvPr/>
        </p:nvSpPr>
        <p:spPr>
          <a:xfrm rot="10800000">
            <a:off x="11287374" y="7555196"/>
            <a:ext cx="371988" cy="386441"/>
          </a:xfrm>
          <a:custGeom>
            <a:avLst/>
            <a:gdLst/>
            <a:ahLst/>
            <a:cxnLst/>
            <a:rect l="l" t="t" r="r" b="b"/>
            <a:pathLst>
              <a:path w="382905" h="388619">
                <a:moveTo>
                  <a:pt x="191198" y="0"/>
                </a:moveTo>
                <a:lnTo>
                  <a:pt x="147361" y="5131"/>
                </a:lnTo>
                <a:lnTo>
                  <a:pt x="107117" y="19747"/>
                </a:lnTo>
                <a:lnTo>
                  <a:pt x="71617" y="42682"/>
                </a:lnTo>
                <a:lnTo>
                  <a:pt x="42006" y="72771"/>
                </a:lnTo>
                <a:lnTo>
                  <a:pt x="19435" y="108846"/>
                </a:lnTo>
                <a:lnTo>
                  <a:pt x="5050" y="149744"/>
                </a:lnTo>
                <a:lnTo>
                  <a:pt x="0" y="194297"/>
                </a:lnTo>
                <a:lnTo>
                  <a:pt x="5050" y="238850"/>
                </a:lnTo>
                <a:lnTo>
                  <a:pt x="19435" y="279750"/>
                </a:lnTo>
                <a:lnTo>
                  <a:pt x="42006" y="315828"/>
                </a:lnTo>
                <a:lnTo>
                  <a:pt x="71617" y="345919"/>
                </a:lnTo>
                <a:lnTo>
                  <a:pt x="107117" y="368857"/>
                </a:lnTo>
                <a:lnTo>
                  <a:pt x="147361" y="383475"/>
                </a:lnTo>
                <a:lnTo>
                  <a:pt x="191198" y="388607"/>
                </a:lnTo>
                <a:lnTo>
                  <a:pt x="235039" y="383475"/>
                </a:lnTo>
                <a:lnTo>
                  <a:pt x="275284" y="368857"/>
                </a:lnTo>
                <a:lnTo>
                  <a:pt x="310785" y="345919"/>
                </a:lnTo>
                <a:lnTo>
                  <a:pt x="340394" y="315828"/>
                </a:lnTo>
                <a:lnTo>
                  <a:pt x="362964" y="279750"/>
                </a:lnTo>
                <a:lnTo>
                  <a:pt x="377347" y="238850"/>
                </a:lnTo>
                <a:lnTo>
                  <a:pt x="382397" y="194297"/>
                </a:lnTo>
                <a:lnTo>
                  <a:pt x="377347" y="149744"/>
                </a:lnTo>
                <a:lnTo>
                  <a:pt x="362964" y="108846"/>
                </a:lnTo>
                <a:lnTo>
                  <a:pt x="340394" y="72771"/>
                </a:lnTo>
                <a:lnTo>
                  <a:pt x="310785" y="42682"/>
                </a:lnTo>
                <a:lnTo>
                  <a:pt x="275284" y="19747"/>
                </a:lnTo>
                <a:lnTo>
                  <a:pt x="235039" y="5131"/>
                </a:lnTo>
                <a:lnTo>
                  <a:pt x="191198" y="0"/>
                </a:lnTo>
                <a:close/>
              </a:path>
            </a:pathLst>
          </a:custGeom>
          <a:solidFill>
            <a:srgbClr val="0E5C77">
              <a:alpha val="19999"/>
            </a:srgbClr>
          </a:solidFill>
        </p:spPr>
        <p:txBody>
          <a:bodyPr wrap="square" lIns="0" tIns="0" rIns="0" bIns="0" rtlCol="0"/>
          <a:lstStyle/>
          <a:p>
            <a:endParaRPr/>
          </a:p>
        </p:txBody>
      </p:sp>
      <p:sp>
        <p:nvSpPr>
          <p:cNvPr id="34" name="object 14">
            <a:extLst>
              <a:ext uri="{FF2B5EF4-FFF2-40B4-BE49-F238E27FC236}">
                <a16:creationId xmlns:a16="http://schemas.microsoft.com/office/drawing/2014/main" id="{BA238379-38B4-1ED0-2EBC-33F28CE277AE}"/>
              </a:ext>
            </a:extLst>
          </p:cNvPr>
          <p:cNvSpPr/>
          <p:nvPr/>
        </p:nvSpPr>
        <p:spPr>
          <a:xfrm rot="10800000">
            <a:off x="11127502" y="7012374"/>
            <a:ext cx="313382" cy="325822"/>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sp>
        <p:nvSpPr>
          <p:cNvPr id="3" name="Text Placeholder 2">
            <a:extLst>
              <a:ext uri="{FF2B5EF4-FFF2-40B4-BE49-F238E27FC236}">
                <a16:creationId xmlns:a16="http://schemas.microsoft.com/office/drawing/2014/main" id="{5ADC4885-E653-9F9B-1C72-2AA34FCB44D8}"/>
              </a:ext>
            </a:extLst>
          </p:cNvPr>
          <p:cNvSpPr>
            <a:spLocks noGrp="1"/>
          </p:cNvSpPr>
          <p:nvPr userDrawn="1">
            <p:ph type="body" idx="1"/>
          </p:nvPr>
        </p:nvSpPr>
        <p:spPr>
          <a:xfrm>
            <a:off x="2042757" y="1766139"/>
            <a:ext cx="9282430" cy="3337640"/>
          </a:xfrm>
        </p:spPr>
        <p:txBody>
          <a:bodyPr>
            <a:normAutofit/>
          </a:bodyPr>
          <a:lstStyle>
            <a:lvl1pPr marL="0" indent="0" algn="r">
              <a:buNone/>
              <a:defRPr sz="2800">
                <a:solidFill>
                  <a:schemeClr val="bg1"/>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pic>
        <p:nvPicPr>
          <p:cNvPr id="19" name="Picture 18" descr="A picture containing text&#10;&#10;Description automatically generated">
            <a:extLst>
              <a:ext uri="{FF2B5EF4-FFF2-40B4-BE49-F238E27FC236}">
                <a16:creationId xmlns:a16="http://schemas.microsoft.com/office/drawing/2014/main" id="{912BFDD1-69DB-D848-4E1F-9342E314FF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58512" y="5755005"/>
            <a:ext cx="887325" cy="866809"/>
          </a:xfrm>
          <a:prstGeom prst="rect">
            <a:avLst/>
          </a:prstGeom>
        </p:spPr>
      </p:pic>
      <p:sp>
        <p:nvSpPr>
          <p:cNvPr id="30" name="Footer Placeholder 4">
            <a:extLst>
              <a:ext uri="{FF2B5EF4-FFF2-40B4-BE49-F238E27FC236}">
                <a16:creationId xmlns:a16="http://schemas.microsoft.com/office/drawing/2014/main" id="{02C401B5-B453-3BF0-01CE-3F0F63B03A02}"/>
              </a:ext>
            </a:extLst>
          </p:cNvPr>
          <p:cNvSpPr>
            <a:spLocks noGrp="1"/>
          </p:cNvSpPr>
          <p:nvPr userDrawn="1">
            <p:ph type="ftr" sz="quarter" idx="3"/>
          </p:nvPr>
        </p:nvSpPr>
        <p:spPr>
          <a:xfrm>
            <a:off x="746162" y="6114954"/>
            <a:ext cx="8909745" cy="365125"/>
          </a:xfrm>
          <a:prstGeom prst="rect">
            <a:avLst/>
          </a:prstGeom>
        </p:spPr>
        <p:txBody>
          <a:bodyPr/>
          <a:lstStyle>
            <a:lvl1pPr>
              <a:defRPr sz="1400">
                <a:solidFill>
                  <a:schemeClr val="bg1"/>
                </a:solidFill>
              </a:defRPr>
            </a:lvl1pPr>
          </a:lstStyle>
          <a:p>
            <a:endParaRPr lang="en-GB" dirty="0"/>
          </a:p>
        </p:txBody>
      </p:sp>
      <p:grpSp>
        <p:nvGrpSpPr>
          <p:cNvPr id="8" name="Group 7">
            <a:extLst>
              <a:ext uri="{FF2B5EF4-FFF2-40B4-BE49-F238E27FC236}">
                <a16:creationId xmlns:a16="http://schemas.microsoft.com/office/drawing/2014/main" id="{CE177F1D-8B04-881D-29E5-088E64B385E9}"/>
              </a:ext>
            </a:extLst>
          </p:cNvPr>
          <p:cNvGrpSpPr/>
          <p:nvPr userDrawn="1"/>
        </p:nvGrpSpPr>
        <p:grpSpPr>
          <a:xfrm>
            <a:off x="9597" y="0"/>
            <a:ext cx="4329657" cy="4281798"/>
            <a:chOff x="9597" y="0"/>
            <a:chExt cx="4329657" cy="4281798"/>
          </a:xfrm>
        </p:grpSpPr>
        <p:sp>
          <p:nvSpPr>
            <p:cNvPr id="9" name="object 9">
              <a:extLst>
                <a:ext uri="{FF2B5EF4-FFF2-40B4-BE49-F238E27FC236}">
                  <a16:creationId xmlns:a16="http://schemas.microsoft.com/office/drawing/2014/main" id="{D7A29DDB-840F-FC84-9103-E3E5B573BF40}"/>
                </a:ext>
              </a:extLst>
            </p:cNvPr>
            <p:cNvSpPr/>
            <p:nvPr/>
          </p:nvSpPr>
          <p:spPr>
            <a:xfrm>
              <a:off x="108938" y="11"/>
              <a:ext cx="3349537" cy="4281787"/>
            </a:xfrm>
            <a:custGeom>
              <a:avLst/>
              <a:gdLst/>
              <a:ahLst/>
              <a:cxnLst/>
              <a:rect l="l" t="t" r="r" b="b"/>
              <a:pathLst>
                <a:path w="3693795" h="4721860">
                  <a:moveTo>
                    <a:pt x="985329" y="60604"/>
                  </a:moveTo>
                  <a:lnTo>
                    <a:pt x="977315" y="10096"/>
                  </a:lnTo>
                  <a:lnTo>
                    <a:pt x="972172" y="0"/>
                  </a:lnTo>
                  <a:lnTo>
                    <a:pt x="684009" y="0"/>
                  </a:lnTo>
                  <a:lnTo>
                    <a:pt x="678865" y="10096"/>
                  </a:lnTo>
                  <a:lnTo>
                    <a:pt x="670852" y="60604"/>
                  </a:lnTo>
                  <a:lnTo>
                    <a:pt x="678865" y="111112"/>
                  </a:lnTo>
                  <a:lnTo>
                    <a:pt x="701192" y="154978"/>
                  </a:lnTo>
                  <a:lnTo>
                    <a:pt x="735228" y="189572"/>
                  </a:lnTo>
                  <a:lnTo>
                    <a:pt x="778395" y="212255"/>
                  </a:lnTo>
                  <a:lnTo>
                    <a:pt x="828090" y="220395"/>
                  </a:lnTo>
                  <a:lnTo>
                    <a:pt x="877785" y="212255"/>
                  </a:lnTo>
                  <a:lnTo>
                    <a:pt x="920953" y="189572"/>
                  </a:lnTo>
                  <a:lnTo>
                    <a:pt x="954989" y="154978"/>
                  </a:lnTo>
                  <a:lnTo>
                    <a:pt x="977315" y="111112"/>
                  </a:lnTo>
                  <a:lnTo>
                    <a:pt x="985329" y="60604"/>
                  </a:lnTo>
                  <a:close/>
                </a:path>
                <a:path w="3693795" h="4721860">
                  <a:moveTo>
                    <a:pt x="1194587" y="628446"/>
                  </a:moveTo>
                  <a:lnTo>
                    <a:pt x="1189532" y="583895"/>
                  </a:lnTo>
                  <a:lnTo>
                    <a:pt x="1175143" y="543001"/>
                  </a:lnTo>
                  <a:lnTo>
                    <a:pt x="1152575" y="506920"/>
                  </a:lnTo>
                  <a:lnTo>
                    <a:pt x="1122972" y="476821"/>
                  </a:lnTo>
                  <a:lnTo>
                    <a:pt x="1087462" y="453885"/>
                  </a:lnTo>
                  <a:lnTo>
                    <a:pt x="1047229" y="439267"/>
                  </a:lnTo>
                  <a:lnTo>
                    <a:pt x="1003388" y="434136"/>
                  </a:lnTo>
                  <a:lnTo>
                    <a:pt x="959548" y="439267"/>
                  </a:lnTo>
                  <a:lnTo>
                    <a:pt x="919302" y="453885"/>
                  </a:lnTo>
                  <a:lnTo>
                    <a:pt x="883805" y="476821"/>
                  </a:lnTo>
                  <a:lnTo>
                    <a:pt x="854189" y="506920"/>
                  </a:lnTo>
                  <a:lnTo>
                    <a:pt x="831621" y="543001"/>
                  </a:lnTo>
                  <a:lnTo>
                    <a:pt x="817232" y="583895"/>
                  </a:lnTo>
                  <a:lnTo>
                    <a:pt x="812190" y="628446"/>
                  </a:lnTo>
                  <a:lnTo>
                    <a:pt x="817232" y="672998"/>
                  </a:lnTo>
                  <a:lnTo>
                    <a:pt x="831621" y="713905"/>
                  </a:lnTo>
                  <a:lnTo>
                    <a:pt x="854189" y="749973"/>
                  </a:lnTo>
                  <a:lnTo>
                    <a:pt x="883805" y="780072"/>
                  </a:lnTo>
                  <a:lnTo>
                    <a:pt x="919302" y="803008"/>
                  </a:lnTo>
                  <a:lnTo>
                    <a:pt x="959548" y="817626"/>
                  </a:lnTo>
                  <a:lnTo>
                    <a:pt x="1003388" y="822756"/>
                  </a:lnTo>
                  <a:lnTo>
                    <a:pt x="1047229" y="817626"/>
                  </a:lnTo>
                  <a:lnTo>
                    <a:pt x="1087462" y="803008"/>
                  </a:lnTo>
                  <a:lnTo>
                    <a:pt x="1122972" y="780072"/>
                  </a:lnTo>
                  <a:lnTo>
                    <a:pt x="1152575" y="749973"/>
                  </a:lnTo>
                  <a:lnTo>
                    <a:pt x="1175143" y="713905"/>
                  </a:lnTo>
                  <a:lnTo>
                    <a:pt x="1189532" y="672998"/>
                  </a:lnTo>
                  <a:lnTo>
                    <a:pt x="1194587" y="628446"/>
                  </a:lnTo>
                  <a:close/>
                </a:path>
                <a:path w="3693795" h="4721860">
                  <a:moveTo>
                    <a:pt x="2110397" y="2736418"/>
                  </a:moveTo>
                  <a:lnTo>
                    <a:pt x="2105355" y="2691866"/>
                  </a:lnTo>
                  <a:lnTo>
                    <a:pt x="2090966" y="2650960"/>
                  </a:lnTo>
                  <a:lnTo>
                    <a:pt x="2068398" y="2614892"/>
                  </a:lnTo>
                  <a:lnTo>
                    <a:pt x="2038781" y="2584793"/>
                  </a:lnTo>
                  <a:lnTo>
                    <a:pt x="2003285" y="2561856"/>
                  </a:lnTo>
                  <a:lnTo>
                    <a:pt x="1963039" y="2547239"/>
                  </a:lnTo>
                  <a:lnTo>
                    <a:pt x="1919198" y="2542108"/>
                  </a:lnTo>
                  <a:lnTo>
                    <a:pt x="1875358" y="2547239"/>
                  </a:lnTo>
                  <a:lnTo>
                    <a:pt x="1835111" y="2561856"/>
                  </a:lnTo>
                  <a:lnTo>
                    <a:pt x="1799615" y="2584793"/>
                  </a:lnTo>
                  <a:lnTo>
                    <a:pt x="1770011" y="2614892"/>
                  </a:lnTo>
                  <a:lnTo>
                    <a:pt x="1747431" y="2650960"/>
                  </a:lnTo>
                  <a:lnTo>
                    <a:pt x="1733054" y="2691866"/>
                  </a:lnTo>
                  <a:lnTo>
                    <a:pt x="1728000" y="2736418"/>
                  </a:lnTo>
                  <a:lnTo>
                    <a:pt x="1733054" y="2780969"/>
                  </a:lnTo>
                  <a:lnTo>
                    <a:pt x="1747431" y="2821863"/>
                  </a:lnTo>
                  <a:lnTo>
                    <a:pt x="1770011" y="2857944"/>
                  </a:lnTo>
                  <a:lnTo>
                    <a:pt x="1799615" y="2888043"/>
                  </a:lnTo>
                  <a:lnTo>
                    <a:pt x="1835111" y="2910979"/>
                  </a:lnTo>
                  <a:lnTo>
                    <a:pt x="1875358" y="2925597"/>
                  </a:lnTo>
                  <a:lnTo>
                    <a:pt x="1919198" y="2930728"/>
                  </a:lnTo>
                  <a:lnTo>
                    <a:pt x="1963039" y="2925597"/>
                  </a:lnTo>
                  <a:lnTo>
                    <a:pt x="2003285" y="2910979"/>
                  </a:lnTo>
                  <a:lnTo>
                    <a:pt x="2038781" y="2888043"/>
                  </a:lnTo>
                  <a:lnTo>
                    <a:pt x="2068398" y="2857944"/>
                  </a:lnTo>
                  <a:lnTo>
                    <a:pt x="2090966" y="2821863"/>
                  </a:lnTo>
                  <a:lnTo>
                    <a:pt x="2105355" y="2780969"/>
                  </a:lnTo>
                  <a:lnTo>
                    <a:pt x="2110397" y="2736418"/>
                  </a:lnTo>
                  <a:close/>
                </a:path>
                <a:path w="3693795" h="4721860">
                  <a:moveTo>
                    <a:pt x="2315591" y="3313163"/>
                  </a:moveTo>
                  <a:lnTo>
                    <a:pt x="2310536" y="3268611"/>
                  </a:lnTo>
                  <a:lnTo>
                    <a:pt x="2296160" y="3227717"/>
                  </a:lnTo>
                  <a:lnTo>
                    <a:pt x="2273592" y="3191637"/>
                  </a:lnTo>
                  <a:lnTo>
                    <a:pt x="2243975" y="3161538"/>
                  </a:lnTo>
                  <a:lnTo>
                    <a:pt x="2208479" y="3138601"/>
                  </a:lnTo>
                  <a:lnTo>
                    <a:pt x="2168233" y="3123984"/>
                  </a:lnTo>
                  <a:lnTo>
                    <a:pt x="2124392" y="3118853"/>
                  </a:lnTo>
                  <a:lnTo>
                    <a:pt x="2080552" y="3123984"/>
                  </a:lnTo>
                  <a:lnTo>
                    <a:pt x="2040305" y="3138601"/>
                  </a:lnTo>
                  <a:lnTo>
                    <a:pt x="2004809" y="3161538"/>
                  </a:lnTo>
                  <a:lnTo>
                    <a:pt x="1975192" y="3191637"/>
                  </a:lnTo>
                  <a:lnTo>
                    <a:pt x="1952625" y="3227717"/>
                  </a:lnTo>
                  <a:lnTo>
                    <a:pt x="1938235" y="3268611"/>
                  </a:lnTo>
                  <a:lnTo>
                    <a:pt x="1933194" y="3313163"/>
                  </a:lnTo>
                  <a:lnTo>
                    <a:pt x="1938235" y="3357715"/>
                  </a:lnTo>
                  <a:lnTo>
                    <a:pt x="1952625" y="3398621"/>
                  </a:lnTo>
                  <a:lnTo>
                    <a:pt x="1975192" y="3434689"/>
                  </a:lnTo>
                  <a:lnTo>
                    <a:pt x="2004809" y="3464788"/>
                  </a:lnTo>
                  <a:lnTo>
                    <a:pt x="2040305" y="3487724"/>
                  </a:lnTo>
                  <a:lnTo>
                    <a:pt x="2080552" y="3502342"/>
                  </a:lnTo>
                  <a:lnTo>
                    <a:pt x="2124392" y="3507473"/>
                  </a:lnTo>
                  <a:lnTo>
                    <a:pt x="2168233" y="3502342"/>
                  </a:lnTo>
                  <a:lnTo>
                    <a:pt x="2208479" y="3487724"/>
                  </a:lnTo>
                  <a:lnTo>
                    <a:pt x="2243975" y="3464788"/>
                  </a:lnTo>
                  <a:lnTo>
                    <a:pt x="2273592" y="3434689"/>
                  </a:lnTo>
                  <a:lnTo>
                    <a:pt x="2296160" y="3398621"/>
                  </a:lnTo>
                  <a:lnTo>
                    <a:pt x="2310536" y="3357715"/>
                  </a:lnTo>
                  <a:lnTo>
                    <a:pt x="2315591" y="3313163"/>
                  </a:lnTo>
                  <a:close/>
                </a:path>
                <a:path w="3693795" h="4721860">
                  <a:moveTo>
                    <a:pt x="2551633" y="1956752"/>
                  </a:moveTo>
                  <a:lnTo>
                    <a:pt x="2547645" y="1911578"/>
                  </a:lnTo>
                  <a:lnTo>
                    <a:pt x="2536164" y="1869046"/>
                  </a:lnTo>
                  <a:lnTo>
                    <a:pt x="2517864" y="1829892"/>
                  </a:lnTo>
                  <a:lnTo>
                    <a:pt x="2493467" y="1794814"/>
                  </a:lnTo>
                  <a:lnTo>
                    <a:pt x="2463660" y="1764525"/>
                  </a:lnTo>
                  <a:lnTo>
                    <a:pt x="2429141" y="1739722"/>
                  </a:lnTo>
                  <a:lnTo>
                    <a:pt x="2390610" y="1721129"/>
                  </a:lnTo>
                  <a:lnTo>
                    <a:pt x="2348776" y="1709458"/>
                  </a:lnTo>
                  <a:lnTo>
                    <a:pt x="2304313" y="1705406"/>
                  </a:lnTo>
                  <a:lnTo>
                    <a:pt x="2259863" y="1709458"/>
                  </a:lnTo>
                  <a:lnTo>
                    <a:pt x="2218017" y="1721129"/>
                  </a:lnTo>
                  <a:lnTo>
                    <a:pt x="2179485" y="1739722"/>
                  </a:lnTo>
                  <a:lnTo>
                    <a:pt x="2144966" y="1764525"/>
                  </a:lnTo>
                  <a:lnTo>
                    <a:pt x="2115159" y="1794814"/>
                  </a:lnTo>
                  <a:lnTo>
                    <a:pt x="2090762" y="1829892"/>
                  </a:lnTo>
                  <a:lnTo>
                    <a:pt x="2072474" y="1869046"/>
                  </a:lnTo>
                  <a:lnTo>
                    <a:pt x="2060981" y="1911578"/>
                  </a:lnTo>
                  <a:lnTo>
                    <a:pt x="2056993" y="1956752"/>
                  </a:lnTo>
                  <a:lnTo>
                    <a:pt x="2060981" y="2001926"/>
                  </a:lnTo>
                  <a:lnTo>
                    <a:pt x="2072474" y="2044458"/>
                  </a:lnTo>
                  <a:lnTo>
                    <a:pt x="2090762" y="2083612"/>
                  </a:lnTo>
                  <a:lnTo>
                    <a:pt x="2115159" y="2118690"/>
                  </a:lnTo>
                  <a:lnTo>
                    <a:pt x="2144966" y="2148979"/>
                  </a:lnTo>
                  <a:lnTo>
                    <a:pt x="2179485" y="2173782"/>
                  </a:lnTo>
                  <a:lnTo>
                    <a:pt x="2218017" y="2192375"/>
                  </a:lnTo>
                  <a:lnTo>
                    <a:pt x="2259863" y="2204047"/>
                  </a:lnTo>
                  <a:lnTo>
                    <a:pt x="2304313" y="2208098"/>
                  </a:lnTo>
                  <a:lnTo>
                    <a:pt x="2348776" y="2204047"/>
                  </a:lnTo>
                  <a:lnTo>
                    <a:pt x="2390610" y="2192375"/>
                  </a:lnTo>
                  <a:lnTo>
                    <a:pt x="2429141" y="2173782"/>
                  </a:lnTo>
                  <a:lnTo>
                    <a:pt x="2463660" y="2148979"/>
                  </a:lnTo>
                  <a:lnTo>
                    <a:pt x="2493467" y="2118690"/>
                  </a:lnTo>
                  <a:lnTo>
                    <a:pt x="2517864" y="2083612"/>
                  </a:lnTo>
                  <a:lnTo>
                    <a:pt x="2536164" y="2044458"/>
                  </a:lnTo>
                  <a:lnTo>
                    <a:pt x="2547645" y="2001926"/>
                  </a:lnTo>
                  <a:lnTo>
                    <a:pt x="2551633" y="1956752"/>
                  </a:lnTo>
                  <a:close/>
                </a:path>
                <a:path w="3693795" h="4721860">
                  <a:moveTo>
                    <a:pt x="2845346" y="10020"/>
                  </a:moveTo>
                  <a:lnTo>
                    <a:pt x="1323581" y="10020"/>
                  </a:lnTo>
                  <a:lnTo>
                    <a:pt x="1314577" y="48120"/>
                  </a:lnTo>
                  <a:lnTo>
                    <a:pt x="1324521" y="98920"/>
                  </a:lnTo>
                  <a:lnTo>
                    <a:pt x="1351661" y="137020"/>
                  </a:lnTo>
                  <a:lnTo>
                    <a:pt x="1391920" y="162420"/>
                  </a:lnTo>
                  <a:lnTo>
                    <a:pt x="1441234" y="175120"/>
                  </a:lnTo>
                  <a:lnTo>
                    <a:pt x="2424163" y="175120"/>
                  </a:lnTo>
                  <a:lnTo>
                    <a:pt x="2406192" y="225920"/>
                  </a:lnTo>
                  <a:lnTo>
                    <a:pt x="2386253" y="264020"/>
                  </a:lnTo>
                  <a:lnTo>
                    <a:pt x="2364435" y="314820"/>
                  </a:lnTo>
                  <a:lnTo>
                    <a:pt x="2340800" y="365620"/>
                  </a:lnTo>
                  <a:lnTo>
                    <a:pt x="2315400" y="403720"/>
                  </a:lnTo>
                  <a:lnTo>
                    <a:pt x="2288298" y="454520"/>
                  </a:lnTo>
                  <a:lnTo>
                    <a:pt x="2259584" y="492620"/>
                  </a:lnTo>
                  <a:lnTo>
                    <a:pt x="1496834" y="492620"/>
                  </a:lnTo>
                  <a:lnTo>
                    <a:pt x="1447520" y="505320"/>
                  </a:lnTo>
                  <a:lnTo>
                    <a:pt x="1407261" y="530720"/>
                  </a:lnTo>
                  <a:lnTo>
                    <a:pt x="1380121" y="581520"/>
                  </a:lnTo>
                  <a:lnTo>
                    <a:pt x="1370177" y="619620"/>
                  </a:lnTo>
                  <a:lnTo>
                    <a:pt x="1380121" y="670420"/>
                  </a:lnTo>
                  <a:lnTo>
                    <a:pt x="1407261" y="721220"/>
                  </a:lnTo>
                  <a:lnTo>
                    <a:pt x="1447520" y="746620"/>
                  </a:lnTo>
                  <a:lnTo>
                    <a:pt x="2074989" y="746620"/>
                  </a:lnTo>
                  <a:lnTo>
                    <a:pt x="2044115" y="784720"/>
                  </a:lnTo>
                  <a:lnTo>
                    <a:pt x="2012492" y="822820"/>
                  </a:lnTo>
                  <a:lnTo>
                    <a:pt x="1980171" y="860920"/>
                  </a:lnTo>
                  <a:lnTo>
                    <a:pt x="1947189" y="899020"/>
                  </a:lnTo>
                  <a:lnTo>
                    <a:pt x="1913585" y="937120"/>
                  </a:lnTo>
                  <a:lnTo>
                    <a:pt x="1879396" y="975220"/>
                  </a:lnTo>
                  <a:lnTo>
                    <a:pt x="1844662" y="1013320"/>
                  </a:lnTo>
                  <a:lnTo>
                    <a:pt x="1809432" y="1051420"/>
                  </a:lnTo>
                  <a:lnTo>
                    <a:pt x="1773732" y="1089520"/>
                  </a:lnTo>
                  <a:lnTo>
                    <a:pt x="1737614" y="1127620"/>
                  </a:lnTo>
                  <a:lnTo>
                    <a:pt x="1701114" y="1165720"/>
                  </a:lnTo>
                  <a:lnTo>
                    <a:pt x="1627111" y="1241920"/>
                  </a:lnTo>
                  <a:lnTo>
                    <a:pt x="1589697" y="1267320"/>
                  </a:lnTo>
                  <a:lnTo>
                    <a:pt x="1400073" y="1457820"/>
                  </a:lnTo>
                  <a:lnTo>
                    <a:pt x="1361909" y="1483220"/>
                  </a:lnTo>
                  <a:lnTo>
                    <a:pt x="1247686" y="1597520"/>
                  </a:lnTo>
                  <a:lnTo>
                    <a:pt x="1128903" y="1699120"/>
                  </a:lnTo>
                  <a:lnTo>
                    <a:pt x="1085837" y="1749920"/>
                  </a:lnTo>
                  <a:lnTo>
                    <a:pt x="958227" y="1864220"/>
                  </a:lnTo>
                  <a:lnTo>
                    <a:pt x="874915" y="1940420"/>
                  </a:lnTo>
                  <a:lnTo>
                    <a:pt x="833920" y="1978520"/>
                  </a:lnTo>
                  <a:lnTo>
                    <a:pt x="793445" y="2016620"/>
                  </a:lnTo>
                  <a:lnTo>
                    <a:pt x="753503" y="2054720"/>
                  </a:lnTo>
                  <a:lnTo>
                    <a:pt x="714159" y="2092820"/>
                  </a:lnTo>
                  <a:lnTo>
                    <a:pt x="675462" y="2130920"/>
                  </a:lnTo>
                  <a:lnTo>
                    <a:pt x="637451" y="2169020"/>
                  </a:lnTo>
                  <a:lnTo>
                    <a:pt x="600176" y="2207120"/>
                  </a:lnTo>
                  <a:lnTo>
                    <a:pt x="563664" y="2245220"/>
                  </a:lnTo>
                  <a:lnTo>
                    <a:pt x="527977" y="2283320"/>
                  </a:lnTo>
                  <a:lnTo>
                    <a:pt x="493166" y="2321420"/>
                  </a:lnTo>
                  <a:lnTo>
                    <a:pt x="459270" y="2359520"/>
                  </a:lnTo>
                  <a:lnTo>
                    <a:pt x="426326" y="2397620"/>
                  </a:lnTo>
                  <a:lnTo>
                    <a:pt x="394373" y="2435720"/>
                  </a:lnTo>
                  <a:lnTo>
                    <a:pt x="363486" y="2473820"/>
                  </a:lnTo>
                  <a:lnTo>
                    <a:pt x="333692" y="2511920"/>
                  </a:lnTo>
                  <a:lnTo>
                    <a:pt x="305028" y="2550020"/>
                  </a:lnTo>
                  <a:lnTo>
                    <a:pt x="277558" y="2588120"/>
                  </a:lnTo>
                  <a:lnTo>
                    <a:pt x="251320" y="2626220"/>
                  </a:lnTo>
                  <a:lnTo>
                    <a:pt x="226352" y="2664320"/>
                  </a:lnTo>
                  <a:lnTo>
                    <a:pt x="202704" y="2702420"/>
                  </a:lnTo>
                  <a:lnTo>
                    <a:pt x="180428" y="2740520"/>
                  </a:lnTo>
                  <a:lnTo>
                    <a:pt x="159562" y="2778620"/>
                  </a:lnTo>
                  <a:lnTo>
                    <a:pt x="140144" y="2816720"/>
                  </a:lnTo>
                  <a:lnTo>
                    <a:pt x="122237" y="2854820"/>
                  </a:lnTo>
                  <a:lnTo>
                    <a:pt x="105879" y="2892920"/>
                  </a:lnTo>
                  <a:lnTo>
                    <a:pt x="91122" y="2931020"/>
                  </a:lnTo>
                  <a:lnTo>
                    <a:pt x="77990" y="2956420"/>
                  </a:lnTo>
                  <a:lnTo>
                    <a:pt x="56781" y="3032620"/>
                  </a:lnTo>
                  <a:lnTo>
                    <a:pt x="39179" y="3096120"/>
                  </a:lnTo>
                  <a:lnTo>
                    <a:pt x="25031" y="3159620"/>
                  </a:lnTo>
                  <a:lnTo>
                    <a:pt x="14198" y="3235820"/>
                  </a:lnTo>
                  <a:lnTo>
                    <a:pt x="6502" y="3299320"/>
                  </a:lnTo>
                  <a:lnTo>
                    <a:pt x="1828" y="3362820"/>
                  </a:lnTo>
                  <a:lnTo>
                    <a:pt x="0" y="3426320"/>
                  </a:lnTo>
                  <a:lnTo>
                    <a:pt x="863" y="3489820"/>
                  </a:lnTo>
                  <a:lnTo>
                    <a:pt x="4305" y="3540620"/>
                  </a:lnTo>
                  <a:lnTo>
                    <a:pt x="10134" y="3604120"/>
                  </a:lnTo>
                  <a:lnTo>
                    <a:pt x="18224" y="3667620"/>
                  </a:lnTo>
                  <a:lnTo>
                    <a:pt x="28422" y="3718420"/>
                  </a:lnTo>
                  <a:lnTo>
                    <a:pt x="40576" y="3781920"/>
                  </a:lnTo>
                  <a:lnTo>
                    <a:pt x="54521" y="3832720"/>
                  </a:lnTo>
                  <a:lnTo>
                    <a:pt x="70142" y="3883520"/>
                  </a:lnTo>
                  <a:lnTo>
                    <a:pt x="87249" y="3934320"/>
                  </a:lnTo>
                  <a:lnTo>
                    <a:pt x="105727" y="3985120"/>
                  </a:lnTo>
                  <a:lnTo>
                    <a:pt x="125399" y="4035920"/>
                  </a:lnTo>
                  <a:lnTo>
                    <a:pt x="146138" y="4086720"/>
                  </a:lnTo>
                  <a:lnTo>
                    <a:pt x="167767" y="4124820"/>
                  </a:lnTo>
                  <a:lnTo>
                    <a:pt x="190169" y="4175620"/>
                  </a:lnTo>
                  <a:lnTo>
                    <a:pt x="213169" y="4213720"/>
                  </a:lnTo>
                  <a:lnTo>
                    <a:pt x="236613" y="4251820"/>
                  </a:lnTo>
                  <a:lnTo>
                    <a:pt x="260375" y="4302620"/>
                  </a:lnTo>
                  <a:lnTo>
                    <a:pt x="284302" y="4340720"/>
                  </a:lnTo>
                  <a:lnTo>
                    <a:pt x="308216" y="4366120"/>
                  </a:lnTo>
                  <a:lnTo>
                    <a:pt x="332003" y="4404220"/>
                  </a:lnTo>
                  <a:lnTo>
                    <a:pt x="355485" y="4442320"/>
                  </a:lnTo>
                  <a:lnTo>
                    <a:pt x="378536" y="4467720"/>
                  </a:lnTo>
                  <a:lnTo>
                    <a:pt x="400977" y="4493120"/>
                  </a:lnTo>
                  <a:lnTo>
                    <a:pt x="422681" y="4518520"/>
                  </a:lnTo>
                  <a:lnTo>
                    <a:pt x="443496" y="4543920"/>
                  </a:lnTo>
                  <a:lnTo>
                    <a:pt x="463270" y="4569320"/>
                  </a:lnTo>
                  <a:lnTo>
                    <a:pt x="481838" y="4594720"/>
                  </a:lnTo>
                  <a:lnTo>
                    <a:pt x="499071" y="4607420"/>
                  </a:lnTo>
                  <a:lnTo>
                    <a:pt x="514807" y="4632820"/>
                  </a:lnTo>
                  <a:lnTo>
                    <a:pt x="528904" y="4645520"/>
                  </a:lnTo>
                  <a:lnTo>
                    <a:pt x="541210" y="4658220"/>
                  </a:lnTo>
                  <a:lnTo>
                    <a:pt x="551573" y="4658220"/>
                  </a:lnTo>
                  <a:lnTo>
                    <a:pt x="559841" y="4670920"/>
                  </a:lnTo>
                  <a:lnTo>
                    <a:pt x="565861" y="4683620"/>
                  </a:lnTo>
                  <a:lnTo>
                    <a:pt x="569493" y="4683620"/>
                  </a:lnTo>
                  <a:lnTo>
                    <a:pt x="597319" y="4696320"/>
                  </a:lnTo>
                  <a:lnTo>
                    <a:pt x="627621" y="4721720"/>
                  </a:lnTo>
                  <a:lnTo>
                    <a:pt x="729513" y="4721720"/>
                  </a:lnTo>
                  <a:lnTo>
                    <a:pt x="765454" y="4709020"/>
                  </a:lnTo>
                  <a:lnTo>
                    <a:pt x="828370" y="4670920"/>
                  </a:lnTo>
                  <a:lnTo>
                    <a:pt x="856284" y="4632820"/>
                  </a:lnTo>
                  <a:lnTo>
                    <a:pt x="872045" y="4582020"/>
                  </a:lnTo>
                  <a:lnTo>
                    <a:pt x="875779" y="4531220"/>
                  </a:lnTo>
                  <a:lnTo>
                    <a:pt x="867625" y="4493120"/>
                  </a:lnTo>
                  <a:lnTo>
                    <a:pt x="847686" y="4442320"/>
                  </a:lnTo>
                  <a:lnTo>
                    <a:pt x="816102" y="4404220"/>
                  </a:lnTo>
                  <a:lnTo>
                    <a:pt x="807847" y="4404220"/>
                  </a:lnTo>
                  <a:lnTo>
                    <a:pt x="791743" y="4378820"/>
                  </a:lnTo>
                  <a:lnTo>
                    <a:pt x="768921" y="4366120"/>
                  </a:lnTo>
                  <a:lnTo>
                    <a:pt x="740473" y="4328020"/>
                  </a:lnTo>
                  <a:lnTo>
                    <a:pt x="707555" y="4289920"/>
                  </a:lnTo>
                  <a:lnTo>
                    <a:pt x="671258" y="4251820"/>
                  </a:lnTo>
                  <a:lnTo>
                    <a:pt x="632701" y="4201020"/>
                  </a:lnTo>
                  <a:lnTo>
                    <a:pt x="553326" y="4074020"/>
                  </a:lnTo>
                  <a:lnTo>
                    <a:pt x="514731" y="3997820"/>
                  </a:lnTo>
                  <a:lnTo>
                    <a:pt x="1159827" y="3997820"/>
                  </a:lnTo>
                  <a:lnTo>
                    <a:pt x="1200086" y="3959720"/>
                  </a:lnTo>
                  <a:lnTo>
                    <a:pt x="1227226" y="3921620"/>
                  </a:lnTo>
                  <a:lnTo>
                    <a:pt x="1237170" y="3870820"/>
                  </a:lnTo>
                  <a:lnTo>
                    <a:pt x="1227226" y="3820020"/>
                  </a:lnTo>
                  <a:lnTo>
                    <a:pt x="1200086" y="3781920"/>
                  </a:lnTo>
                  <a:lnTo>
                    <a:pt x="1159827" y="3756520"/>
                  </a:lnTo>
                  <a:lnTo>
                    <a:pt x="1110513" y="3743820"/>
                  </a:lnTo>
                  <a:lnTo>
                    <a:pt x="413499" y="3743820"/>
                  </a:lnTo>
                  <a:lnTo>
                    <a:pt x="401281" y="3705720"/>
                  </a:lnTo>
                  <a:lnTo>
                    <a:pt x="390766" y="3654920"/>
                  </a:lnTo>
                  <a:lnTo>
                    <a:pt x="382104" y="3604120"/>
                  </a:lnTo>
                  <a:lnTo>
                    <a:pt x="375450" y="3553320"/>
                  </a:lnTo>
                  <a:lnTo>
                    <a:pt x="370941" y="3502520"/>
                  </a:lnTo>
                  <a:lnTo>
                    <a:pt x="368731" y="3451720"/>
                  </a:lnTo>
                  <a:lnTo>
                    <a:pt x="1493862" y="3451720"/>
                  </a:lnTo>
                  <a:lnTo>
                    <a:pt x="1543177" y="3439020"/>
                  </a:lnTo>
                  <a:lnTo>
                    <a:pt x="1583436" y="3413620"/>
                  </a:lnTo>
                  <a:lnTo>
                    <a:pt x="1610575" y="3375520"/>
                  </a:lnTo>
                  <a:lnTo>
                    <a:pt x="1620520" y="3324720"/>
                  </a:lnTo>
                  <a:lnTo>
                    <a:pt x="1610575" y="3273920"/>
                  </a:lnTo>
                  <a:lnTo>
                    <a:pt x="1583436" y="3235820"/>
                  </a:lnTo>
                  <a:lnTo>
                    <a:pt x="1543177" y="3210420"/>
                  </a:lnTo>
                  <a:lnTo>
                    <a:pt x="1493862" y="3197720"/>
                  </a:lnTo>
                  <a:lnTo>
                    <a:pt x="393382" y="3197720"/>
                  </a:lnTo>
                  <a:lnTo>
                    <a:pt x="400278" y="3172320"/>
                  </a:lnTo>
                  <a:lnTo>
                    <a:pt x="408038" y="3134220"/>
                  </a:lnTo>
                  <a:lnTo>
                    <a:pt x="416763" y="3108820"/>
                  </a:lnTo>
                  <a:lnTo>
                    <a:pt x="426529" y="3083420"/>
                  </a:lnTo>
                  <a:lnTo>
                    <a:pt x="441350" y="3032620"/>
                  </a:lnTo>
                  <a:lnTo>
                    <a:pt x="459257" y="2994520"/>
                  </a:lnTo>
                  <a:lnTo>
                    <a:pt x="480085" y="2956420"/>
                  </a:lnTo>
                  <a:lnTo>
                    <a:pt x="503656" y="2918320"/>
                  </a:lnTo>
                  <a:lnTo>
                    <a:pt x="529818" y="2867520"/>
                  </a:lnTo>
                  <a:lnTo>
                    <a:pt x="1442580" y="2867520"/>
                  </a:lnTo>
                  <a:lnTo>
                    <a:pt x="1482839" y="2829420"/>
                  </a:lnTo>
                  <a:lnTo>
                    <a:pt x="1509979" y="2791320"/>
                  </a:lnTo>
                  <a:lnTo>
                    <a:pt x="1519923" y="2740520"/>
                  </a:lnTo>
                  <a:lnTo>
                    <a:pt x="1509979" y="2702420"/>
                  </a:lnTo>
                  <a:lnTo>
                    <a:pt x="1482839" y="2651620"/>
                  </a:lnTo>
                  <a:lnTo>
                    <a:pt x="1442580" y="2626220"/>
                  </a:lnTo>
                  <a:lnTo>
                    <a:pt x="1393266" y="2613520"/>
                  </a:lnTo>
                  <a:lnTo>
                    <a:pt x="723988" y="2613520"/>
                  </a:lnTo>
                  <a:lnTo>
                    <a:pt x="754214" y="2588120"/>
                  </a:lnTo>
                  <a:lnTo>
                    <a:pt x="785418" y="2550020"/>
                  </a:lnTo>
                  <a:lnTo>
                    <a:pt x="817549" y="2511920"/>
                  </a:lnTo>
                  <a:lnTo>
                    <a:pt x="850595" y="2486520"/>
                  </a:lnTo>
                  <a:lnTo>
                    <a:pt x="884466" y="2448420"/>
                  </a:lnTo>
                  <a:lnTo>
                    <a:pt x="919149" y="2410320"/>
                  </a:lnTo>
                  <a:lnTo>
                    <a:pt x="954570" y="2372220"/>
                  </a:lnTo>
                  <a:lnTo>
                    <a:pt x="990701" y="2334120"/>
                  </a:lnTo>
                  <a:lnTo>
                    <a:pt x="1027493" y="2308720"/>
                  </a:lnTo>
                  <a:lnTo>
                    <a:pt x="1064895" y="2270620"/>
                  </a:lnTo>
                  <a:lnTo>
                    <a:pt x="1102842" y="2232520"/>
                  </a:lnTo>
                  <a:lnTo>
                    <a:pt x="1141323" y="2194420"/>
                  </a:lnTo>
                  <a:lnTo>
                    <a:pt x="1180261" y="2156320"/>
                  </a:lnTo>
                  <a:lnTo>
                    <a:pt x="1259370" y="2080120"/>
                  </a:lnTo>
                  <a:lnTo>
                    <a:pt x="1339773" y="2003920"/>
                  </a:lnTo>
                  <a:lnTo>
                    <a:pt x="1380350" y="1978520"/>
                  </a:lnTo>
                  <a:lnTo>
                    <a:pt x="1460766" y="1902320"/>
                  </a:lnTo>
                  <a:lnTo>
                    <a:pt x="1737309" y="1635620"/>
                  </a:lnTo>
                  <a:lnTo>
                    <a:pt x="1776310" y="1597520"/>
                  </a:lnTo>
                  <a:lnTo>
                    <a:pt x="1815109" y="1572120"/>
                  </a:lnTo>
                  <a:lnTo>
                    <a:pt x="1891931" y="1495920"/>
                  </a:lnTo>
                  <a:lnTo>
                    <a:pt x="1967534" y="1419720"/>
                  </a:lnTo>
                  <a:lnTo>
                    <a:pt x="2004809" y="1381620"/>
                  </a:lnTo>
                  <a:lnTo>
                    <a:pt x="2041690" y="1343520"/>
                  </a:lnTo>
                  <a:lnTo>
                    <a:pt x="2078139" y="1305420"/>
                  </a:lnTo>
                  <a:lnTo>
                    <a:pt x="2114143" y="1267320"/>
                  </a:lnTo>
                  <a:lnTo>
                    <a:pt x="2149665" y="1229220"/>
                  </a:lnTo>
                  <a:lnTo>
                    <a:pt x="2184679" y="1191120"/>
                  </a:lnTo>
                  <a:lnTo>
                    <a:pt x="2219147" y="1153020"/>
                  </a:lnTo>
                  <a:lnTo>
                    <a:pt x="2253030" y="1114920"/>
                  </a:lnTo>
                  <a:lnTo>
                    <a:pt x="2286330" y="1076820"/>
                  </a:lnTo>
                  <a:lnTo>
                    <a:pt x="2318982" y="1038720"/>
                  </a:lnTo>
                  <a:lnTo>
                    <a:pt x="2350986" y="1000620"/>
                  </a:lnTo>
                  <a:lnTo>
                    <a:pt x="2382291" y="962520"/>
                  </a:lnTo>
                  <a:lnTo>
                    <a:pt x="2412873" y="924420"/>
                  </a:lnTo>
                  <a:lnTo>
                    <a:pt x="2442705" y="886320"/>
                  </a:lnTo>
                  <a:lnTo>
                    <a:pt x="2471763" y="848220"/>
                  </a:lnTo>
                  <a:lnTo>
                    <a:pt x="2499995" y="797420"/>
                  </a:lnTo>
                  <a:lnTo>
                    <a:pt x="2527401" y="759320"/>
                  </a:lnTo>
                  <a:lnTo>
                    <a:pt x="2553932" y="721220"/>
                  </a:lnTo>
                  <a:lnTo>
                    <a:pt x="2579560" y="683120"/>
                  </a:lnTo>
                  <a:lnTo>
                    <a:pt x="2604262" y="645020"/>
                  </a:lnTo>
                  <a:lnTo>
                    <a:pt x="2627998" y="606920"/>
                  </a:lnTo>
                  <a:lnTo>
                    <a:pt x="2650744" y="568820"/>
                  </a:lnTo>
                  <a:lnTo>
                    <a:pt x="2672473" y="518020"/>
                  </a:lnTo>
                  <a:lnTo>
                    <a:pt x="2693162" y="479920"/>
                  </a:lnTo>
                  <a:lnTo>
                    <a:pt x="2712758" y="441820"/>
                  </a:lnTo>
                  <a:lnTo>
                    <a:pt x="2731249" y="403720"/>
                  </a:lnTo>
                  <a:lnTo>
                    <a:pt x="2748610" y="365620"/>
                  </a:lnTo>
                  <a:lnTo>
                    <a:pt x="2764790" y="314820"/>
                  </a:lnTo>
                  <a:lnTo>
                    <a:pt x="2779776" y="276720"/>
                  </a:lnTo>
                  <a:lnTo>
                    <a:pt x="2793530" y="238620"/>
                  </a:lnTo>
                  <a:lnTo>
                    <a:pt x="2806039" y="187820"/>
                  </a:lnTo>
                  <a:lnTo>
                    <a:pt x="2817241" y="149720"/>
                  </a:lnTo>
                  <a:lnTo>
                    <a:pt x="2827134" y="111620"/>
                  </a:lnTo>
                  <a:lnTo>
                    <a:pt x="2835681" y="73520"/>
                  </a:lnTo>
                  <a:lnTo>
                    <a:pt x="2842857" y="22720"/>
                  </a:lnTo>
                  <a:lnTo>
                    <a:pt x="2845346" y="10020"/>
                  </a:lnTo>
                  <a:close/>
                </a:path>
                <a:path w="3693795" h="4721860">
                  <a:moveTo>
                    <a:pt x="3506774" y="1344333"/>
                  </a:moveTo>
                  <a:lnTo>
                    <a:pt x="3503396" y="1297622"/>
                  </a:lnTo>
                  <a:lnTo>
                    <a:pt x="3493605" y="1253045"/>
                  </a:lnTo>
                  <a:lnTo>
                    <a:pt x="3477857" y="1211084"/>
                  </a:lnTo>
                  <a:lnTo>
                    <a:pt x="3456660" y="1172222"/>
                  </a:lnTo>
                  <a:lnTo>
                    <a:pt x="3430473" y="1136954"/>
                  </a:lnTo>
                  <a:lnTo>
                    <a:pt x="3399790" y="1105776"/>
                  </a:lnTo>
                  <a:lnTo>
                    <a:pt x="3365093" y="1079169"/>
                  </a:lnTo>
                  <a:lnTo>
                    <a:pt x="3326854" y="1057630"/>
                  </a:lnTo>
                  <a:lnTo>
                    <a:pt x="3285566" y="1041628"/>
                  </a:lnTo>
                  <a:lnTo>
                    <a:pt x="3241700" y="1031671"/>
                  </a:lnTo>
                  <a:lnTo>
                    <a:pt x="3195739" y="1028242"/>
                  </a:lnTo>
                  <a:lnTo>
                    <a:pt x="3149777" y="1031671"/>
                  </a:lnTo>
                  <a:lnTo>
                    <a:pt x="3105899" y="1041628"/>
                  </a:lnTo>
                  <a:lnTo>
                    <a:pt x="3064611" y="1057630"/>
                  </a:lnTo>
                  <a:lnTo>
                    <a:pt x="3026372" y="1079169"/>
                  </a:lnTo>
                  <a:lnTo>
                    <a:pt x="2991675" y="1105776"/>
                  </a:lnTo>
                  <a:lnTo>
                    <a:pt x="2960992" y="1136954"/>
                  </a:lnTo>
                  <a:lnTo>
                    <a:pt x="2934805" y="1172222"/>
                  </a:lnTo>
                  <a:lnTo>
                    <a:pt x="2913608" y="1211084"/>
                  </a:lnTo>
                  <a:lnTo>
                    <a:pt x="2897873" y="1253045"/>
                  </a:lnTo>
                  <a:lnTo>
                    <a:pt x="2888069" y="1297622"/>
                  </a:lnTo>
                  <a:lnTo>
                    <a:pt x="2884703" y="1344333"/>
                  </a:lnTo>
                  <a:lnTo>
                    <a:pt x="2888069" y="1391043"/>
                  </a:lnTo>
                  <a:lnTo>
                    <a:pt x="2897873" y="1435633"/>
                  </a:lnTo>
                  <a:lnTo>
                    <a:pt x="2913608" y="1477594"/>
                  </a:lnTo>
                  <a:lnTo>
                    <a:pt x="2934805" y="1516456"/>
                  </a:lnTo>
                  <a:lnTo>
                    <a:pt x="2960992" y="1551711"/>
                  </a:lnTo>
                  <a:lnTo>
                    <a:pt x="2991675" y="1582902"/>
                  </a:lnTo>
                  <a:lnTo>
                    <a:pt x="3026372" y="1609509"/>
                  </a:lnTo>
                  <a:lnTo>
                    <a:pt x="3064611" y="1631048"/>
                  </a:lnTo>
                  <a:lnTo>
                    <a:pt x="3105899" y="1647050"/>
                  </a:lnTo>
                  <a:lnTo>
                    <a:pt x="3149777" y="1657007"/>
                  </a:lnTo>
                  <a:lnTo>
                    <a:pt x="3195739" y="1660423"/>
                  </a:lnTo>
                  <a:lnTo>
                    <a:pt x="3241700" y="1657007"/>
                  </a:lnTo>
                  <a:lnTo>
                    <a:pt x="3285566" y="1647050"/>
                  </a:lnTo>
                  <a:lnTo>
                    <a:pt x="3326854" y="1631048"/>
                  </a:lnTo>
                  <a:lnTo>
                    <a:pt x="3365093" y="1609509"/>
                  </a:lnTo>
                  <a:lnTo>
                    <a:pt x="3399790" y="1582902"/>
                  </a:lnTo>
                  <a:lnTo>
                    <a:pt x="3430473" y="1551711"/>
                  </a:lnTo>
                  <a:lnTo>
                    <a:pt x="3456660" y="1516456"/>
                  </a:lnTo>
                  <a:lnTo>
                    <a:pt x="3477857" y="1477594"/>
                  </a:lnTo>
                  <a:lnTo>
                    <a:pt x="3493605" y="1435633"/>
                  </a:lnTo>
                  <a:lnTo>
                    <a:pt x="3503396" y="1391043"/>
                  </a:lnTo>
                  <a:lnTo>
                    <a:pt x="3506774" y="1344333"/>
                  </a:lnTo>
                  <a:close/>
                </a:path>
                <a:path w="3693795" h="4721860">
                  <a:moveTo>
                    <a:pt x="3508527" y="2550566"/>
                  </a:moveTo>
                  <a:lnTo>
                    <a:pt x="3505873" y="2503855"/>
                  </a:lnTo>
                  <a:lnTo>
                    <a:pt x="3498113" y="2458732"/>
                  </a:lnTo>
                  <a:lnTo>
                    <a:pt x="3485540" y="2415476"/>
                  </a:lnTo>
                  <a:lnTo>
                    <a:pt x="3468459" y="2374417"/>
                  </a:lnTo>
                  <a:lnTo>
                    <a:pt x="3447161" y="2335834"/>
                  </a:lnTo>
                  <a:lnTo>
                    <a:pt x="3421938" y="2300046"/>
                  </a:lnTo>
                  <a:lnTo>
                    <a:pt x="3393084" y="2267331"/>
                  </a:lnTo>
                  <a:lnTo>
                    <a:pt x="3360890" y="2238006"/>
                  </a:lnTo>
                  <a:lnTo>
                    <a:pt x="3325672" y="2212378"/>
                  </a:lnTo>
                  <a:lnTo>
                    <a:pt x="3287712" y="2190724"/>
                  </a:lnTo>
                  <a:lnTo>
                    <a:pt x="3247301" y="2173363"/>
                  </a:lnTo>
                  <a:lnTo>
                    <a:pt x="3204756" y="2160587"/>
                  </a:lnTo>
                  <a:lnTo>
                    <a:pt x="3160344" y="2152713"/>
                  </a:lnTo>
                  <a:lnTo>
                    <a:pt x="3114383" y="2150008"/>
                  </a:lnTo>
                  <a:lnTo>
                    <a:pt x="3068409" y="2152713"/>
                  </a:lnTo>
                  <a:lnTo>
                    <a:pt x="3024009" y="2160587"/>
                  </a:lnTo>
                  <a:lnTo>
                    <a:pt x="2981452" y="2173363"/>
                  </a:lnTo>
                  <a:lnTo>
                    <a:pt x="2941040" y="2190724"/>
                  </a:lnTo>
                  <a:lnTo>
                    <a:pt x="2903080" y="2212378"/>
                  </a:lnTo>
                  <a:lnTo>
                    <a:pt x="2867863" y="2238006"/>
                  </a:lnTo>
                  <a:lnTo>
                    <a:pt x="2835681" y="2267331"/>
                  </a:lnTo>
                  <a:lnTo>
                    <a:pt x="2806827" y="2300046"/>
                  </a:lnTo>
                  <a:lnTo>
                    <a:pt x="2781604" y="2335834"/>
                  </a:lnTo>
                  <a:lnTo>
                    <a:pt x="2760294" y="2374417"/>
                  </a:lnTo>
                  <a:lnTo>
                    <a:pt x="2743212" y="2415476"/>
                  </a:lnTo>
                  <a:lnTo>
                    <a:pt x="2730639" y="2458732"/>
                  </a:lnTo>
                  <a:lnTo>
                    <a:pt x="2722880" y="2503855"/>
                  </a:lnTo>
                  <a:lnTo>
                    <a:pt x="2720238" y="2550566"/>
                  </a:lnTo>
                  <a:lnTo>
                    <a:pt x="2722880" y="2597289"/>
                  </a:lnTo>
                  <a:lnTo>
                    <a:pt x="2730639" y="2642412"/>
                  </a:lnTo>
                  <a:lnTo>
                    <a:pt x="2743212" y="2685669"/>
                  </a:lnTo>
                  <a:lnTo>
                    <a:pt x="2760294" y="2726728"/>
                  </a:lnTo>
                  <a:lnTo>
                    <a:pt x="2781604" y="2765310"/>
                  </a:lnTo>
                  <a:lnTo>
                    <a:pt x="2806827" y="2801099"/>
                  </a:lnTo>
                  <a:lnTo>
                    <a:pt x="2835681" y="2833814"/>
                  </a:lnTo>
                  <a:lnTo>
                    <a:pt x="2867863" y="2863126"/>
                  </a:lnTo>
                  <a:lnTo>
                    <a:pt x="2903080" y="2888767"/>
                  </a:lnTo>
                  <a:lnTo>
                    <a:pt x="2941040" y="2910421"/>
                  </a:lnTo>
                  <a:lnTo>
                    <a:pt x="2981452" y="2927781"/>
                  </a:lnTo>
                  <a:lnTo>
                    <a:pt x="3024009" y="2940545"/>
                  </a:lnTo>
                  <a:lnTo>
                    <a:pt x="3068409" y="2948432"/>
                  </a:lnTo>
                  <a:lnTo>
                    <a:pt x="3114383" y="2951124"/>
                  </a:lnTo>
                  <a:lnTo>
                    <a:pt x="3160344" y="2948432"/>
                  </a:lnTo>
                  <a:lnTo>
                    <a:pt x="3204756" y="2940545"/>
                  </a:lnTo>
                  <a:lnTo>
                    <a:pt x="3247301" y="2927781"/>
                  </a:lnTo>
                  <a:lnTo>
                    <a:pt x="3287712" y="2910421"/>
                  </a:lnTo>
                  <a:lnTo>
                    <a:pt x="3325672" y="2888767"/>
                  </a:lnTo>
                  <a:lnTo>
                    <a:pt x="3360890" y="2863126"/>
                  </a:lnTo>
                  <a:lnTo>
                    <a:pt x="3393084" y="2833814"/>
                  </a:lnTo>
                  <a:lnTo>
                    <a:pt x="3421938" y="2801099"/>
                  </a:lnTo>
                  <a:lnTo>
                    <a:pt x="3447161" y="2765310"/>
                  </a:lnTo>
                  <a:lnTo>
                    <a:pt x="3468459" y="2726728"/>
                  </a:lnTo>
                  <a:lnTo>
                    <a:pt x="3485540" y="2685669"/>
                  </a:lnTo>
                  <a:lnTo>
                    <a:pt x="3498113" y="2642412"/>
                  </a:lnTo>
                  <a:lnTo>
                    <a:pt x="3505873" y="2597289"/>
                  </a:lnTo>
                  <a:lnTo>
                    <a:pt x="3508527" y="2550566"/>
                  </a:lnTo>
                  <a:close/>
                </a:path>
                <a:path w="3693795" h="4721860">
                  <a:moveTo>
                    <a:pt x="3693350" y="317944"/>
                  </a:moveTo>
                  <a:lnTo>
                    <a:pt x="3689007" y="268770"/>
                  </a:lnTo>
                  <a:lnTo>
                    <a:pt x="3676510" y="222491"/>
                  </a:lnTo>
                  <a:lnTo>
                    <a:pt x="3656596" y="179870"/>
                  </a:lnTo>
                  <a:lnTo>
                    <a:pt x="3630041" y="141693"/>
                  </a:lnTo>
                  <a:lnTo>
                    <a:pt x="3597592" y="108724"/>
                  </a:lnTo>
                  <a:lnTo>
                    <a:pt x="3560026" y="81737"/>
                  </a:lnTo>
                  <a:lnTo>
                    <a:pt x="3518090" y="61506"/>
                  </a:lnTo>
                  <a:lnTo>
                    <a:pt x="3472548" y="48793"/>
                  </a:lnTo>
                  <a:lnTo>
                    <a:pt x="3424161" y="44386"/>
                  </a:lnTo>
                  <a:lnTo>
                    <a:pt x="3375774" y="48793"/>
                  </a:lnTo>
                  <a:lnTo>
                    <a:pt x="3330232" y="61506"/>
                  </a:lnTo>
                  <a:lnTo>
                    <a:pt x="3288296" y="81737"/>
                  </a:lnTo>
                  <a:lnTo>
                    <a:pt x="3250730" y="108724"/>
                  </a:lnTo>
                  <a:lnTo>
                    <a:pt x="3218281" y="141693"/>
                  </a:lnTo>
                  <a:lnTo>
                    <a:pt x="3191726" y="179870"/>
                  </a:lnTo>
                  <a:lnTo>
                    <a:pt x="3171812" y="222491"/>
                  </a:lnTo>
                  <a:lnTo>
                    <a:pt x="3159315" y="268770"/>
                  </a:lnTo>
                  <a:lnTo>
                    <a:pt x="3154972" y="317944"/>
                  </a:lnTo>
                  <a:lnTo>
                    <a:pt x="3159315" y="367118"/>
                  </a:lnTo>
                  <a:lnTo>
                    <a:pt x="3171812" y="413397"/>
                  </a:lnTo>
                  <a:lnTo>
                    <a:pt x="3191726" y="456018"/>
                  </a:lnTo>
                  <a:lnTo>
                    <a:pt x="3218281" y="494207"/>
                  </a:lnTo>
                  <a:lnTo>
                    <a:pt x="3250730" y="527177"/>
                  </a:lnTo>
                  <a:lnTo>
                    <a:pt x="3288296" y="554164"/>
                  </a:lnTo>
                  <a:lnTo>
                    <a:pt x="3330232" y="574395"/>
                  </a:lnTo>
                  <a:lnTo>
                    <a:pt x="3375774" y="587108"/>
                  </a:lnTo>
                  <a:lnTo>
                    <a:pt x="3424161" y="591515"/>
                  </a:lnTo>
                  <a:lnTo>
                    <a:pt x="3472548" y="587108"/>
                  </a:lnTo>
                  <a:lnTo>
                    <a:pt x="3518090" y="574395"/>
                  </a:lnTo>
                  <a:lnTo>
                    <a:pt x="3560026" y="554164"/>
                  </a:lnTo>
                  <a:lnTo>
                    <a:pt x="3597592" y="527177"/>
                  </a:lnTo>
                  <a:lnTo>
                    <a:pt x="3630041" y="494207"/>
                  </a:lnTo>
                  <a:lnTo>
                    <a:pt x="3656596" y="456018"/>
                  </a:lnTo>
                  <a:lnTo>
                    <a:pt x="3676510" y="413397"/>
                  </a:lnTo>
                  <a:lnTo>
                    <a:pt x="3689007" y="367118"/>
                  </a:lnTo>
                  <a:lnTo>
                    <a:pt x="3693350" y="317944"/>
                  </a:lnTo>
                  <a:close/>
                </a:path>
              </a:pathLst>
            </a:custGeom>
            <a:solidFill>
              <a:srgbClr val="0E5C77">
                <a:alpha val="19999"/>
              </a:srgbClr>
            </a:solidFill>
          </p:spPr>
          <p:txBody>
            <a:bodyPr wrap="square" lIns="0" tIns="0" rIns="0" bIns="0" rtlCol="0"/>
            <a:lstStyle/>
            <a:p>
              <a:endParaRPr/>
            </a:p>
          </p:txBody>
        </p:sp>
        <p:sp>
          <p:nvSpPr>
            <p:cNvPr id="10" name="object 10">
              <a:extLst>
                <a:ext uri="{FF2B5EF4-FFF2-40B4-BE49-F238E27FC236}">
                  <a16:creationId xmlns:a16="http://schemas.microsoft.com/office/drawing/2014/main" id="{5D0CF7AA-5EBE-7C05-F897-4819BD7C555D}"/>
                </a:ext>
              </a:extLst>
            </p:cNvPr>
            <p:cNvSpPr/>
            <p:nvPr/>
          </p:nvSpPr>
          <p:spPr>
            <a:xfrm>
              <a:off x="3624663" y="653716"/>
              <a:ext cx="714591" cy="726107"/>
            </a:xfrm>
            <a:custGeom>
              <a:avLst/>
              <a:gdLst/>
              <a:ahLst/>
              <a:cxnLst/>
              <a:rect l="l" t="t" r="r" b="b"/>
              <a:pathLst>
                <a:path w="788035" h="800735">
                  <a:moveTo>
                    <a:pt x="393953" y="0"/>
                  </a:moveTo>
                  <a:lnTo>
                    <a:pt x="348010" y="2693"/>
                  </a:lnTo>
                  <a:lnTo>
                    <a:pt x="303623" y="10573"/>
                  </a:lnTo>
                  <a:lnTo>
                    <a:pt x="261088" y="23340"/>
                  </a:lnTo>
                  <a:lnTo>
                    <a:pt x="220702" y="40693"/>
                  </a:lnTo>
                  <a:lnTo>
                    <a:pt x="182759" y="62331"/>
                  </a:lnTo>
                  <a:lnTo>
                    <a:pt x="147555" y="87955"/>
                  </a:lnTo>
                  <a:lnTo>
                    <a:pt x="115385" y="117263"/>
                  </a:lnTo>
                  <a:lnTo>
                    <a:pt x="86546" y="149956"/>
                  </a:lnTo>
                  <a:lnTo>
                    <a:pt x="61333" y="185733"/>
                  </a:lnTo>
                  <a:lnTo>
                    <a:pt x="40041" y="224294"/>
                  </a:lnTo>
                  <a:lnTo>
                    <a:pt x="22966" y="265338"/>
                  </a:lnTo>
                  <a:lnTo>
                    <a:pt x="10404" y="308566"/>
                  </a:lnTo>
                  <a:lnTo>
                    <a:pt x="2650" y="353675"/>
                  </a:lnTo>
                  <a:lnTo>
                    <a:pt x="0" y="400367"/>
                  </a:lnTo>
                  <a:lnTo>
                    <a:pt x="2650" y="447056"/>
                  </a:lnTo>
                  <a:lnTo>
                    <a:pt x="10404" y="492164"/>
                  </a:lnTo>
                  <a:lnTo>
                    <a:pt x="22966" y="535389"/>
                  </a:lnTo>
                  <a:lnTo>
                    <a:pt x="40041" y="576432"/>
                  </a:lnTo>
                  <a:lnTo>
                    <a:pt x="61333" y="614991"/>
                  </a:lnTo>
                  <a:lnTo>
                    <a:pt x="86546" y="650767"/>
                  </a:lnTo>
                  <a:lnTo>
                    <a:pt x="115385" y="683460"/>
                  </a:lnTo>
                  <a:lnTo>
                    <a:pt x="147555" y="712767"/>
                  </a:lnTo>
                  <a:lnTo>
                    <a:pt x="182759" y="738391"/>
                  </a:lnTo>
                  <a:lnTo>
                    <a:pt x="220702" y="760029"/>
                  </a:lnTo>
                  <a:lnTo>
                    <a:pt x="261088" y="777381"/>
                  </a:lnTo>
                  <a:lnTo>
                    <a:pt x="303623" y="790148"/>
                  </a:lnTo>
                  <a:lnTo>
                    <a:pt x="348010" y="798028"/>
                  </a:lnTo>
                  <a:lnTo>
                    <a:pt x="393953" y="800722"/>
                  </a:lnTo>
                  <a:lnTo>
                    <a:pt x="439897" y="798028"/>
                  </a:lnTo>
                  <a:lnTo>
                    <a:pt x="484284" y="790148"/>
                  </a:lnTo>
                  <a:lnTo>
                    <a:pt x="526819" y="777381"/>
                  </a:lnTo>
                  <a:lnTo>
                    <a:pt x="567205" y="760029"/>
                  </a:lnTo>
                  <a:lnTo>
                    <a:pt x="605148" y="738391"/>
                  </a:lnTo>
                  <a:lnTo>
                    <a:pt x="640352" y="712767"/>
                  </a:lnTo>
                  <a:lnTo>
                    <a:pt x="672522" y="683460"/>
                  </a:lnTo>
                  <a:lnTo>
                    <a:pt x="701361" y="650767"/>
                  </a:lnTo>
                  <a:lnTo>
                    <a:pt x="726574" y="614991"/>
                  </a:lnTo>
                  <a:lnTo>
                    <a:pt x="747866" y="576432"/>
                  </a:lnTo>
                  <a:lnTo>
                    <a:pt x="764941" y="535389"/>
                  </a:lnTo>
                  <a:lnTo>
                    <a:pt x="777503" y="492164"/>
                  </a:lnTo>
                  <a:lnTo>
                    <a:pt x="785257" y="447056"/>
                  </a:lnTo>
                  <a:lnTo>
                    <a:pt x="787907" y="400367"/>
                  </a:lnTo>
                  <a:lnTo>
                    <a:pt x="785257" y="353675"/>
                  </a:lnTo>
                  <a:lnTo>
                    <a:pt x="777503" y="308566"/>
                  </a:lnTo>
                  <a:lnTo>
                    <a:pt x="764941" y="265338"/>
                  </a:lnTo>
                  <a:lnTo>
                    <a:pt x="747866" y="224294"/>
                  </a:lnTo>
                  <a:lnTo>
                    <a:pt x="726574" y="185733"/>
                  </a:lnTo>
                  <a:lnTo>
                    <a:pt x="701361" y="149956"/>
                  </a:lnTo>
                  <a:lnTo>
                    <a:pt x="672522" y="117263"/>
                  </a:lnTo>
                  <a:lnTo>
                    <a:pt x="640352" y="87955"/>
                  </a:lnTo>
                  <a:lnTo>
                    <a:pt x="605148" y="62331"/>
                  </a:lnTo>
                  <a:lnTo>
                    <a:pt x="567205" y="40693"/>
                  </a:lnTo>
                  <a:lnTo>
                    <a:pt x="526819" y="23340"/>
                  </a:lnTo>
                  <a:lnTo>
                    <a:pt x="484284" y="10573"/>
                  </a:lnTo>
                  <a:lnTo>
                    <a:pt x="439897" y="2693"/>
                  </a:lnTo>
                  <a:lnTo>
                    <a:pt x="393953" y="0"/>
                  </a:lnTo>
                  <a:close/>
                </a:path>
              </a:pathLst>
            </a:custGeom>
            <a:solidFill>
              <a:srgbClr val="0E5C77">
                <a:alpha val="19999"/>
              </a:srgbClr>
            </a:solidFill>
          </p:spPr>
          <p:txBody>
            <a:bodyPr wrap="square" lIns="0" tIns="0" rIns="0" bIns="0" rtlCol="0"/>
            <a:lstStyle/>
            <a:p>
              <a:endParaRPr/>
            </a:p>
          </p:txBody>
        </p:sp>
        <p:sp>
          <p:nvSpPr>
            <p:cNvPr id="11" name="object 11">
              <a:extLst>
                <a:ext uri="{FF2B5EF4-FFF2-40B4-BE49-F238E27FC236}">
                  <a16:creationId xmlns:a16="http://schemas.microsoft.com/office/drawing/2014/main" id="{25DD953B-F14D-071F-E4DD-C54031B4394C}"/>
                </a:ext>
              </a:extLst>
            </p:cNvPr>
            <p:cNvSpPr/>
            <p:nvPr/>
          </p:nvSpPr>
          <p:spPr>
            <a:xfrm>
              <a:off x="9597" y="0"/>
              <a:ext cx="210750" cy="1356629"/>
            </a:xfrm>
            <a:custGeom>
              <a:avLst/>
              <a:gdLst/>
              <a:ahLst/>
              <a:cxnLst/>
              <a:rect l="l" t="t" r="r" b="b"/>
              <a:pathLst>
                <a:path w="232410" h="1496060">
                  <a:moveTo>
                    <a:pt x="105352" y="1242277"/>
                  </a:moveTo>
                  <a:lnTo>
                    <a:pt x="0" y="1242277"/>
                  </a:lnTo>
                  <a:lnTo>
                    <a:pt x="0" y="1495642"/>
                  </a:lnTo>
                  <a:lnTo>
                    <a:pt x="105352" y="1495642"/>
                  </a:lnTo>
                  <a:lnTo>
                    <a:pt x="154663" y="1485686"/>
                  </a:lnTo>
                  <a:lnTo>
                    <a:pt x="194930" y="1458537"/>
                  </a:lnTo>
                  <a:lnTo>
                    <a:pt x="222079" y="1418269"/>
                  </a:lnTo>
                  <a:lnTo>
                    <a:pt x="232035" y="1368959"/>
                  </a:lnTo>
                  <a:lnTo>
                    <a:pt x="222079" y="1319649"/>
                  </a:lnTo>
                  <a:lnTo>
                    <a:pt x="194930" y="1279381"/>
                  </a:lnTo>
                  <a:lnTo>
                    <a:pt x="154663" y="1252232"/>
                  </a:lnTo>
                  <a:lnTo>
                    <a:pt x="105352" y="1242277"/>
                  </a:lnTo>
                  <a:close/>
                </a:path>
                <a:path w="232410" h="1496060">
                  <a:moveTo>
                    <a:pt x="4730" y="660413"/>
                  </a:moveTo>
                  <a:lnTo>
                    <a:pt x="0" y="660413"/>
                  </a:lnTo>
                  <a:lnTo>
                    <a:pt x="0" y="913778"/>
                  </a:lnTo>
                  <a:lnTo>
                    <a:pt x="4730" y="913778"/>
                  </a:lnTo>
                  <a:lnTo>
                    <a:pt x="54035" y="903821"/>
                  </a:lnTo>
                  <a:lnTo>
                    <a:pt x="94303" y="876669"/>
                  </a:lnTo>
                  <a:lnTo>
                    <a:pt x="121456" y="836401"/>
                  </a:lnTo>
                  <a:lnTo>
                    <a:pt x="131413" y="787096"/>
                  </a:lnTo>
                  <a:lnTo>
                    <a:pt x="121456" y="737786"/>
                  </a:lnTo>
                  <a:lnTo>
                    <a:pt x="94303" y="697518"/>
                  </a:lnTo>
                  <a:lnTo>
                    <a:pt x="54035" y="670369"/>
                  </a:lnTo>
                  <a:lnTo>
                    <a:pt x="4730" y="660413"/>
                  </a:lnTo>
                  <a:close/>
                </a:path>
                <a:path w="232410" h="1496060">
                  <a:moveTo>
                    <a:pt x="6762" y="0"/>
                  </a:moveTo>
                  <a:lnTo>
                    <a:pt x="0" y="0"/>
                  </a:lnTo>
                  <a:lnTo>
                    <a:pt x="0" y="6232"/>
                  </a:lnTo>
                  <a:lnTo>
                    <a:pt x="6762" y="0"/>
                  </a:lnTo>
                  <a:close/>
                </a:path>
              </a:pathLst>
            </a:custGeom>
            <a:solidFill>
              <a:srgbClr val="0E5C77">
                <a:alpha val="19999"/>
              </a:srgbClr>
            </a:solidFill>
          </p:spPr>
          <p:txBody>
            <a:bodyPr wrap="square" lIns="0" tIns="0" rIns="0" bIns="0" rtlCol="0"/>
            <a:lstStyle/>
            <a:p>
              <a:endParaRPr/>
            </a:p>
          </p:txBody>
        </p:sp>
        <p:sp>
          <p:nvSpPr>
            <p:cNvPr id="12" name="object 12">
              <a:extLst>
                <a:ext uri="{FF2B5EF4-FFF2-40B4-BE49-F238E27FC236}">
                  <a16:creationId xmlns:a16="http://schemas.microsoft.com/office/drawing/2014/main" id="{0789B18E-19FB-CD65-207B-43C48EBE5A69}"/>
                </a:ext>
              </a:extLst>
            </p:cNvPr>
            <p:cNvSpPr/>
            <p:nvPr/>
          </p:nvSpPr>
          <p:spPr>
            <a:xfrm>
              <a:off x="9598" y="1623705"/>
              <a:ext cx="399042" cy="229752"/>
            </a:xfrm>
            <a:custGeom>
              <a:avLst/>
              <a:gdLst/>
              <a:ahLst/>
              <a:cxnLst/>
              <a:rect l="l" t="t" r="r" b="b"/>
              <a:pathLst>
                <a:path w="440055" h="253364">
                  <a:moveTo>
                    <a:pt x="312827" y="0"/>
                  </a:moveTo>
                  <a:lnTo>
                    <a:pt x="0" y="0"/>
                  </a:lnTo>
                  <a:lnTo>
                    <a:pt x="0" y="253365"/>
                  </a:lnTo>
                  <a:lnTo>
                    <a:pt x="312827" y="253365"/>
                  </a:lnTo>
                  <a:lnTo>
                    <a:pt x="362132" y="243409"/>
                  </a:lnTo>
                  <a:lnTo>
                    <a:pt x="402400" y="216260"/>
                  </a:lnTo>
                  <a:lnTo>
                    <a:pt x="429552" y="175992"/>
                  </a:lnTo>
                  <a:lnTo>
                    <a:pt x="439510" y="126682"/>
                  </a:lnTo>
                  <a:lnTo>
                    <a:pt x="429552" y="77372"/>
                  </a:lnTo>
                  <a:lnTo>
                    <a:pt x="402400" y="37104"/>
                  </a:lnTo>
                  <a:lnTo>
                    <a:pt x="362132" y="9955"/>
                  </a:lnTo>
                  <a:lnTo>
                    <a:pt x="312827" y="0"/>
                  </a:lnTo>
                  <a:close/>
                </a:path>
              </a:pathLst>
            </a:custGeom>
            <a:solidFill>
              <a:srgbClr val="0E5C77">
                <a:alpha val="19999"/>
              </a:srgbClr>
            </a:solidFill>
          </p:spPr>
          <p:txBody>
            <a:bodyPr wrap="square" lIns="0" tIns="0" rIns="0" bIns="0" rtlCol="0"/>
            <a:lstStyle/>
            <a:p>
              <a:endParaRPr/>
            </a:p>
          </p:txBody>
        </p:sp>
        <p:sp>
          <p:nvSpPr>
            <p:cNvPr id="13" name="object 13">
              <a:extLst>
                <a:ext uri="{FF2B5EF4-FFF2-40B4-BE49-F238E27FC236}">
                  <a16:creationId xmlns:a16="http://schemas.microsoft.com/office/drawing/2014/main" id="{E815F2B0-E8A3-E494-B8FD-FEAD7DDF456A}"/>
                </a:ext>
              </a:extLst>
            </p:cNvPr>
            <p:cNvSpPr/>
            <p:nvPr/>
          </p:nvSpPr>
          <p:spPr>
            <a:xfrm>
              <a:off x="304371" y="530626"/>
              <a:ext cx="347219" cy="352401"/>
            </a:xfrm>
            <a:custGeom>
              <a:avLst/>
              <a:gdLst/>
              <a:ahLst/>
              <a:cxnLst/>
              <a:rect l="l" t="t" r="r" b="b"/>
              <a:pathLst>
                <a:path w="382905" h="388619">
                  <a:moveTo>
                    <a:pt x="191198" y="0"/>
                  </a:moveTo>
                  <a:lnTo>
                    <a:pt x="147361" y="5131"/>
                  </a:lnTo>
                  <a:lnTo>
                    <a:pt x="107117" y="19747"/>
                  </a:lnTo>
                  <a:lnTo>
                    <a:pt x="71617" y="42682"/>
                  </a:lnTo>
                  <a:lnTo>
                    <a:pt x="42006" y="72771"/>
                  </a:lnTo>
                  <a:lnTo>
                    <a:pt x="19435" y="108846"/>
                  </a:lnTo>
                  <a:lnTo>
                    <a:pt x="5050" y="149744"/>
                  </a:lnTo>
                  <a:lnTo>
                    <a:pt x="0" y="194297"/>
                  </a:lnTo>
                  <a:lnTo>
                    <a:pt x="5050" y="238850"/>
                  </a:lnTo>
                  <a:lnTo>
                    <a:pt x="19435" y="279750"/>
                  </a:lnTo>
                  <a:lnTo>
                    <a:pt x="42006" y="315828"/>
                  </a:lnTo>
                  <a:lnTo>
                    <a:pt x="71617" y="345919"/>
                  </a:lnTo>
                  <a:lnTo>
                    <a:pt x="107117" y="368857"/>
                  </a:lnTo>
                  <a:lnTo>
                    <a:pt x="147361" y="383475"/>
                  </a:lnTo>
                  <a:lnTo>
                    <a:pt x="191198" y="388607"/>
                  </a:lnTo>
                  <a:lnTo>
                    <a:pt x="235039" y="383475"/>
                  </a:lnTo>
                  <a:lnTo>
                    <a:pt x="275284" y="368857"/>
                  </a:lnTo>
                  <a:lnTo>
                    <a:pt x="310785" y="345919"/>
                  </a:lnTo>
                  <a:lnTo>
                    <a:pt x="340394" y="315828"/>
                  </a:lnTo>
                  <a:lnTo>
                    <a:pt x="362964" y="279750"/>
                  </a:lnTo>
                  <a:lnTo>
                    <a:pt x="377347" y="238850"/>
                  </a:lnTo>
                  <a:lnTo>
                    <a:pt x="382397" y="194297"/>
                  </a:lnTo>
                  <a:lnTo>
                    <a:pt x="377347" y="149744"/>
                  </a:lnTo>
                  <a:lnTo>
                    <a:pt x="362964" y="108846"/>
                  </a:lnTo>
                  <a:lnTo>
                    <a:pt x="340394" y="72771"/>
                  </a:lnTo>
                  <a:lnTo>
                    <a:pt x="310785" y="42682"/>
                  </a:lnTo>
                  <a:lnTo>
                    <a:pt x="275284" y="19747"/>
                  </a:lnTo>
                  <a:lnTo>
                    <a:pt x="235039" y="5131"/>
                  </a:lnTo>
                  <a:lnTo>
                    <a:pt x="191198" y="0"/>
                  </a:lnTo>
                  <a:close/>
                </a:path>
              </a:pathLst>
            </a:custGeom>
            <a:solidFill>
              <a:srgbClr val="0E5C77">
                <a:alpha val="19999"/>
              </a:srgbClr>
            </a:solidFill>
          </p:spPr>
          <p:txBody>
            <a:bodyPr wrap="square" lIns="0" tIns="0" rIns="0" bIns="0" rtlCol="0"/>
            <a:lstStyle/>
            <a:p>
              <a:endParaRPr/>
            </a:p>
          </p:txBody>
        </p:sp>
        <p:sp>
          <p:nvSpPr>
            <p:cNvPr id="14" name="object 14">
              <a:extLst>
                <a:ext uri="{FF2B5EF4-FFF2-40B4-BE49-F238E27FC236}">
                  <a16:creationId xmlns:a16="http://schemas.microsoft.com/office/drawing/2014/main" id="{C1CF5157-7353-D424-0299-651CBB82B636}"/>
                </a:ext>
              </a:extLst>
            </p:cNvPr>
            <p:cNvSpPr/>
            <p:nvPr/>
          </p:nvSpPr>
          <p:spPr>
            <a:xfrm>
              <a:off x="508301" y="1080912"/>
              <a:ext cx="292516" cy="297122"/>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grpSp>
      <p:sp>
        <p:nvSpPr>
          <p:cNvPr id="2" name="Title 1">
            <a:extLst>
              <a:ext uri="{FF2B5EF4-FFF2-40B4-BE49-F238E27FC236}">
                <a16:creationId xmlns:a16="http://schemas.microsoft.com/office/drawing/2014/main" id="{E70AF5EC-C3A2-AE47-AC58-C795316B7127}"/>
              </a:ext>
            </a:extLst>
          </p:cNvPr>
          <p:cNvSpPr>
            <a:spLocks noGrp="1"/>
          </p:cNvSpPr>
          <p:nvPr userDrawn="1">
            <p:ph type="title"/>
          </p:nvPr>
        </p:nvSpPr>
        <p:spPr>
          <a:xfrm>
            <a:off x="2049107" y="476581"/>
            <a:ext cx="9282430" cy="752109"/>
          </a:xfrm>
        </p:spPr>
        <p:txBody>
          <a:bodyPr anchor="b">
            <a:normAutofit/>
          </a:bodyPr>
          <a:lstStyle>
            <a:lvl1pPr algn="r">
              <a:defRPr sz="4800">
                <a:solidFill>
                  <a:schemeClr val="bg1"/>
                </a:solidFill>
                <a:latin typeface="Quicksand" pitchFamily="2" charset="0"/>
              </a:defRPr>
            </a:lvl1pPr>
          </a:lstStyle>
          <a:p>
            <a:r>
              <a:rPr lang="en-US" dirty="0"/>
              <a:t>Click to edit Master title style</a:t>
            </a:r>
            <a:endParaRPr lang="en-GB" dirty="0"/>
          </a:p>
        </p:txBody>
      </p:sp>
      <p:sp>
        <p:nvSpPr>
          <p:cNvPr id="35" name="object 10">
            <a:extLst>
              <a:ext uri="{FF2B5EF4-FFF2-40B4-BE49-F238E27FC236}">
                <a16:creationId xmlns:a16="http://schemas.microsoft.com/office/drawing/2014/main" id="{A0C72F04-F457-6AB5-12E0-833F45AA60AC}"/>
              </a:ext>
            </a:extLst>
          </p:cNvPr>
          <p:cNvSpPr/>
          <p:nvPr userDrawn="1"/>
        </p:nvSpPr>
        <p:spPr>
          <a:xfrm rot="10800000">
            <a:off x="11929385" y="3918569"/>
            <a:ext cx="767112" cy="726458"/>
          </a:xfrm>
          <a:custGeom>
            <a:avLst/>
            <a:gdLst/>
            <a:ahLst/>
            <a:cxnLst/>
            <a:rect l="l" t="t" r="r" b="b"/>
            <a:pathLst>
              <a:path w="788035" h="800735">
                <a:moveTo>
                  <a:pt x="393953" y="0"/>
                </a:moveTo>
                <a:lnTo>
                  <a:pt x="348010" y="2693"/>
                </a:lnTo>
                <a:lnTo>
                  <a:pt x="303623" y="10573"/>
                </a:lnTo>
                <a:lnTo>
                  <a:pt x="261088" y="23340"/>
                </a:lnTo>
                <a:lnTo>
                  <a:pt x="220702" y="40693"/>
                </a:lnTo>
                <a:lnTo>
                  <a:pt x="182759" y="62331"/>
                </a:lnTo>
                <a:lnTo>
                  <a:pt x="147555" y="87955"/>
                </a:lnTo>
                <a:lnTo>
                  <a:pt x="115385" y="117263"/>
                </a:lnTo>
                <a:lnTo>
                  <a:pt x="86546" y="149956"/>
                </a:lnTo>
                <a:lnTo>
                  <a:pt x="61333" y="185733"/>
                </a:lnTo>
                <a:lnTo>
                  <a:pt x="40041" y="224294"/>
                </a:lnTo>
                <a:lnTo>
                  <a:pt x="22966" y="265338"/>
                </a:lnTo>
                <a:lnTo>
                  <a:pt x="10404" y="308566"/>
                </a:lnTo>
                <a:lnTo>
                  <a:pt x="2650" y="353675"/>
                </a:lnTo>
                <a:lnTo>
                  <a:pt x="0" y="400367"/>
                </a:lnTo>
                <a:lnTo>
                  <a:pt x="2650" y="447056"/>
                </a:lnTo>
                <a:lnTo>
                  <a:pt x="10404" y="492164"/>
                </a:lnTo>
                <a:lnTo>
                  <a:pt x="22966" y="535389"/>
                </a:lnTo>
                <a:lnTo>
                  <a:pt x="40041" y="576432"/>
                </a:lnTo>
                <a:lnTo>
                  <a:pt x="61333" y="614991"/>
                </a:lnTo>
                <a:lnTo>
                  <a:pt x="86546" y="650767"/>
                </a:lnTo>
                <a:lnTo>
                  <a:pt x="115385" y="683460"/>
                </a:lnTo>
                <a:lnTo>
                  <a:pt x="147555" y="712767"/>
                </a:lnTo>
                <a:lnTo>
                  <a:pt x="182759" y="738391"/>
                </a:lnTo>
                <a:lnTo>
                  <a:pt x="220702" y="760029"/>
                </a:lnTo>
                <a:lnTo>
                  <a:pt x="261088" y="777381"/>
                </a:lnTo>
                <a:lnTo>
                  <a:pt x="303623" y="790148"/>
                </a:lnTo>
                <a:lnTo>
                  <a:pt x="348010" y="798028"/>
                </a:lnTo>
                <a:lnTo>
                  <a:pt x="393953" y="800722"/>
                </a:lnTo>
                <a:lnTo>
                  <a:pt x="439897" y="798028"/>
                </a:lnTo>
                <a:lnTo>
                  <a:pt x="484284" y="790148"/>
                </a:lnTo>
                <a:lnTo>
                  <a:pt x="526819" y="777381"/>
                </a:lnTo>
                <a:lnTo>
                  <a:pt x="567205" y="760029"/>
                </a:lnTo>
                <a:lnTo>
                  <a:pt x="605148" y="738391"/>
                </a:lnTo>
                <a:lnTo>
                  <a:pt x="640352" y="712767"/>
                </a:lnTo>
                <a:lnTo>
                  <a:pt x="672522" y="683460"/>
                </a:lnTo>
                <a:lnTo>
                  <a:pt x="701361" y="650767"/>
                </a:lnTo>
                <a:lnTo>
                  <a:pt x="726574" y="614991"/>
                </a:lnTo>
                <a:lnTo>
                  <a:pt x="747866" y="576432"/>
                </a:lnTo>
                <a:lnTo>
                  <a:pt x="764941" y="535389"/>
                </a:lnTo>
                <a:lnTo>
                  <a:pt x="777503" y="492164"/>
                </a:lnTo>
                <a:lnTo>
                  <a:pt x="785257" y="447056"/>
                </a:lnTo>
                <a:lnTo>
                  <a:pt x="787907" y="400367"/>
                </a:lnTo>
                <a:lnTo>
                  <a:pt x="785257" y="353675"/>
                </a:lnTo>
                <a:lnTo>
                  <a:pt x="777503" y="308566"/>
                </a:lnTo>
                <a:lnTo>
                  <a:pt x="764941" y="265338"/>
                </a:lnTo>
                <a:lnTo>
                  <a:pt x="747866" y="224294"/>
                </a:lnTo>
                <a:lnTo>
                  <a:pt x="726574" y="185733"/>
                </a:lnTo>
                <a:lnTo>
                  <a:pt x="701361" y="149956"/>
                </a:lnTo>
                <a:lnTo>
                  <a:pt x="672522" y="117263"/>
                </a:lnTo>
                <a:lnTo>
                  <a:pt x="640352" y="87955"/>
                </a:lnTo>
                <a:lnTo>
                  <a:pt x="605148" y="62331"/>
                </a:lnTo>
                <a:lnTo>
                  <a:pt x="567205" y="40693"/>
                </a:lnTo>
                <a:lnTo>
                  <a:pt x="526819" y="23340"/>
                </a:lnTo>
                <a:lnTo>
                  <a:pt x="484284" y="10573"/>
                </a:lnTo>
                <a:lnTo>
                  <a:pt x="439897" y="2693"/>
                </a:lnTo>
                <a:lnTo>
                  <a:pt x="393953" y="0"/>
                </a:lnTo>
                <a:close/>
              </a:path>
            </a:pathLst>
          </a:custGeom>
          <a:solidFill>
            <a:srgbClr val="0E5C77">
              <a:alpha val="19999"/>
            </a:srgbClr>
          </a:solidFill>
        </p:spPr>
        <p:txBody>
          <a:bodyPr wrap="square" lIns="0" tIns="0" rIns="0" bIns="0" rtlCol="0"/>
          <a:lstStyle/>
          <a:p>
            <a:endParaRPr dirty="0"/>
          </a:p>
        </p:txBody>
      </p:sp>
      <p:sp>
        <p:nvSpPr>
          <p:cNvPr id="36" name="object 12">
            <a:extLst>
              <a:ext uri="{FF2B5EF4-FFF2-40B4-BE49-F238E27FC236}">
                <a16:creationId xmlns:a16="http://schemas.microsoft.com/office/drawing/2014/main" id="{BED36AC7-786D-8EDD-B9F6-31DD1F862F88}"/>
              </a:ext>
            </a:extLst>
          </p:cNvPr>
          <p:cNvSpPr/>
          <p:nvPr userDrawn="1"/>
        </p:nvSpPr>
        <p:spPr>
          <a:xfrm rot="10800000">
            <a:off x="11955863" y="5877240"/>
            <a:ext cx="638498" cy="334035"/>
          </a:xfrm>
          <a:custGeom>
            <a:avLst/>
            <a:gdLst/>
            <a:ahLst/>
            <a:cxnLst/>
            <a:rect l="l" t="t" r="r" b="b"/>
            <a:pathLst>
              <a:path w="440055" h="253364">
                <a:moveTo>
                  <a:pt x="312827" y="0"/>
                </a:moveTo>
                <a:lnTo>
                  <a:pt x="0" y="0"/>
                </a:lnTo>
                <a:lnTo>
                  <a:pt x="0" y="253365"/>
                </a:lnTo>
                <a:lnTo>
                  <a:pt x="312827" y="253365"/>
                </a:lnTo>
                <a:lnTo>
                  <a:pt x="362132" y="243409"/>
                </a:lnTo>
                <a:lnTo>
                  <a:pt x="402400" y="216260"/>
                </a:lnTo>
                <a:lnTo>
                  <a:pt x="429552" y="175992"/>
                </a:lnTo>
                <a:lnTo>
                  <a:pt x="439510" y="126682"/>
                </a:lnTo>
                <a:lnTo>
                  <a:pt x="429552" y="77372"/>
                </a:lnTo>
                <a:lnTo>
                  <a:pt x="402400" y="37104"/>
                </a:lnTo>
                <a:lnTo>
                  <a:pt x="362132" y="9955"/>
                </a:lnTo>
                <a:lnTo>
                  <a:pt x="312827" y="0"/>
                </a:lnTo>
                <a:close/>
              </a:path>
            </a:pathLst>
          </a:custGeom>
          <a:solidFill>
            <a:srgbClr val="0E5C77">
              <a:alpha val="19999"/>
            </a:srgbClr>
          </a:solidFill>
        </p:spPr>
        <p:txBody>
          <a:bodyPr wrap="square" lIns="0" tIns="0" rIns="0" bIns="0" rtlCol="0"/>
          <a:lstStyle/>
          <a:p>
            <a:endParaRPr/>
          </a:p>
        </p:txBody>
      </p:sp>
    </p:spTree>
    <p:extLst>
      <p:ext uri="{BB962C8B-B14F-4D97-AF65-F5344CB8AC3E}">
        <p14:creationId xmlns:p14="http://schemas.microsoft.com/office/powerpoint/2010/main" val="1436824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0AF5EC-C3A2-AE47-AC58-C795316B7127}"/>
              </a:ext>
            </a:extLst>
          </p:cNvPr>
          <p:cNvSpPr>
            <a:spLocks noGrp="1"/>
          </p:cNvSpPr>
          <p:nvPr>
            <p:ph type="title"/>
          </p:nvPr>
        </p:nvSpPr>
        <p:spPr>
          <a:xfrm>
            <a:off x="744122" y="593213"/>
            <a:ext cx="8904068" cy="752109"/>
          </a:xfrm>
        </p:spPr>
        <p:txBody>
          <a:bodyPr anchor="b">
            <a:normAutofit/>
          </a:bodyPr>
          <a:lstStyle>
            <a:lvl1pPr>
              <a:defRPr sz="4400">
                <a:solidFill>
                  <a:schemeClr val="accent1"/>
                </a:solidFill>
                <a:latin typeface="Quicksand" pitchFamily="2" charset="0"/>
              </a:defRPr>
            </a:lvl1pPr>
          </a:lstStyle>
          <a:p>
            <a:r>
              <a:rPr lang="en-US" dirty="0"/>
              <a:t>Click to edit Master title style</a:t>
            </a:r>
            <a:endParaRPr lang="en-GB" dirty="0"/>
          </a:p>
        </p:txBody>
      </p:sp>
      <p:grpSp>
        <p:nvGrpSpPr>
          <p:cNvPr id="4" name="object 41">
            <a:extLst>
              <a:ext uri="{FF2B5EF4-FFF2-40B4-BE49-F238E27FC236}">
                <a16:creationId xmlns:a16="http://schemas.microsoft.com/office/drawing/2014/main" id="{FBC006D3-0A54-93B6-4CCC-16B74A7470A7}"/>
              </a:ext>
            </a:extLst>
          </p:cNvPr>
          <p:cNvGrpSpPr/>
          <p:nvPr userDrawn="1"/>
        </p:nvGrpSpPr>
        <p:grpSpPr>
          <a:xfrm>
            <a:off x="10681097" y="5820975"/>
            <a:ext cx="651156" cy="708550"/>
            <a:chOff x="5598848" y="1620229"/>
            <a:chExt cx="2190115" cy="2383155"/>
          </a:xfrm>
        </p:grpSpPr>
        <p:pic>
          <p:nvPicPr>
            <p:cNvPr id="5" name="object 42">
              <a:extLst>
                <a:ext uri="{FF2B5EF4-FFF2-40B4-BE49-F238E27FC236}">
                  <a16:creationId xmlns:a16="http://schemas.microsoft.com/office/drawing/2014/main" id="{3DC9DC2C-26DF-CC61-5EF9-0D16A177B12B}"/>
                </a:ext>
              </a:extLst>
            </p:cNvPr>
            <p:cNvPicPr/>
            <p:nvPr/>
          </p:nvPicPr>
          <p:blipFill>
            <a:blip r:embed="rId2" cstate="print"/>
            <a:stretch>
              <a:fillRect/>
            </a:stretch>
          </p:blipFill>
          <p:spPr>
            <a:xfrm>
              <a:off x="7161630" y="1899091"/>
              <a:ext cx="113817" cy="115671"/>
            </a:xfrm>
            <a:prstGeom prst="rect">
              <a:avLst/>
            </a:prstGeom>
          </p:spPr>
        </p:pic>
        <p:pic>
          <p:nvPicPr>
            <p:cNvPr id="6" name="object 43">
              <a:extLst>
                <a:ext uri="{FF2B5EF4-FFF2-40B4-BE49-F238E27FC236}">
                  <a16:creationId xmlns:a16="http://schemas.microsoft.com/office/drawing/2014/main" id="{DE522677-B305-5913-4089-A926AF11D491}"/>
                </a:ext>
              </a:extLst>
            </p:cNvPr>
            <p:cNvPicPr/>
            <p:nvPr/>
          </p:nvPicPr>
          <p:blipFill>
            <a:blip r:embed="rId3" cstate="print"/>
            <a:stretch>
              <a:fillRect/>
            </a:stretch>
          </p:blipFill>
          <p:spPr>
            <a:xfrm>
              <a:off x="5598848" y="1620229"/>
              <a:ext cx="2189904" cy="2382902"/>
            </a:xfrm>
            <a:prstGeom prst="rect">
              <a:avLst/>
            </a:prstGeom>
          </p:spPr>
        </p:pic>
        <p:pic>
          <p:nvPicPr>
            <p:cNvPr id="7" name="object 44">
              <a:extLst>
                <a:ext uri="{FF2B5EF4-FFF2-40B4-BE49-F238E27FC236}">
                  <a16:creationId xmlns:a16="http://schemas.microsoft.com/office/drawing/2014/main" id="{54E2F8A9-7845-E09E-8B79-723848C5AA1D}"/>
                </a:ext>
              </a:extLst>
            </p:cNvPr>
            <p:cNvPicPr/>
            <p:nvPr/>
          </p:nvPicPr>
          <p:blipFill>
            <a:blip r:embed="rId4" cstate="print"/>
            <a:stretch>
              <a:fillRect/>
            </a:stretch>
          </p:blipFill>
          <p:spPr>
            <a:xfrm>
              <a:off x="6871611" y="1669224"/>
              <a:ext cx="175945" cy="178803"/>
            </a:xfrm>
            <a:prstGeom prst="rect">
              <a:avLst/>
            </a:prstGeom>
          </p:spPr>
        </p:pic>
      </p:grpSp>
      <p:grpSp>
        <p:nvGrpSpPr>
          <p:cNvPr id="8" name="Group 7">
            <a:extLst>
              <a:ext uri="{FF2B5EF4-FFF2-40B4-BE49-F238E27FC236}">
                <a16:creationId xmlns:a16="http://schemas.microsoft.com/office/drawing/2014/main" id="{1FBF597C-A0FC-EE2B-C75A-6AFEBEC69750}"/>
              </a:ext>
            </a:extLst>
          </p:cNvPr>
          <p:cNvGrpSpPr/>
          <p:nvPr userDrawn="1"/>
        </p:nvGrpSpPr>
        <p:grpSpPr>
          <a:xfrm>
            <a:off x="9598" y="4391414"/>
            <a:ext cx="3729812" cy="2464571"/>
            <a:chOff x="9598" y="4391414"/>
            <a:chExt cx="3729812" cy="2464571"/>
          </a:xfrm>
        </p:grpSpPr>
        <p:sp>
          <p:nvSpPr>
            <p:cNvPr id="9" name="object 3">
              <a:extLst>
                <a:ext uri="{FF2B5EF4-FFF2-40B4-BE49-F238E27FC236}">
                  <a16:creationId xmlns:a16="http://schemas.microsoft.com/office/drawing/2014/main" id="{8FECB771-16CA-A0E5-0DFE-DEA5D2B1B8F4}"/>
                </a:ext>
              </a:extLst>
            </p:cNvPr>
            <p:cNvSpPr/>
            <p:nvPr/>
          </p:nvSpPr>
          <p:spPr>
            <a:xfrm>
              <a:off x="1102322" y="6790972"/>
              <a:ext cx="599427" cy="64492"/>
            </a:xfrm>
            <a:custGeom>
              <a:avLst/>
              <a:gdLst/>
              <a:ahLst/>
              <a:cxnLst/>
              <a:rect l="l" t="t" r="r" b="b"/>
              <a:pathLst>
                <a:path w="661035" h="71120">
                  <a:moveTo>
                    <a:pt x="547984" y="0"/>
                  </a:moveTo>
                  <a:lnTo>
                    <a:pt x="112463" y="0"/>
                  </a:lnTo>
                  <a:lnTo>
                    <a:pt x="63146" y="9955"/>
                  </a:lnTo>
                  <a:lnTo>
                    <a:pt x="22888" y="37104"/>
                  </a:lnTo>
                  <a:lnTo>
                    <a:pt x="0" y="71071"/>
                  </a:lnTo>
                  <a:lnTo>
                    <a:pt x="660448" y="71071"/>
                  </a:lnTo>
                  <a:lnTo>
                    <a:pt x="637559" y="37104"/>
                  </a:lnTo>
                  <a:lnTo>
                    <a:pt x="597301" y="9955"/>
                  </a:lnTo>
                  <a:lnTo>
                    <a:pt x="547984" y="0"/>
                  </a:lnTo>
                  <a:close/>
                </a:path>
              </a:pathLst>
            </a:custGeom>
            <a:solidFill>
              <a:srgbClr val="00AFFF">
                <a:alpha val="23999"/>
              </a:srgbClr>
            </a:solidFill>
          </p:spPr>
          <p:txBody>
            <a:bodyPr wrap="square" lIns="0" tIns="0" rIns="0" bIns="0" rtlCol="0"/>
            <a:lstStyle/>
            <a:p>
              <a:endParaRPr/>
            </a:p>
          </p:txBody>
        </p:sp>
        <p:sp>
          <p:nvSpPr>
            <p:cNvPr id="10" name="object 4">
              <a:extLst>
                <a:ext uri="{FF2B5EF4-FFF2-40B4-BE49-F238E27FC236}">
                  <a16:creationId xmlns:a16="http://schemas.microsoft.com/office/drawing/2014/main" id="{D3CA8ECF-9710-8720-2CD0-DA636B54B0B5}"/>
                </a:ext>
              </a:extLst>
            </p:cNvPr>
            <p:cNvSpPr/>
            <p:nvPr/>
          </p:nvSpPr>
          <p:spPr>
            <a:xfrm>
              <a:off x="1847987" y="6161548"/>
              <a:ext cx="770445" cy="694437"/>
            </a:xfrm>
            <a:custGeom>
              <a:avLst/>
              <a:gdLst/>
              <a:ahLst/>
              <a:cxnLst/>
              <a:rect l="l" t="t" r="r" b="b"/>
              <a:pathLst>
                <a:path w="849630" h="765809">
                  <a:moveTo>
                    <a:pt x="277797" y="0"/>
                  </a:moveTo>
                  <a:lnTo>
                    <a:pt x="232138" y="10089"/>
                  </a:lnTo>
                  <a:lnTo>
                    <a:pt x="189939" y="31774"/>
                  </a:lnTo>
                  <a:lnTo>
                    <a:pt x="153625" y="64816"/>
                  </a:lnTo>
                  <a:lnTo>
                    <a:pt x="127301" y="106257"/>
                  </a:lnTo>
                  <a:lnTo>
                    <a:pt x="113256" y="151637"/>
                  </a:lnTo>
                  <a:lnTo>
                    <a:pt x="111269" y="198494"/>
                  </a:lnTo>
                  <a:lnTo>
                    <a:pt x="121117" y="244368"/>
                  </a:lnTo>
                  <a:lnTo>
                    <a:pt x="142578" y="286798"/>
                  </a:lnTo>
                  <a:lnTo>
                    <a:pt x="175431" y="323324"/>
                  </a:lnTo>
                  <a:lnTo>
                    <a:pt x="183761" y="330740"/>
                  </a:lnTo>
                  <a:lnTo>
                    <a:pt x="200872" y="347032"/>
                  </a:lnTo>
                  <a:lnTo>
                    <a:pt x="255253" y="405507"/>
                  </a:lnTo>
                  <a:lnTo>
                    <a:pt x="289431" y="447320"/>
                  </a:lnTo>
                  <a:lnTo>
                    <a:pt x="326206" y="497272"/>
                  </a:lnTo>
                  <a:lnTo>
                    <a:pt x="364033" y="555177"/>
                  </a:lnTo>
                  <a:lnTo>
                    <a:pt x="401365" y="620853"/>
                  </a:lnTo>
                  <a:lnTo>
                    <a:pt x="436657" y="694113"/>
                  </a:lnTo>
                  <a:lnTo>
                    <a:pt x="112464" y="694113"/>
                  </a:lnTo>
                  <a:lnTo>
                    <a:pt x="63147" y="704069"/>
                  </a:lnTo>
                  <a:lnTo>
                    <a:pt x="22889" y="731218"/>
                  </a:lnTo>
                  <a:lnTo>
                    <a:pt x="0" y="765186"/>
                  </a:lnTo>
                  <a:lnTo>
                    <a:pt x="849346" y="765186"/>
                  </a:lnTo>
                  <a:lnTo>
                    <a:pt x="828420" y="692250"/>
                  </a:lnTo>
                  <a:lnTo>
                    <a:pt x="808980" y="635413"/>
                  </a:lnTo>
                  <a:lnTo>
                    <a:pt x="787871" y="580991"/>
                  </a:lnTo>
                  <a:lnTo>
                    <a:pt x="765348" y="529010"/>
                  </a:lnTo>
                  <a:lnTo>
                    <a:pt x="741670" y="479497"/>
                  </a:lnTo>
                  <a:lnTo>
                    <a:pt x="717092" y="432480"/>
                  </a:lnTo>
                  <a:lnTo>
                    <a:pt x="691873" y="387985"/>
                  </a:lnTo>
                  <a:lnTo>
                    <a:pt x="666269" y="346039"/>
                  </a:lnTo>
                  <a:lnTo>
                    <a:pt x="640536" y="306670"/>
                  </a:lnTo>
                  <a:lnTo>
                    <a:pt x="614933" y="269906"/>
                  </a:lnTo>
                  <a:lnTo>
                    <a:pt x="589716" y="235772"/>
                  </a:lnTo>
                  <a:lnTo>
                    <a:pt x="565141" y="204296"/>
                  </a:lnTo>
                  <a:lnTo>
                    <a:pt x="518949" y="149427"/>
                  </a:lnTo>
                  <a:lnTo>
                    <a:pt x="478413" y="105516"/>
                  </a:lnTo>
                  <a:lnTo>
                    <a:pt x="445588" y="72781"/>
                  </a:lnTo>
                  <a:lnTo>
                    <a:pt x="411295" y="41702"/>
                  </a:lnTo>
                  <a:lnTo>
                    <a:pt x="369801" y="15566"/>
                  </a:lnTo>
                  <a:lnTo>
                    <a:pt x="324493" y="1745"/>
                  </a:lnTo>
                  <a:lnTo>
                    <a:pt x="277797" y="0"/>
                  </a:lnTo>
                  <a:close/>
                </a:path>
              </a:pathLst>
            </a:custGeom>
            <a:solidFill>
              <a:srgbClr val="00AFFF">
                <a:alpha val="23999"/>
              </a:srgbClr>
            </a:solidFill>
          </p:spPr>
          <p:txBody>
            <a:bodyPr wrap="square" lIns="0" tIns="0" rIns="0" bIns="0" rtlCol="0"/>
            <a:lstStyle/>
            <a:p>
              <a:endParaRPr/>
            </a:p>
          </p:txBody>
        </p:sp>
        <p:sp>
          <p:nvSpPr>
            <p:cNvPr id="11" name="object 5">
              <a:extLst>
                <a:ext uri="{FF2B5EF4-FFF2-40B4-BE49-F238E27FC236}">
                  <a16:creationId xmlns:a16="http://schemas.microsoft.com/office/drawing/2014/main" id="{2862B2D7-BDD5-F2B2-3968-D2FDB60BD32C}"/>
                </a:ext>
              </a:extLst>
            </p:cNvPr>
            <p:cNvSpPr/>
            <p:nvPr/>
          </p:nvSpPr>
          <p:spPr>
            <a:xfrm>
              <a:off x="1441820" y="6005878"/>
              <a:ext cx="347219" cy="352401"/>
            </a:xfrm>
            <a:custGeom>
              <a:avLst/>
              <a:gdLst/>
              <a:ahLst/>
              <a:cxnLst/>
              <a:rect l="l" t="t" r="r" b="b"/>
              <a:pathLst>
                <a:path w="382905" h="388620">
                  <a:moveTo>
                    <a:pt x="191198" y="0"/>
                  </a:moveTo>
                  <a:lnTo>
                    <a:pt x="147357" y="5131"/>
                  </a:lnTo>
                  <a:lnTo>
                    <a:pt x="107112" y="19749"/>
                  </a:lnTo>
                  <a:lnTo>
                    <a:pt x="71611" y="42686"/>
                  </a:lnTo>
                  <a:lnTo>
                    <a:pt x="42002" y="72776"/>
                  </a:lnTo>
                  <a:lnTo>
                    <a:pt x="19432" y="108852"/>
                  </a:lnTo>
                  <a:lnTo>
                    <a:pt x="5049" y="149748"/>
                  </a:lnTo>
                  <a:lnTo>
                    <a:pt x="0" y="194297"/>
                  </a:lnTo>
                  <a:lnTo>
                    <a:pt x="5049" y="238850"/>
                  </a:lnTo>
                  <a:lnTo>
                    <a:pt x="19432" y="279750"/>
                  </a:lnTo>
                  <a:lnTo>
                    <a:pt x="42002" y="315828"/>
                  </a:lnTo>
                  <a:lnTo>
                    <a:pt x="71611" y="345919"/>
                  </a:lnTo>
                  <a:lnTo>
                    <a:pt x="107112" y="368857"/>
                  </a:lnTo>
                  <a:lnTo>
                    <a:pt x="147357" y="383475"/>
                  </a:lnTo>
                  <a:lnTo>
                    <a:pt x="191198" y="388607"/>
                  </a:lnTo>
                  <a:lnTo>
                    <a:pt x="235039" y="383475"/>
                  </a:lnTo>
                  <a:lnTo>
                    <a:pt x="275284" y="368857"/>
                  </a:lnTo>
                  <a:lnTo>
                    <a:pt x="310785" y="345919"/>
                  </a:lnTo>
                  <a:lnTo>
                    <a:pt x="340394" y="315828"/>
                  </a:lnTo>
                  <a:lnTo>
                    <a:pt x="362964" y="279750"/>
                  </a:lnTo>
                  <a:lnTo>
                    <a:pt x="377347" y="238850"/>
                  </a:lnTo>
                  <a:lnTo>
                    <a:pt x="382397" y="194297"/>
                  </a:lnTo>
                  <a:lnTo>
                    <a:pt x="377347" y="149748"/>
                  </a:lnTo>
                  <a:lnTo>
                    <a:pt x="362964" y="108852"/>
                  </a:lnTo>
                  <a:lnTo>
                    <a:pt x="340394" y="72776"/>
                  </a:lnTo>
                  <a:lnTo>
                    <a:pt x="310785" y="42686"/>
                  </a:lnTo>
                  <a:lnTo>
                    <a:pt x="275284" y="19749"/>
                  </a:lnTo>
                  <a:lnTo>
                    <a:pt x="235039" y="5131"/>
                  </a:lnTo>
                  <a:lnTo>
                    <a:pt x="191198" y="0"/>
                  </a:lnTo>
                  <a:close/>
                </a:path>
              </a:pathLst>
            </a:custGeom>
            <a:solidFill>
              <a:srgbClr val="00AFFF">
                <a:alpha val="23999"/>
              </a:srgbClr>
            </a:solidFill>
          </p:spPr>
          <p:txBody>
            <a:bodyPr wrap="square" lIns="0" tIns="0" rIns="0" bIns="0" rtlCol="0"/>
            <a:lstStyle/>
            <a:p>
              <a:endParaRPr/>
            </a:p>
          </p:txBody>
        </p:sp>
        <p:sp>
          <p:nvSpPr>
            <p:cNvPr id="12" name="object 6">
              <a:extLst>
                <a:ext uri="{FF2B5EF4-FFF2-40B4-BE49-F238E27FC236}">
                  <a16:creationId xmlns:a16="http://schemas.microsoft.com/office/drawing/2014/main" id="{2D450728-55B2-39CD-7B12-8A800D0D1A22}"/>
                </a:ext>
              </a:extLst>
            </p:cNvPr>
            <p:cNvSpPr/>
            <p:nvPr/>
          </p:nvSpPr>
          <p:spPr>
            <a:xfrm>
              <a:off x="2512448" y="5841762"/>
              <a:ext cx="347219" cy="352401"/>
            </a:xfrm>
            <a:custGeom>
              <a:avLst/>
              <a:gdLst/>
              <a:ahLst/>
              <a:cxnLst/>
              <a:rect l="l" t="t" r="r" b="b"/>
              <a:pathLst>
                <a:path w="382905" h="388620">
                  <a:moveTo>
                    <a:pt x="191198" y="0"/>
                  </a:moveTo>
                  <a:lnTo>
                    <a:pt x="147357" y="5131"/>
                  </a:lnTo>
                  <a:lnTo>
                    <a:pt x="107112" y="19749"/>
                  </a:lnTo>
                  <a:lnTo>
                    <a:pt x="71611" y="42687"/>
                  </a:lnTo>
                  <a:lnTo>
                    <a:pt x="42002" y="72778"/>
                  </a:lnTo>
                  <a:lnTo>
                    <a:pt x="19432" y="108857"/>
                  </a:lnTo>
                  <a:lnTo>
                    <a:pt x="5049" y="149756"/>
                  </a:lnTo>
                  <a:lnTo>
                    <a:pt x="0" y="194310"/>
                  </a:lnTo>
                  <a:lnTo>
                    <a:pt x="5049" y="238863"/>
                  </a:lnTo>
                  <a:lnTo>
                    <a:pt x="19432" y="279762"/>
                  </a:lnTo>
                  <a:lnTo>
                    <a:pt x="42002" y="315841"/>
                  </a:lnTo>
                  <a:lnTo>
                    <a:pt x="71611" y="345932"/>
                  </a:lnTo>
                  <a:lnTo>
                    <a:pt x="107112" y="368870"/>
                  </a:lnTo>
                  <a:lnTo>
                    <a:pt x="147357" y="383488"/>
                  </a:lnTo>
                  <a:lnTo>
                    <a:pt x="191198" y="388620"/>
                  </a:lnTo>
                  <a:lnTo>
                    <a:pt x="235035" y="383488"/>
                  </a:lnTo>
                  <a:lnTo>
                    <a:pt x="275279" y="368870"/>
                  </a:lnTo>
                  <a:lnTo>
                    <a:pt x="310779" y="345932"/>
                  </a:lnTo>
                  <a:lnTo>
                    <a:pt x="340390" y="315841"/>
                  </a:lnTo>
                  <a:lnTo>
                    <a:pt x="362961" y="279762"/>
                  </a:lnTo>
                  <a:lnTo>
                    <a:pt x="377346" y="238863"/>
                  </a:lnTo>
                  <a:lnTo>
                    <a:pt x="382397" y="194310"/>
                  </a:lnTo>
                  <a:lnTo>
                    <a:pt x="377346" y="149756"/>
                  </a:lnTo>
                  <a:lnTo>
                    <a:pt x="362961" y="108857"/>
                  </a:lnTo>
                  <a:lnTo>
                    <a:pt x="340390" y="72778"/>
                  </a:lnTo>
                  <a:lnTo>
                    <a:pt x="310779" y="42687"/>
                  </a:lnTo>
                  <a:lnTo>
                    <a:pt x="275279" y="19749"/>
                  </a:lnTo>
                  <a:lnTo>
                    <a:pt x="235035" y="5131"/>
                  </a:lnTo>
                  <a:lnTo>
                    <a:pt x="191198" y="0"/>
                  </a:lnTo>
                  <a:close/>
                </a:path>
              </a:pathLst>
            </a:custGeom>
            <a:solidFill>
              <a:srgbClr val="00AFFF">
                <a:alpha val="23999"/>
              </a:srgbClr>
            </a:solidFill>
          </p:spPr>
          <p:txBody>
            <a:bodyPr wrap="square" lIns="0" tIns="0" rIns="0" bIns="0" rtlCol="0"/>
            <a:lstStyle/>
            <a:p>
              <a:endParaRPr/>
            </a:p>
          </p:txBody>
        </p:sp>
        <p:sp>
          <p:nvSpPr>
            <p:cNvPr id="13" name="object 7">
              <a:extLst>
                <a:ext uri="{FF2B5EF4-FFF2-40B4-BE49-F238E27FC236}">
                  <a16:creationId xmlns:a16="http://schemas.microsoft.com/office/drawing/2014/main" id="{14B3E2E4-7B25-7179-7814-2E18247203F3}"/>
                </a:ext>
              </a:extLst>
            </p:cNvPr>
            <p:cNvSpPr/>
            <p:nvPr/>
          </p:nvSpPr>
          <p:spPr>
            <a:xfrm>
              <a:off x="2387729" y="5241019"/>
              <a:ext cx="347219" cy="352401"/>
            </a:xfrm>
            <a:custGeom>
              <a:avLst/>
              <a:gdLst/>
              <a:ahLst/>
              <a:cxnLst/>
              <a:rect l="l" t="t" r="r" b="b"/>
              <a:pathLst>
                <a:path w="382905" h="388620">
                  <a:moveTo>
                    <a:pt x="191198" y="0"/>
                  </a:moveTo>
                  <a:lnTo>
                    <a:pt x="147357" y="5131"/>
                  </a:lnTo>
                  <a:lnTo>
                    <a:pt x="107112" y="19749"/>
                  </a:lnTo>
                  <a:lnTo>
                    <a:pt x="71611" y="42687"/>
                  </a:lnTo>
                  <a:lnTo>
                    <a:pt x="42002" y="72778"/>
                  </a:lnTo>
                  <a:lnTo>
                    <a:pt x="19432" y="108857"/>
                  </a:lnTo>
                  <a:lnTo>
                    <a:pt x="5049" y="149756"/>
                  </a:lnTo>
                  <a:lnTo>
                    <a:pt x="0" y="194309"/>
                  </a:lnTo>
                  <a:lnTo>
                    <a:pt x="5049" y="238863"/>
                  </a:lnTo>
                  <a:lnTo>
                    <a:pt x="19432" y="279762"/>
                  </a:lnTo>
                  <a:lnTo>
                    <a:pt x="42002" y="315841"/>
                  </a:lnTo>
                  <a:lnTo>
                    <a:pt x="71611" y="345932"/>
                  </a:lnTo>
                  <a:lnTo>
                    <a:pt x="107112" y="368870"/>
                  </a:lnTo>
                  <a:lnTo>
                    <a:pt x="147357" y="383488"/>
                  </a:lnTo>
                  <a:lnTo>
                    <a:pt x="191198" y="388619"/>
                  </a:lnTo>
                  <a:lnTo>
                    <a:pt x="235039" y="383488"/>
                  </a:lnTo>
                  <a:lnTo>
                    <a:pt x="275284" y="368870"/>
                  </a:lnTo>
                  <a:lnTo>
                    <a:pt x="310785" y="345932"/>
                  </a:lnTo>
                  <a:lnTo>
                    <a:pt x="340394" y="315841"/>
                  </a:lnTo>
                  <a:lnTo>
                    <a:pt x="362964" y="279762"/>
                  </a:lnTo>
                  <a:lnTo>
                    <a:pt x="377347" y="238863"/>
                  </a:lnTo>
                  <a:lnTo>
                    <a:pt x="382397" y="194309"/>
                  </a:lnTo>
                  <a:lnTo>
                    <a:pt x="377347" y="149756"/>
                  </a:lnTo>
                  <a:lnTo>
                    <a:pt x="362964" y="108857"/>
                  </a:lnTo>
                  <a:lnTo>
                    <a:pt x="340394" y="72778"/>
                  </a:lnTo>
                  <a:lnTo>
                    <a:pt x="310785" y="42687"/>
                  </a:lnTo>
                  <a:lnTo>
                    <a:pt x="275284" y="19749"/>
                  </a:lnTo>
                  <a:lnTo>
                    <a:pt x="235039" y="5131"/>
                  </a:lnTo>
                  <a:lnTo>
                    <a:pt x="191198" y="0"/>
                  </a:lnTo>
                  <a:close/>
                </a:path>
              </a:pathLst>
            </a:custGeom>
            <a:solidFill>
              <a:srgbClr val="00AFFF">
                <a:alpha val="23999"/>
              </a:srgbClr>
            </a:solidFill>
          </p:spPr>
          <p:txBody>
            <a:bodyPr wrap="square" lIns="0" tIns="0" rIns="0" bIns="0" rtlCol="0"/>
            <a:lstStyle/>
            <a:p>
              <a:endParaRPr/>
            </a:p>
          </p:txBody>
        </p:sp>
        <p:sp>
          <p:nvSpPr>
            <p:cNvPr id="14" name="object 8">
              <a:extLst>
                <a:ext uri="{FF2B5EF4-FFF2-40B4-BE49-F238E27FC236}">
                  <a16:creationId xmlns:a16="http://schemas.microsoft.com/office/drawing/2014/main" id="{2CFC7019-072F-B9FC-DA69-CEFBC5ABD001}"/>
                </a:ext>
              </a:extLst>
            </p:cNvPr>
            <p:cNvSpPr/>
            <p:nvPr/>
          </p:nvSpPr>
          <p:spPr>
            <a:xfrm>
              <a:off x="1721136" y="5383874"/>
              <a:ext cx="415741" cy="422651"/>
            </a:xfrm>
            <a:custGeom>
              <a:avLst/>
              <a:gdLst/>
              <a:ahLst/>
              <a:cxnLst/>
              <a:rect l="l" t="t" r="r" b="b"/>
              <a:pathLst>
                <a:path w="458469" h="466089">
                  <a:moveTo>
                    <a:pt x="229044" y="0"/>
                  </a:moveTo>
                  <a:lnTo>
                    <a:pt x="182885" y="4728"/>
                  </a:lnTo>
                  <a:lnTo>
                    <a:pt x="139892" y="18290"/>
                  </a:lnTo>
                  <a:lnTo>
                    <a:pt x="100986" y="39750"/>
                  </a:lnTo>
                  <a:lnTo>
                    <a:pt x="67087" y="68172"/>
                  </a:lnTo>
                  <a:lnTo>
                    <a:pt x="39118" y="102620"/>
                  </a:lnTo>
                  <a:lnTo>
                    <a:pt x="18000" y="142158"/>
                  </a:lnTo>
                  <a:lnTo>
                    <a:pt x="4653" y="185852"/>
                  </a:lnTo>
                  <a:lnTo>
                    <a:pt x="0" y="232765"/>
                  </a:lnTo>
                  <a:lnTo>
                    <a:pt x="4653" y="279679"/>
                  </a:lnTo>
                  <a:lnTo>
                    <a:pt x="18000" y="323374"/>
                  </a:lnTo>
                  <a:lnTo>
                    <a:pt x="39118" y="362915"/>
                  </a:lnTo>
                  <a:lnTo>
                    <a:pt x="67087" y="397365"/>
                  </a:lnTo>
                  <a:lnTo>
                    <a:pt x="100986" y="425789"/>
                  </a:lnTo>
                  <a:lnTo>
                    <a:pt x="139892" y="447251"/>
                  </a:lnTo>
                  <a:lnTo>
                    <a:pt x="182885" y="460814"/>
                  </a:lnTo>
                  <a:lnTo>
                    <a:pt x="229044" y="465543"/>
                  </a:lnTo>
                  <a:lnTo>
                    <a:pt x="275207" y="460814"/>
                  </a:lnTo>
                  <a:lnTo>
                    <a:pt x="318203" y="447251"/>
                  </a:lnTo>
                  <a:lnTo>
                    <a:pt x="357112" y="425789"/>
                  </a:lnTo>
                  <a:lnTo>
                    <a:pt x="391012" y="397365"/>
                  </a:lnTo>
                  <a:lnTo>
                    <a:pt x="418982" y="362915"/>
                  </a:lnTo>
                  <a:lnTo>
                    <a:pt x="440101" y="323374"/>
                  </a:lnTo>
                  <a:lnTo>
                    <a:pt x="453448" y="279679"/>
                  </a:lnTo>
                  <a:lnTo>
                    <a:pt x="458101" y="232765"/>
                  </a:lnTo>
                  <a:lnTo>
                    <a:pt x="453448" y="185852"/>
                  </a:lnTo>
                  <a:lnTo>
                    <a:pt x="440101" y="142158"/>
                  </a:lnTo>
                  <a:lnTo>
                    <a:pt x="418982" y="102620"/>
                  </a:lnTo>
                  <a:lnTo>
                    <a:pt x="391012" y="68172"/>
                  </a:lnTo>
                  <a:lnTo>
                    <a:pt x="357112" y="39750"/>
                  </a:lnTo>
                  <a:lnTo>
                    <a:pt x="318203" y="18290"/>
                  </a:lnTo>
                  <a:lnTo>
                    <a:pt x="275207" y="4728"/>
                  </a:lnTo>
                  <a:lnTo>
                    <a:pt x="229044" y="0"/>
                  </a:lnTo>
                  <a:close/>
                </a:path>
              </a:pathLst>
            </a:custGeom>
            <a:solidFill>
              <a:srgbClr val="00AFFF">
                <a:alpha val="23999"/>
              </a:srgbClr>
            </a:solidFill>
          </p:spPr>
          <p:txBody>
            <a:bodyPr wrap="square" lIns="0" tIns="0" rIns="0" bIns="0" rtlCol="0"/>
            <a:lstStyle/>
            <a:p>
              <a:endParaRPr/>
            </a:p>
          </p:txBody>
        </p:sp>
        <p:sp>
          <p:nvSpPr>
            <p:cNvPr id="15" name="object 9">
              <a:extLst>
                <a:ext uri="{FF2B5EF4-FFF2-40B4-BE49-F238E27FC236}">
                  <a16:creationId xmlns:a16="http://schemas.microsoft.com/office/drawing/2014/main" id="{EA3EC4CC-0D07-2030-5906-D47FB104B0F3}"/>
                </a:ext>
              </a:extLst>
            </p:cNvPr>
            <p:cNvSpPr/>
            <p:nvPr/>
          </p:nvSpPr>
          <p:spPr>
            <a:xfrm>
              <a:off x="3097372" y="6327434"/>
              <a:ext cx="642038" cy="528026"/>
            </a:xfrm>
            <a:custGeom>
              <a:avLst/>
              <a:gdLst/>
              <a:ahLst/>
              <a:cxnLst/>
              <a:rect l="l" t="t" r="r" b="b"/>
              <a:pathLst>
                <a:path w="708025" h="582295">
                  <a:moveTo>
                    <a:pt x="353898" y="0"/>
                  </a:moveTo>
                  <a:lnTo>
                    <a:pt x="305876" y="3283"/>
                  </a:lnTo>
                  <a:lnTo>
                    <a:pt x="259817" y="12847"/>
                  </a:lnTo>
                  <a:lnTo>
                    <a:pt x="216144" y="28263"/>
                  </a:lnTo>
                  <a:lnTo>
                    <a:pt x="175278" y="49103"/>
                  </a:lnTo>
                  <a:lnTo>
                    <a:pt x="137641" y="74938"/>
                  </a:lnTo>
                  <a:lnTo>
                    <a:pt x="103654" y="105340"/>
                  </a:lnTo>
                  <a:lnTo>
                    <a:pt x="73739" y="139879"/>
                  </a:lnTo>
                  <a:lnTo>
                    <a:pt x="48317" y="178129"/>
                  </a:lnTo>
                  <a:lnTo>
                    <a:pt x="27811" y="219659"/>
                  </a:lnTo>
                  <a:lnTo>
                    <a:pt x="12641" y="264042"/>
                  </a:lnTo>
                  <a:lnTo>
                    <a:pt x="3230" y="310849"/>
                  </a:lnTo>
                  <a:lnTo>
                    <a:pt x="0" y="359651"/>
                  </a:lnTo>
                  <a:lnTo>
                    <a:pt x="3230" y="408453"/>
                  </a:lnTo>
                  <a:lnTo>
                    <a:pt x="12641" y="455260"/>
                  </a:lnTo>
                  <a:lnTo>
                    <a:pt x="27811" y="499643"/>
                  </a:lnTo>
                  <a:lnTo>
                    <a:pt x="48317" y="541173"/>
                  </a:lnTo>
                  <a:lnTo>
                    <a:pt x="73739" y="579422"/>
                  </a:lnTo>
                  <a:lnTo>
                    <a:pt x="76190" y="582253"/>
                  </a:lnTo>
                  <a:lnTo>
                    <a:pt x="631605" y="582253"/>
                  </a:lnTo>
                  <a:lnTo>
                    <a:pt x="659479" y="541173"/>
                  </a:lnTo>
                  <a:lnTo>
                    <a:pt x="679985" y="499643"/>
                  </a:lnTo>
                  <a:lnTo>
                    <a:pt x="695154" y="455260"/>
                  </a:lnTo>
                  <a:lnTo>
                    <a:pt x="704565" y="408453"/>
                  </a:lnTo>
                  <a:lnTo>
                    <a:pt x="707796" y="359651"/>
                  </a:lnTo>
                  <a:lnTo>
                    <a:pt x="704565" y="310849"/>
                  </a:lnTo>
                  <a:lnTo>
                    <a:pt x="695154" y="264042"/>
                  </a:lnTo>
                  <a:lnTo>
                    <a:pt x="679985" y="219659"/>
                  </a:lnTo>
                  <a:lnTo>
                    <a:pt x="659479" y="178129"/>
                  </a:lnTo>
                  <a:lnTo>
                    <a:pt x="634057" y="139879"/>
                  </a:lnTo>
                  <a:lnTo>
                    <a:pt x="604142" y="105340"/>
                  </a:lnTo>
                  <a:lnTo>
                    <a:pt x="570155" y="74938"/>
                  </a:lnTo>
                  <a:lnTo>
                    <a:pt x="532517" y="49103"/>
                  </a:lnTo>
                  <a:lnTo>
                    <a:pt x="491651" y="28263"/>
                  </a:lnTo>
                  <a:lnTo>
                    <a:pt x="447978" y="12847"/>
                  </a:lnTo>
                  <a:lnTo>
                    <a:pt x="401920" y="3283"/>
                  </a:lnTo>
                  <a:lnTo>
                    <a:pt x="353898" y="0"/>
                  </a:lnTo>
                  <a:close/>
                </a:path>
              </a:pathLst>
            </a:custGeom>
            <a:solidFill>
              <a:srgbClr val="00AFFF">
                <a:alpha val="23999"/>
              </a:srgbClr>
            </a:solidFill>
          </p:spPr>
          <p:txBody>
            <a:bodyPr wrap="square" lIns="0" tIns="0" rIns="0" bIns="0" rtlCol="0"/>
            <a:lstStyle/>
            <a:p>
              <a:endParaRPr/>
            </a:p>
          </p:txBody>
        </p:sp>
        <p:sp>
          <p:nvSpPr>
            <p:cNvPr id="16" name="object 10">
              <a:extLst>
                <a:ext uri="{FF2B5EF4-FFF2-40B4-BE49-F238E27FC236}">
                  <a16:creationId xmlns:a16="http://schemas.microsoft.com/office/drawing/2014/main" id="{DB3AFB29-2CA1-6E61-DF86-C2BFC5F2BB0C}"/>
                </a:ext>
              </a:extLst>
            </p:cNvPr>
            <p:cNvSpPr/>
            <p:nvPr/>
          </p:nvSpPr>
          <p:spPr>
            <a:xfrm>
              <a:off x="1504163" y="4540703"/>
              <a:ext cx="536087" cy="545300"/>
            </a:xfrm>
            <a:custGeom>
              <a:avLst/>
              <a:gdLst/>
              <a:ahLst/>
              <a:cxnLst/>
              <a:rect l="l" t="t" r="r" b="b"/>
              <a:pathLst>
                <a:path w="591185" h="601345">
                  <a:moveTo>
                    <a:pt x="295554" y="0"/>
                  </a:moveTo>
                  <a:lnTo>
                    <a:pt x="247613" y="3930"/>
                  </a:lnTo>
                  <a:lnTo>
                    <a:pt x="202135" y="15311"/>
                  </a:lnTo>
                  <a:lnTo>
                    <a:pt x="159728" y="33523"/>
                  </a:lnTo>
                  <a:lnTo>
                    <a:pt x="121002" y="57949"/>
                  </a:lnTo>
                  <a:lnTo>
                    <a:pt x="86564" y="87969"/>
                  </a:lnTo>
                  <a:lnTo>
                    <a:pt x="57024" y="122966"/>
                  </a:lnTo>
                  <a:lnTo>
                    <a:pt x="32988" y="162321"/>
                  </a:lnTo>
                  <a:lnTo>
                    <a:pt x="15067" y="205417"/>
                  </a:lnTo>
                  <a:lnTo>
                    <a:pt x="3868" y="251634"/>
                  </a:lnTo>
                  <a:lnTo>
                    <a:pt x="0" y="300354"/>
                  </a:lnTo>
                  <a:lnTo>
                    <a:pt x="3868" y="349075"/>
                  </a:lnTo>
                  <a:lnTo>
                    <a:pt x="15067" y="395294"/>
                  </a:lnTo>
                  <a:lnTo>
                    <a:pt x="32988" y="438390"/>
                  </a:lnTo>
                  <a:lnTo>
                    <a:pt x="57024" y="477747"/>
                  </a:lnTo>
                  <a:lnTo>
                    <a:pt x="86564" y="512746"/>
                  </a:lnTo>
                  <a:lnTo>
                    <a:pt x="121002" y="542768"/>
                  </a:lnTo>
                  <a:lnTo>
                    <a:pt x="159728" y="567195"/>
                  </a:lnTo>
                  <a:lnTo>
                    <a:pt x="202135" y="585409"/>
                  </a:lnTo>
                  <a:lnTo>
                    <a:pt x="247613" y="596791"/>
                  </a:lnTo>
                  <a:lnTo>
                    <a:pt x="295554" y="600722"/>
                  </a:lnTo>
                  <a:lnTo>
                    <a:pt x="343495" y="596791"/>
                  </a:lnTo>
                  <a:lnTo>
                    <a:pt x="388973" y="585409"/>
                  </a:lnTo>
                  <a:lnTo>
                    <a:pt x="431379" y="567195"/>
                  </a:lnTo>
                  <a:lnTo>
                    <a:pt x="470106" y="542768"/>
                  </a:lnTo>
                  <a:lnTo>
                    <a:pt x="504544" y="512746"/>
                  </a:lnTo>
                  <a:lnTo>
                    <a:pt x="534084" y="477747"/>
                  </a:lnTo>
                  <a:lnTo>
                    <a:pt x="558120" y="438390"/>
                  </a:lnTo>
                  <a:lnTo>
                    <a:pt x="576041" y="395294"/>
                  </a:lnTo>
                  <a:lnTo>
                    <a:pt x="587240" y="349075"/>
                  </a:lnTo>
                  <a:lnTo>
                    <a:pt x="591108" y="300354"/>
                  </a:lnTo>
                  <a:lnTo>
                    <a:pt x="587240" y="251634"/>
                  </a:lnTo>
                  <a:lnTo>
                    <a:pt x="576041" y="205417"/>
                  </a:lnTo>
                  <a:lnTo>
                    <a:pt x="558120" y="162321"/>
                  </a:lnTo>
                  <a:lnTo>
                    <a:pt x="534084" y="122966"/>
                  </a:lnTo>
                  <a:lnTo>
                    <a:pt x="504544" y="87969"/>
                  </a:lnTo>
                  <a:lnTo>
                    <a:pt x="470106" y="57949"/>
                  </a:lnTo>
                  <a:lnTo>
                    <a:pt x="431379" y="33523"/>
                  </a:lnTo>
                  <a:lnTo>
                    <a:pt x="388973" y="15311"/>
                  </a:lnTo>
                  <a:lnTo>
                    <a:pt x="343495" y="3930"/>
                  </a:lnTo>
                  <a:lnTo>
                    <a:pt x="295554" y="0"/>
                  </a:lnTo>
                  <a:close/>
                </a:path>
              </a:pathLst>
            </a:custGeom>
            <a:solidFill>
              <a:srgbClr val="00AFFF">
                <a:alpha val="23999"/>
              </a:srgbClr>
            </a:solidFill>
          </p:spPr>
          <p:txBody>
            <a:bodyPr wrap="square" lIns="0" tIns="0" rIns="0" bIns="0" rtlCol="0"/>
            <a:lstStyle/>
            <a:p>
              <a:endParaRPr/>
            </a:p>
          </p:txBody>
        </p:sp>
        <p:sp>
          <p:nvSpPr>
            <p:cNvPr id="17" name="object 11">
              <a:extLst>
                <a:ext uri="{FF2B5EF4-FFF2-40B4-BE49-F238E27FC236}">
                  <a16:creationId xmlns:a16="http://schemas.microsoft.com/office/drawing/2014/main" id="{A1D57932-C3DE-E260-FEA6-803480C75E84}"/>
                </a:ext>
              </a:extLst>
            </p:cNvPr>
            <p:cNvSpPr/>
            <p:nvPr/>
          </p:nvSpPr>
          <p:spPr>
            <a:xfrm>
              <a:off x="9598" y="4391414"/>
              <a:ext cx="1292713" cy="2464504"/>
            </a:xfrm>
            <a:custGeom>
              <a:avLst/>
              <a:gdLst/>
              <a:ahLst/>
              <a:cxnLst/>
              <a:rect l="l" t="t" r="r" b="b"/>
              <a:pathLst>
                <a:path w="1425575" h="2717800">
                  <a:moveTo>
                    <a:pt x="1036905" y="1250138"/>
                  </a:moveTo>
                  <a:lnTo>
                    <a:pt x="7697" y="1250138"/>
                  </a:lnTo>
                  <a:lnTo>
                    <a:pt x="0" y="1251693"/>
                  </a:lnTo>
                  <a:lnTo>
                    <a:pt x="0" y="1501962"/>
                  </a:lnTo>
                  <a:lnTo>
                    <a:pt x="7697" y="1503516"/>
                  </a:lnTo>
                  <a:lnTo>
                    <a:pt x="990626" y="1503516"/>
                  </a:lnTo>
                  <a:lnTo>
                    <a:pt x="972652" y="1549292"/>
                  </a:lnTo>
                  <a:lnTo>
                    <a:pt x="952724" y="1595118"/>
                  </a:lnTo>
                  <a:lnTo>
                    <a:pt x="930908" y="1640986"/>
                  </a:lnTo>
                  <a:lnTo>
                    <a:pt x="907270" y="1686883"/>
                  </a:lnTo>
                  <a:lnTo>
                    <a:pt x="881874" y="1732802"/>
                  </a:lnTo>
                  <a:lnTo>
                    <a:pt x="854786" y="1778731"/>
                  </a:lnTo>
                  <a:lnTo>
                    <a:pt x="826072" y="1824661"/>
                  </a:lnTo>
                  <a:lnTo>
                    <a:pt x="63298" y="1824661"/>
                  </a:lnTo>
                  <a:lnTo>
                    <a:pt x="13987" y="1834618"/>
                  </a:lnTo>
                  <a:lnTo>
                    <a:pt x="0" y="1844050"/>
                  </a:lnTo>
                  <a:lnTo>
                    <a:pt x="0" y="2058640"/>
                  </a:lnTo>
                  <a:lnTo>
                    <a:pt x="13987" y="2068070"/>
                  </a:lnTo>
                  <a:lnTo>
                    <a:pt x="63298" y="2078026"/>
                  </a:lnTo>
                  <a:lnTo>
                    <a:pt x="641478" y="2078026"/>
                  </a:lnTo>
                  <a:lnTo>
                    <a:pt x="610598" y="2115724"/>
                  </a:lnTo>
                  <a:lnTo>
                    <a:pt x="578977" y="2153368"/>
                  </a:lnTo>
                  <a:lnTo>
                    <a:pt x="546654" y="2190951"/>
                  </a:lnTo>
                  <a:lnTo>
                    <a:pt x="513670" y="2228468"/>
                  </a:lnTo>
                  <a:lnTo>
                    <a:pt x="480063" y="2265912"/>
                  </a:lnTo>
                  <a:lnTo>
                    <a:pt x="445873" y="2303278"/>
                  </a:lnTo>
                  <a:lnTo>
                    <a:pt x="411141" y="2340559"/>
                  </a:lnTo>
                  <a:lnTo>
                    <a:pt x="375907" y="2377749"/>
                  </a:lnTo>
                  <a:lnTo>
                    <a:pt x="340209" y="2414843"/>
                  </a:lnTo>
                  <a:lnTo>
                    <a:pt x="304089" y="2451835"/>
                  </a:lnTo>
                  <a:lnTo>
                    <a:pt x="267585" y="2488718"/>
                  </a:lnTo>
                  <a:lnTo>
                    <a:pt x="230738" y="2525486"/>
                  </a:lnTo>
                  <a:lnTo>
                    <a:pt x="193588" y="2562134"/>
                  </a:lnTo>
                  <a:lnTo>
                    <a:pt x="118536" y="2635044"/>
                  </a:lnTo>
                  <a:lnTo>
                    <a:pt x="32318" y="2717250"/>
                  </a:lnTo>
                  <a:lnTo>
                    <a:pt x="559514" y="2717250"/>
                  </a:lnTo>
                  <a:lnTo>
                    <a:pt x="608152" y="2667742"/>
                  </a:lnTo>
                  <a:lnTo>
                    <a:pt x="644609" y="2629983"/>
                  </a:lnTo>
                  <a:lnTo>
                    <a:pt x="680613" y="2592122"/>
                  </a:lnTo>
                  <a:lnTo>
                    <a:pt x="716134" y="2554156"/>
                  </a:lnTo>
                  <a:lnTo>
                    <a:pt x="751143" y="2516081"/>
                  </a:lnTo>
                  <a:lnTo>
                    <a:pt x="785608" y="2477894"/>
                  </a:lnTo>
                  <a:lnTo>
                    <a:pt x="819502" y="2439592"/>
                  </a:lnTo>
                  <a:lnTo>
                    <a:pt x="852793" y="2401172"/>
                  </a:lnTo>
                  <a:lnTo>
                    <a:pt x="885453" y="2362631"/>
                  </a:lnTo>
                  <a:lnTo>
                    <a:pt x="917450" y="2323966"/>
                  </a:lnTo>
                  <a:lnTo>
                    <a:pt x="948756" y="2285174"/>
                  </a:lnTo>
                  <a:lnTo>
                    <a:pt x="979341" y="2246251"/>
                  </a:lnTo>
                  <a:lnTo>
                    <a:pt x="1009174" y="2207195"/>
                  </a:lnTo>
                  <a:lnTo>
                    <a:pt x="1038226" y="2168003"/>
                  </a:lnTo>
                  <a:lnTo>
                    <a:pt x="1066467" y="2128671"/>
                  </a:lnTo>
                  <a:lnTo>
                    <a:pt x="1093868" y="2089196"/>
                  </a:lnTo>
                  <a:lnTo>
                    <a:pt x="1120397" y="2049575"/>
                  </a:lnTo>
                  <a:lnTo>
                    <a:pt x="1146027" y="2009806"/>
                  </a:lnTo>
                  <a:lnTo>
                    <a:pt x="1170726" y="1969884"/>
                  </a:lnTo>
                  <a:lnTo>
                    <a:pt x="1194466" y="1929807"/>
                  </a:lnTo>
                  <a:lnTo>
                    <a:pt x="1217215" y="1889572"/>
                  </a:lnTo>
                  <a:lnTo>
                    <a:pt x="1238945" y="1849176"/>
                  </a:lnTo>
                  <a:lnTo>
                    <a:pt x="1259625" y="1808615"/>
                  </a:lnTo>
                  <a:lnTo>
                    <a:pt x="1279226" y="1767887"/>
                  </a:lnTo>
                  <a:lnTo>
                    <a:pt x="1297718" y="1726988"/>
                  </a:lnTo>
                  <a:lnTo>
                    <a:pt x="1315070" y="1685916"/>
                  </a:lnTo>
                  <a:lnTo>
                    <a:pt x="1331255" y="1644667"/>
                  </a:lnTo>
                  <a:lnTo>
                    <a:pt x="1346240" y="1603237"/>
                  </a:lnTo>
                  <a:lnTo>
                    <a:pt x="1359997" y="1561625"/>
                  </a:lnTo>
                  <a:lnTo>
                    <a:pt x="1372496" y="1519827"/>
                  </a:lnTo>
                  <a:lnTo>
                    <a:pt x="1383707" y="1477840"/>
                  </a:lnTo>
                  <a:lnTo>
                    <a:pt x="1393600" y="1435660"/>
                  </a:lnTo>
                  <a:lnTo>
                    <a:pt x="1402145" y="1393285"/>
                  </a:lnTo>
                  <a:lnTo>
                    <a:pt x="1409313" y="1350711"/>
                  </a:lnTo>
                  <a:lnTo>
                    <a:pt x="1415073" y="1307936"/>
                  </a:lnTo>
                  <a:lnTo>
                    <a:pt x="1420217" y="1252323"/>
                  </a:lnTo>
                  <a:lnTo>
                    <a:pt x="1051129" y="1252323"/>
                  </a:lnTo>
                  <a:lnTo>
                    <a:pt x="1044068" y="1251103"/>
                  </a:lnTo>
                  <a:lnTo>
                    <a:pt x="1036905" y="1250138"/>
                  </a:lnTo>
                  <a:close/>
                </a:path>
                <a:path w="1425575" h="2717800">
                  <a:moveTo>
                    <a:pt x="807014" y="0"/>
                  </a:moveTo>
                  <a:lnTo>
                    <a:pt x="761364" y="10091"/>
                  </a:lnTo>
                  <a:lnTo>
                    <a:pt x="719176" y="31783"/>
                  </a:lnTo>
                  <a:lnTo>
                    <a:pt x="682867" y="64835"/>
                  </a:lnTo>
                  <a:lnTo>
                    <a:pt x="656535" y="106276"/>
                  </a:lnTo>
                  <a:lnTo>
                    <a:pt x="642490" y="151656"/>
                  </a:lnTo>
                  <a:lnTo>
                    <a:pt x="640506" y="198513"/>
                  </a:lnTo>
                  <a:lnTo>
                    <a:pt x="650359" y="244387"/>
                  </a:lnTo>
                  <a:lnTo>
                    <a:pt x="671823" y="286817"/>
                  </a:lnTo>
                  <a:lnTo>
                    <a:pt x="704673" y="323343"/>
                  </a:lnTo>
                  <a:lnTo>
                    <a:pt x="713003" y="330759"/>
                  </a:lnTo>
                  <a:lnTo>
                    <a:pt x="730114" y="347051"/>
                  </a:lnTo>
                  <a:lnTo>
                    <a:pt x="784494" y="405526"/>
                  </a:lnTo>
                  <a:lnTo>
                    <a:pt x="818671" y="447339"/>
                  </a:lnTo>
                  <a:lnTo>
                    <a:pt x="855445" y="497291"/>
                  </a:lnTo>
                  <a:lnTo>
                    <a:pt x="893269" y="555196"/>
                  </a:lnTo>
                  <a:lnTo>
                    <a:pt x="930598" y="620872"/>
                  </a:lnTo>
                  <a:lnTo>
                    <a:pt x="965887" y="694132"/>
                  </a:lnTo>
                  <a:lnTo>
                    <a:pt x="394272" y="694132"/>
                  </a:lnTo>
                  <a:lnTo>
                    <a:pt x="344967" y="704088"/>
                  </a:lnTo>
                  <a:lnTo>
                    <a:pt x="304699" y="731237"/>
                  </a:lnTo>
                  <a:lnTo>
                    <a:pt x="277547" y="771504"/>
                  </a:lnTo>
                  <a:lnTo>
                    <a:pt x="267590" y="820815"/>
                  </a:lnTo>
                  <a:lnTo>
                    <a:pt x="277547" y="870120"/>
                  </a:lnTo>
                  <a:lnTo>
                    <a:pt x="304699" y="910388"/>
                  </a:lnTo>
                  <a:lnTo>
                    <a:pt x="344967" y="937540"/>
                  </a:lnTo>
                  <a:lnTo>
                    <a:pt x="394272" y="947497"/>
                  </a:lnTo>
                  <a:lnTo>
                    <a:pt x="1042074" y="947497"/>
                  </a:lnTo>
                  <a:lnTo>
                    <a:pt x="1049074" y="994539"/>
                  </a:lnTo>
                  <a:lnTo>
                    <a:pt x="1054093" y="1043098"/>
                  </a:lnTo>
                  <a:lnTo>
                    <a:pt x="1056969" y="1093166"/>
                  </a:lnTo>
                  <a:lnTo>
                    <a:pt x="1057542" y="1144733"/>
                  </a:lnTo>
                  <a:lnTo>
                    <a:pt x="1055648" y="1197788"/>
                  </a:lnTo>
                  <a:lnTo>
                    <a:pt x="1051129" y="1252323"/>
                  </a:lnTo>
                  <a:lnTo>
                    <a:pt x="1420217" y="1252323"/>
                  </a:lnTo>
                  <a:lnTo>
                    <a:pt x="1422226" y="1230596"/>
                  </a:lnTo>
                  <a:lnTo>
                    <a:pt x="1425397" y="1155425"/>
                  </a:lnTo>
                  <a:lnTo>
                    <a:pt x="1424842" y="1082452"/>
                  </a:lnTo>
                  <a:lnTo>
                    <a:pt x="1420819" y="1011702"/>
                  </a:lnTo>
                  <a:lnTo>
                    <a:pt x="1413584" y="943204"/>
                  </a:lnTo>
                  <a:lnTo>
                    <a:pt x="1403395" y="876984"/>
                  </a:lnTo>
                  <a:lnTo>
                    <a:pt x="1390507" y="813069"/>
                  </a:lnTo>
                  <a:lnTo>
                    <a:pt x="1375179" y="751487"/>
                  </a:lnTo>
                  <a:lnTo>
                    <a:pt x="1357668" y="692264"/>
                  </a:lnTo>
                  <a:lnTo>
                    <a:pt x="1338229" y="635429"/>
                  </a:lnTo>
                  <a:lnTo>
                    <a:pt x="1317120" y="581007"/>
                  </a:lnTo>
                  <a:lnTo>
                    <a:pt x="1294599" y="529026"/>
                  </a:lnTo>
                  <a:lnTo>
                    <a:pt x="1270922" y="479514"/>
                  </a:lnTo>
                  <a:lnTo>
                    <a:pt x="1246346" y="432497"/>
                  </a:lnTo>
                  <a:lnTo>
                    <a:pt x="1221128" y="388002"/>
                  </a:lnTo>
                  <a:lnTo>
                    <a:pt x="1195525" y="346057"/>
                  </a:lnTo>
                  <a:lnTo>
                    <a:pt x="1169794" y="306688"/>
                  </a:lnTo>
                  <a:lnTo>
                    <a:pt x="1144192" y="269924"/>
                  </a:lnTo>
                  <a:lnTo>
                    <a:pt x="1118976" y="235790"/>
                  </a:lnTo>
                  <a:lnTo>
                    <a:pt x="1094403" y="204314"/>
                  </a:lnTo>
                  <a:lnTo>
                    <a:pt x="1048213" y="149446"/>
                  </a:lnTo>
                  <a:lnTo>
                    <a:pt x="1007678" y="105535"/>
                  </a:lnTo>
                  <a:lnTo>
                    <a:pt x="974854" y="72800"/>
                  </a:lnTo>
                  <a:lnTo>
                    <a:pt x="944574" y="45123"/>
                  </a:lnTo>
                  <a:lnTo>
                    <a:pt x="899031" y="15575"/>
                  </a:lnTo>
                  <a:lnTo>
                    <a:pt x="853709" y="1748"/>
                  </a:lnTo>
                  <a:lnTo>
                    <a:pt x="807014" y="0"/>
                  </a:lnTo>
                  <a:close/>
                </a:path>
              </a:pathLst>
            </a:custGeom>
            <a:solidFill>
              <a:srgbClr val="00AFFF">
                <a:alpha val="23999"/>
              </a:srgbClr>
            </a:solidFill>
          </p:spPr>
          <p:txBody>
            <a:bodyPr wrap="square" lIns="0" tIns="0" rIns="0" bIns="0" rtlCol="0"/>
            <a:lstStyle/>
            <a:p>
              <a:endParaRPr/>
            </a:p>
          </p:txBody>
        </p:sp>
      </p:grpSp>
      <p:sp>
        <p:nvSpPr>
          <p:cNvPr id="3" name="Text Placeholder 2">
            <a:extLst>
              <a:ext uri="{FF2B5EF4-FFF2-40B4-BE49-F238E27FC236}">
                <a16:creationId xmlns:a16="http://schemas.microsoft.com/office/drawing/2014/main" id="{5ADC4885-E653-9F9B-1C72-2AA34FCB44D8}"/>
              </a:ext>
            </a:extLst>
          </p:cNvPr>
          <p:cNvSpPr>
            <a:spLocks noGrp="1"/>
          </p:cNvSpPr>
          <p:nvPr>
            <p:ph type="body" idx="1"/>
          </p:nvPr>
        </p:nvSpPr>
        <p:spPr>
          <a:xfrm>
            <a:off x="760962" y="1882771"/>
            <a:ext cx="9449837" cy="3654430"/>
          </a:xfrm>
        </p:spPr>
        <p:txBody>
          <a:bodyPr>
            <a:normAutofit/>
          </a:bodyPr>
          <a:lstStyle>
            <a:lvl1pPr marL="0" indent="0">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30" name="Footer Placeholder 4">
            <a:extLst>
              <a:ext uri="{FF2B5EF4-FFF2-40B4-BE49-F238E27FC236}">
                <a16:creationId xmlns:a16="http://schemas.microsoft.com/office/drawing/2014/main" id="{02C401B5-B453-3BF0-01CE-3F0F63B03A02}"/>
              </a:ext>
            </a:extLst>
          </p:cNvPr>
          <p:cNvSpPr>
            <a:spLocks noGrp="1"/>
          </p:cNvSpPr>
          <p:nvPr>
            <p:ph type="ftr" sz="quarter" idx="3"/>
          </p:nvPr>
        </p:nvSpPr>
        <p:spPr>
          <a:xfrm>
            <a:off x="751840" y="6114954"/>
            <a:ext cx="8904068" cy="365125"/>
          </a:xfrm>
          <a:prstGeom prst="rect">
            <a:avLst/>
          </a:prstGeom>
        </p:spPr>
        <p:txBody>
          <a:bodyPr/>
          <a:lstStyle>
            <a:lvl1pPr>
              <a:defRPr sz="1400">
                <a:solidFill>
                  <a:schemeClr val="tx2"/>
                </a:solidFill>
              </a:defRPr>
            </a:lvl1pPr>
          </a:lstStyle>
          <a:p>
            <a:endParaRPr lang="en-GB" dirty="0"/>
          </a:p>
        </p:txBody>
      </p:sp>
    </p:spTree>
    <p:extLst>
      <p:ext uri="{BB962C8B-B14F-4D97-AF65-F5344CB8AC3E}">
        <p14:creationId xmlns:p14="http://schemas.microsoft.com/office/powerpoint/2010/main" val="390993554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2D00DCAC-C40F-C3B9-F022-BCEE66A66A0B}"/>
              </a:ext>
            </a:extLst>
          </p:cNvPr>
          <p:cNvSpPr/>
          <p:nvPr userDrawn="1"/>
        </p:nvSpPr>
        <p:spPr>
          <a:xfrm>
            <a:off x="0" y="-4957"/>
            <a:ext cx="12197847" cy="6908925"/>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chemeClr val="accent2"/>
          </a:solidFill>
        </p:spPr>
        <p:txBody>
          <a:bodyPr wrap="square" lIns="0" tIns="0" rIns="0" bIns="0" rtlCol="0"/>
          <a:lstStyle/>
          <a:p>
            <a:endParaRPr sz="2000"/>
          </a:p>
        </p:txBody>
      </p:sp>
      <p:sp>
        <p:nvSpPr>
          <p:cNvPr id="33" name="object 13">
            <a:extLst>
              <a:ext uri="{FF2B5EF4-FFF2-40B4-BE49-F238E27FC236}">
                <a16:creationId xmlns:a16="http://schemas.microsoft.com/office/drawing/2014/main" id="{A0C82D7B-43A0-E7DA-A947-D2D94D26026C}"/>
              </a:ext>
            </a:extLst>
          </p:cNvPr>
          <p:cNvSpPr/>
          <p:nvPr/>
        </p:nvSpPr>
        <p:spPr>
          <a:xfrm rot="10800000">
            <a:off x="11287374" y="7555196"/>
            <a:ext cx="371988" cy="386441"/>
          </a:xfrm>
          <a:custGeom>
            <a:avLst/>
            <a:gdLst/>
            <a:ahLst/>
            <a:cxnLst/>
            <a:rect l="l" t="t" r="r" b="b"/>
            <a:pathLst>
              <a:path w="382905" h="388619">
                <a:moveTo>
                  <a:pt x="191198" y="0"/>
                </a:moveTo>
                <a:lnTo>
                  <a:pt x="147361" y="5131"/>
                </a:lnTo>
                <a:lnTo>
                  <a:pt x="107117" y="19747"/>
                </a:lnTo>
                <a:lnTo>
                  <a:pt x="71617" y="42682"/>
                </a:lnTo>
                <a:lnTo>
                  <a:pt x="42006" y="72771"/>
                </a:lnTo>
                <a:lnTo>
                  <a:pt x="19435" y="108846"/>
                </a:lnTo>
                <a:lnTo>
                  <a:pt x="5050" y="149744"/>
                </a:lnTo>
                <a:lnTo>
                  <a:pt x="0" y="194297"/>
                </a:lnTo>
                <a:lnTo>
                  <a:pt x="5050" y="238850"/>
                </a:lnTo>
                <a:lnTo>
                  <a:pt x="19435" y="279750"/>
                </a:lnTo>
                <a:lnTo>
                  <a:pt x="42006" y="315828"/>
                </a:lnTo>
                <a:lnTo>
                  <a:pt x="71617" y="345919"/>
                </a:lnTo>
                <a:lnTo>
                  <a:pt x="107117" y="368857"/>
                </a:lnTo>
                <a:lnTo>
                  <a:pt x="147361" y="383475"/>
                </a:lnTo>
                <a:lnTo>
                  <a:pt x="191198" y="388607"/>
                </a:lnTo>
                <a:lnTo>
                  <a:pt x="235039" y="383475"/>
                </a:lnTo>
                <a:lnTo>
                  <a:pt x="275284" y="368857"/>
                </a:lnTo>
                <a:lnTo>
                  <a:pt x="310785" y="345919"/>
                </a:lnTo>
                <a:lnTo>
                  <a:pt x="340394" y="315828"/>
                </a:lnTo>
                <a:lnTo>
                  <a:pt x="362964" y="279750"/>
                </a:lnTo>
                <a:lnTo>
                  <a:pt x="377347" y="238850"/>
                </a:lnTo>
                <a:lnTo>
                  <a:pt x="382397" y="194297"/>
                </a:lnTo>
                <a:lnTo>
                  <a:pt x="377347" y="149744"/>
                </a:lnTo>
                <a:lnTo>
                  <a:pt x="362964" y="108846"/>
                </a:lnTo>
                <a:lnTo>
                  <a:pt x="340394" y="72771"/>
                </a:lnTo>
                <a:lnTo>
                  <a:pt x="310785" y="42682"/>
                </a:lnTo>
                <a:lnTo>
                  <a:pt x="275284" y="19747"/>
                </a:lnTo>
                <a:lnTo>
                  <a:pt x="235039" y="5131"/>
                </a:lnTo>
                <a:lnTo>
                  <a:pt x="191198" y="0"/>
                </a:lnTo>
                <a:close/>
              </a:path>
            </a:pathLst>
          </a:custGeom>
          <a:solidFill>
            <a:srgbClr val="0E5C77">
              <a:alpha val="19999"/>
            </a:srgbClr>
          </a:solidFill>
        </p:spPr>
        <p:txBody>
          <a:bodyPr wrap="square" lIns="0" tIns="0" rIns="0" bIns="0" rtlCol="0"/>
          <a:lstStyle/>
          <a:p>
            <a:endParaRPr/>
          </a:p>
        </p:txBody>
      </p:sp>
      <p:sp>
        <p:nvSpPr>
          <p:cNvPr id="34" name="object 14">
            <a:extLst>
              <a:ext uri="{FF2B5EF4-FFF2-40B4-BE49-F238E27FC236}">
                <a16:creationId xmlns:a16="http://schemas.microsoft.com/office/drawing/2014/main" id="{BA238379-38B4-1ED0-2EBC-33F28CE277AE}"/>
              </a:ext>
            </a:extLst>
          </p:cNvPr>
          <p:cNvSpPr/>
          <p:nvPr/>
        </p:nvSpPr>
        <p:spPr>
          <a:xfrm rot="10800000">
            <a:off x="10724100" y="6405519"/>
            <a:ext cx="313382" cy="325822"/>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pic>
        <p:nvPicPr>
          <p:cNvPr id="19" name="Picture 18" descr="A picture containing text&#10;&#10;Description automatically generated">
            <a:extLst>
              <a:ext uri="{FF2B5EF4-FFF2-40B4-BE49-F238E27FC236}">
                <a16:creationId xmlns:a16="http://schemas.microsoft.com/office/drawing/2014/main" id="{912BFDD1-69DB-D848-4E1F-9342E314FF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58512" y="5755005"/>
            <a:ext cx="887325" cy="866809"/>
          </a:xfrm>
          <a:prstGeom prst="rect">
            <a:avLst/>
          </a:prstGeom>
        </p:spPr>
      </p:pic>
      <p:sp>
        <p:nvSpPr>
          <p:cNvPr id="30" name="Footer Placeholder 4">
            <a:extLst>
              <a:ext uri="{FF2B5EF4-FFF2-40B4-BE49-F238E27FC236}">
                <a16:creationId xmlns:a16="http://schemas.microsoft.com/office/drawing/2014/main" id="{02C401B5-B453-3BF0-01CE-3F0F63B03A02}"/>
              </a:ext>
            </a:extLst>
          </p:cNvPr>
          <p:cNvSpPr>
            <a:spLocks noGrp="1"/>
          </p:cNvSpPr>
          <p:nvPr userDrawn="1">
            <p:ph type="ftr" sz="quarter" idx="3"/>
          </p:nvPr>
        </p:nvSpPr>
        <p:spPr>
          <a:xfrm>
            <a:off x="746163" y="6114954"/>
            <a:ext cx="8909745" cy="365125"/>
          </a:xfrm>
          <a:prstGeom prst="rect">
            <a:avLst/>
          </a:prstGeom>
        </p:spPr>
        <p:txBody>
          <a:bodyPr/>
          <a:lstStyle>
            <a:lvl1pPr>
              <a:defRPr sz="1400">
                <a:solidFill>
                  <a:schemeClr val="bg1"/>
                </a:solidFill>
              </a:defRPr>
            </a:lvl1pPr>
          </a:lstStyle>
          <a:p>
            <a:endParaRPr lang="en-GB" dirty="0"/>
          </a:p>
        </p:txBody>
      </p:sp>
      <p:sp>
        <p:nvSpPr>
          <p:cNvPr id="4" name="object 3">
            <a:extLst>
              <a:ext uri="{FF2B5EF4-FFF2-40B4-BE49-F238E27FC236}">
                <a16:creationId xmlns:a16="http://schemas.microsoft.com/office/drawing/2014/main" id="{20B4B95D-64D5-9E5B-BAC5-0B7670771DF2}"/>
              </a:ext>
            </a:extLst>
          </p:cNvPr>
          <p:cNvSpPr/>
          <p:nvPr userDrawn="1"/>
        </p:nvSpPr>
        <p:spPr>
          <a:xfrm>
            <a:off x="9598" y="0"/>
            <a:ext cx="3603472" cy="4812692"/>
          </a:xfrm>
          <a:custGeom>
            <a:avLst/>
            <a:gdLst/>
            <a:ahLst/>
            <a:cxnLst/>
            <a:rect l="l" t="t" r="r" b="b"/>
            <a:pathLst>
              <a:path w="3973829" h="5307330">
                <a:moveTo>
                  <a:pt x="71374" y="1940839"/>
                </a:moveTo>
                <a:lnTo>
                  <a:pt x="65620" y="1897291"/>
                </a:lnTo>
                <a:lnTo>
                  <a:pt x="49364" y="1858149"/>
                </a:lnTo>
                <a:lnTo>
                  <a:pt x="24168" y="1824990"/>
                </a:lnTo>
                <a:lnTo>
                  <a:pt x="0" y="1806016"/>
                </a:lnTo>
                <a:lnTo>
                  <a:pt x="0" y="2075662"/>
                </a:lnTo>
                <a:lnTo>
                  <a:pt x="24168" y="2056688"/>
                </a:lnTo>
                <a:lnTo>
                  <a:pt x="49364" y="2023529"/>
                </a:lnTo>
                <a:lnTo>
                  <a:pt x="65620" y="1984387"/>
                </a:lnTo>
                <a:lnTo>
                  <a:pt x="71374" y="1940839"/>
                </a:lnTo>
                <a:close/>
              </a:path>
              <a:path w="3973829" h="5307330">
                <a:moveTo>
                  <a:pt x="184327" y="5114302"/>
                </a:moveTo>
                <a:lnTo>
                  <a:pt x="176174" y="5068062"/>
                </a:lnTo>
                <a:lnTo>
                  <a:pt x="156235" y="5024856"/>
                </a:lnTo>
                <a:lnTo>
                  <a:pt x="124650" y="4987137"/>
                </a:lnTo>
                <a:lnTo>
                  <a:pt x="116395" y="4979378"/>
                </a:lnTo>
                <a:lnTo>
                  <a:pt x="100291" y="4963541"/>
                </a:lnTo>
                <a:lnTo>
                  <a:pt x="77470" y="4939919"/>
                </a:lnTo>
                <a:lnTo>
                  <a:pt x="49022" y="4908791"/>
                </a:lnTo>
                <a:lnTo>
                  <a:pt x="16103" y="4870462"/>
                </a:lnTo>
                <a:lnTo>
                  <a:pt x="0" y="4850384"/>
                </a:lnTo>
                <a:lnTo>
                  <a:pt x="0" y="5306657"/>
                </a:lnTo>
                <a:lnTo>
                  <a:pt x="38061" y="5302923"/>
                </a:lnTo>
                <a:lnTo>
                  <a:pt x="107365" y="5272710"/>
                </a:lnTo>
                <a:lnTo>
                  <a:pt x="136918" y="5246446"/>
                </a:lnTo>
                <a:lnTo>
                  <a:pt x="164833" y="5205958"/>
                </a:lnTo>
                <a:lnTo>
                  <a:pt x="180594" y="5161089"/>
                </a:lnTo>
                <a:lnTo>
                  <a:pt x="184327" y="5114302"/>
                </a:lnTo>
                <a:close/>
              </a:path>
              <a:path w="3973829" h="5307330">
                <a:moveTo>
                  <a:pt x="293878" y="645617"/>
                </a:moveTo>
                <a:lnTo>
                  <a:pt x="285864" y="595109"/>
                </a:lnTo>
                <a:lnTo>
                  <a:pt x="263537" y="551243"/>
                </a:lnTo>
                <a:lnTo>
                  <a:pt x="229501" y="516661"/>
                </a:lnTo>
                <a:lnTo>
                  <a:pt x="186334" y="493979"/>
                </a:lnTo>
                <a:lnTo>
                  <a:pt x="136639" y="485825"/>
                </a:lnTo>
                <a:lnTo>
                  <a:pt x="86944" y="493979"/>
                </a:lnTo>
                <a:lnTo>
                  <a:pt x="43776" y="516661"/>
                </a:lnTo>
                <a:lnTo>
                  <a:pt x="9740" y="551243"/>
                </a:lnTo>
                <a:lnTo>
                  <a:pt x="0" y="570395"/>
                </a:lnTo>
                <a:lnTo>
                  <a:pt x="0" y="720839"/>
                </a:lnTo>
                <a:lnTo>
                  <a:pt x="9740" y="739990"/>
                </a:lnTo>
                <a:lnTo>
                  <a:pt x="43776" y="774585"/>
                </a:lnTo>
                <a:lnTo>
                  <a:pt x="86944" y="797267"/>
                </a:lnTo>
                <a:lnTo>
                  <a:pt x="136639" y="805408"/>
                </a:lnTo>
                <a:lnTo>
                  <a:pt x="186334" y="797267"/>
                </a:lnTo>
                <a:lnTo>
                  <a:pt x="229501" y="774585"/>
                </a:lnTo>
                <a:lnTo>
                  <a:pt x="263537" y="739990"/>
                </a:lnTo>
                <a:lnTo>
                  <a:pt x="285864" y="696125"/>
                </a:lnTo>
                <a:lnTo>
                  <a:pt x="293878" y="645617"/>
                </a:lnTo>
                <a:close/>
              </a:path>
              <a:path w="3973829" h="5307330">
                <a:moveTo>
                  <a:pt x="503135" y="1213459"/>
                </a:moveTo>
                <a:lnTo>
                  <a:pt x="498081" y="1168908"/>
                </a:lnTo>
                <a:lnTo>
                  <a:pt x="483692" y="1128014"/>
                </a:lnTo>
                <a:lnTo>
                  <a:pt x="461124" y="1091933"/>
                </a:lnTo>
                <a:lnTo>
                  <a:pt x="431520" y="1061834"/>
                </a:lnTo>
                <a:lnTo>
                  <a:pt x="396011" y="1038898"/>
                </a:lnTo>
                <a:lnTo>
                  <a:pt x="355777" y="1024280"/>
                </a:lnTo>
                <a:lnTo>
                  <a:pt x="311937" y="1019149"/>
                </a:lnTo>
                <a:lnTo>
                  <a:pt x="268097" y="1024280"/>
                </a:lnTo>
                <a:lnTo>
                  <a:pt x="227850" y="1038898"/>
                </a:lnTo>
                <a:lnTo>
                  <a:pt x="192354" y="1061834"/>
                </a:lnTo>
                <a:lnTo>
                  <a:pt x="162737" y="1091933"/>
                </a:lnTo>
                <a:lnTo>
                  <a:pt x="140169" y="1128014"/>
                </a:lnTo>
                <a:lnTo>
                  <a:pt x="125780" y="1168908"/>
                </a:lnTo>
                <a:lnTo>
                  <a:pt x="120738" y="1213459"/>
                </a:lnTo>
                <a:lnTo>
                  <a:pt x="125780" y="1258011"/>
                </a:lnTo>
                <a:lnTo>
                  <a:pt x="140169" y="1298917"/>
                </a:lnTo>
                <a:lnTo>
                  <a:pt x="162737" y="1334985"/>
                </a:lnTo>
                <a:lnTo>
                  <a:pt x="192354" y="1365084"/>
                </a:lnTo>
                <a:lnTo>
                  <a:pt x="227850" y="1388021"/>
                </a:lnTo>
                <a:lnTo>
                  <a:pt x="268097" y="1402638"/>
                </a:lnTo>
                <a:lnTo>
                  <a:pt x="311937" y="1407769"/>
                </a:lnTo>
                <a:lnTo>
                  <a:pt x="355777" y="1402638"/>
                </a:lnTo>
                <a:lnTo>
                  <a:pt x="396011" y="1388021"/>
                </a:lnTo>
                <a:lnTo>
                  <a:pt x="431520" y="1365084"/>
                </a:lnTo>
                <a:lnTo>
                  <a:pt x="461124" y="1334985"/>
                </a:lnTo>
                <a:lnTo>
                  <a:pt x="483692" y="1298917"/>
                </a:lnTo>
                <a:lnTo>
                  <a:pt x="498081" y="1258011"/>
                </a:lnTo>
                <a:lnTo>
                  <a:pt x="503135" y="1213459"/>
                </a:lnTo>
                <a:close/>
              </a:path>
              <a:path w="3973829" h="5307330">
                <a:moveTo>
                  <a:pt x="545719" y="4454322"/>
                </a:moveTo>
                <a:lnTo>
                  <a:pt x="535774" y="4405007"/>
                </a:lnTo>
                <a:lnTo>
                  <a:pt x="508635" y="4364736"/>
                </a:lnTo>
                <a:lnTo>
                  <a:pt x="468376" y="4337596"/>
                </a:lnTo>
                <a:lnTo>
                  <a:pt x="419061" y="4327639"/>
                </a:lnTo>
                <a:lnTo>
                  <a:pt x="0" y="4327639"/>
                </a:lnTo>
                <a:lnTo>
                  <a:pt x="0" y="4581004"/>
                </a:lnTo>
                <a:lnTo>
                  <a:pt x="419061" y="4581004"/>
                </a:lnTo>
                <a:lnTo>
                  <a:pt x="468376" y="4571047"/>
                </a:lnTo>
                <a:lnTo>
                  <a:pt x="508635" y="4543895"/>
                </a:lnTo>
                <a:lnTo>
                  <a:pt x="535774" y="4503623"/>
                </a:lnTo>
                <a:lnTo>
                  <a:pt x="545719" y="4454322"/>
                </a:lnTo>
                <a:close/>
              </a:path>
              <a:path w="3973829" h="5307330">
                <a:moveTo>
                  <a:pt x="929068" y="3906012"/>
                </a:moveTo>
                <a:lnTo>
                  <a:pt x="919124" y="3856710"/>
                </a:lnTo>
                <a:lnTo>
                  <a:pt x="891984" y="3816439"/>
                </a:lnTo>
                <a:lnTo>
                  <a:pt x="851725" y="3789286"/>
                </a:lnTo>
                <a:lnTo>
                  <a:pt x="802411" y="3779329"/>
                </a:lnTo>
                <a:lnTo>
                  <a:pt x="0" y="3779329"/>
                </a:lnTo>
                <a:lnTo>
                  <a:pt x="0" y="4032694"/>
                </a:lnTo>
                <a:lnTo>
                  <a:pt x="802411" y="4032694"/>
                </a:lnTo>
                <a:lnTo>
                  <a:pt x="851725" y="4022737"/>
                </a:lnTo>
                <a:lnTo>
                  <a:pt x="891984" y="3995585"/>
                </a:lnTo>
                <a:lnTo>
                  <a:pt x="919124" y="3955326"/>
                </a:lnTo>
                <a:lnTo>
                  <a:pt x="929068" y="3906012"/>
                </a:lnTo>
                <a:close/>
              </a:path>
              <a:path w="3973829" h="5307330">
                <a:moveTo>
                  <a:pt x="1123670" y="73621"/>
                </a:moveTo>
                <a:lnTo>
                  <a:pt x="1113713" y="24307"/>
                </a:lnTo>
                <a:lnTo>
                  <a:pt x="1097343" y="0"/>
                </a:lnTo>
                <a:lnTo>
                  <a:pt x="461149" y="0"/>
                </a:lnTo>
                <a:lnTo>
                  <a:pt x="444779" y="24307"/>
                </a:lnTo>
                <a:lnTo>
                  <a:pt x="434835" y="73621"/>
                </a:lnTo>
                <a:lnTo>
                  <a:pt x="444779" y="122936"/>
                </a:lnTo>
                <a:lnTo>
                  <a:pt x="471906" y="163195"/>
                </a:lnTo>
                <a:lnTo>
                  <a:pt x="512165" y="190347"/>
                </a:lnTo>
                <a:lnTo>
                  <a:pt x="561492" y="200304"/>
                </a:lnTo>
                <a:lnTo>
                  <a:pt x="997013" y="200304"/>
                </a:lnTo>
                <a:lnTo>
                  <a:pt x="1046327" y="190347"/>
                </a:lnTo>
                <a:lnTo>
                  <a:pt x="1086586" y="163195"/>
                </a:lnTo>
                <a:lnTo>
                  <a:pt x="1113713" y="122936"/>
                </a:lnTo>
                <a:lnTo>
                  <a:pt x="1123670" y="73621"/>
                </a:lnTo>
                <a:close/>
              </a:path>
              <a:path w="3973829" h="5307330">
                <a:moveTo>
                  <a:pt x="1418945" y="3321431"/>
                </a:moveTo>
                <a:lnTo>
                  <a:pt x="1413903" y="3276879"/>
                </a:lnTo>
                <a:lnTo>
                  <a:pt x="1399514" y="3235972"/>
                </a:lnTo>
                <a:lnTo>
                  <a:pt x="1376946" y="3199904"/>
                </a:lnTo>
                <a:lnTo>
                  <a:pt x="1347343" y="3169805"/>
                </a:lnTo>
                <a:lnTo>
                  <a:pt x="1311833" y="3146869"/>
                </a:lnTo>
                <a:lnTo>
                  <a:pt x="1271587" y="3132251"/>
                </a:lnTo>
                <a:lnTo>
                  <a:pt x="1227747" y="3127121"/>
                </a:lnTo>
                <a:lnTo>
                  <a:pt x="1183906" y="3132251"/>
                </a:lnTo>
                <a:lnTo>
                  <a:pt x="1143660" y="3146869"/>
                </a:lnTo>
                <a:lnTo>
                  <a:pt x="1108163" y="3169805"/>
                </a:lnTo>
                <a:lnTo>
                  <a:pt x="1078560" y="3199904"/>
                </a:lnTo>
                <a:lnTo>
                  <a:pt x="1055979" y="3235972"/>
                </a:lnTo>
                <a:lnTo>
                  <a:pt x="1041603" y="3276879"/>
                </a:lnTo>
                <a:lnTo>
                  <a:pt x="1036548" y="3321431"/>
                </a:lnTo>
                <a:lnTo>
                  <a:pt x="1041603" y="3365982"/>
                </a:lnTo>
                <a:lnTo>
                  <a:pt x="1055979" y="3406876"/>
                </a:lnTo>
                <a:lnTo>
                  <a:pt x="1078560" y="3442957"/>
                </a:lnTo>
                <a:lnTo>
                  <a:pt x="1108163" y="3473056"/>
                </a:lnTo>
                <a:lnTo>
                  <a:pt x="1143660" y="3495992"/>
                </a:lnTo>
                <a:lnTo>
                  <a:pt x="1183906" y="3510610"/>
                </a:lnTo>
                <a:lnTo>
                  <a:pt x="1227747" y="3515741"/>
                </a:lnTo>
                <a:lnTo>
                  <a:pt x="1271587" y="3510610"/>
                </a:lnTo>
                <a:lnTo>
                  <a:pt x="1311833" y="3495992"/>
                </a:lnTo>
                <a:lnTo>
                  <a:pt x="1347343" y="3473056"/>
                </a:lnTo>
                <a:lnTo>
                  <a:pt x="1376946" y="3442957"/>
                </a:lnTo>
                <a:lnTo>
                  <a:pt x="1399514" y="3406876"/>
                </a:lnTo>
                <a:lnTo>
                  <a:pt x="1413903" y="3365982"/>
                </a:lnTo>
                <a:lnTo>
                  <a:pt x="1418945" y="3321431"/>
                </a:lnTo>
                <a:close/>
              </a:path>
              <a:path w="3973829" h="5307330">
                <a:moveTo>
                  <a:pt x="1624139" y="3898176"/>
                </a:moveTo>
                <a:lnTo>
                  <a:pt x="1619084" y="3853624"/>
                </a:lnTo>
                <a:lnTo>
                  <a:pt x="1604708" y="3812730"/>
                </a:lnTo>
                <a:lnTo>
                  <a:pt x="1582140" y="3776649"/>
                </a:lnTo>
                <a:lnTo>
                  <a:pt x="1552524" y="3746550"/>
                </a:lnTo>
                <a:lnTo>
                  <a:pt x="1517027" y="3723614"/>
                </a:lnTo>
                <a:lnTo>
                  <a:pt x="1476781" y="3708997"/>
                </a:lnTo>
                <a:lnTo>
                  <a:pt x="1432941" y="3703866"/>
                </a:lnTo>
                <a:lnTo>
                  <a:pt x="1389100" y="3708997"/>
                </a:lnTo>
                <a:lnTo>
                  <a:pt x="1348854" y="3723614"/>
                </a:lnTo>
                <a:lnTo>
                  <a:pt x="1313357" y="3746550"/>
                </a:lnTo>
                <a:lnTo>
                  <a:pt x="1283741" y="3776649"/>
                </a:lnTo>
                <a:lnTo>
                  <a:pt x="1261173" y="3812730"/>
                </a:lnTo>
                <a:lnTo>
                  <a:pt x="1246784" y="3853624"/>
                </a:lnTo>
                <a:lnTo>
                  <a:pt x="1241742" y="3898176"/>
                </a:lnTo>
                <a:lnTo>
                  <a:pt x="1246784" y="3942727"/>
                </a:lnTo>
                <a:lnTo>
                  <a:pt x="1261173" y="3983634"/>
                </a:lnTo>
                <a:lnTo>
                  <a:pt x="1283741" y="4019702"/>
                </a:lnTo>
                <a:lnTo>
                  <a:pt x="1313357" y="4049801"/>
                </a:lnTo>
                <a:lnTo>
                  <a:pt x="1348854" y="4072737"/>
                </a:lnTo>
                <a:lnTo>
                  <a:pt x="1389100" y="4087355"/>
                </a:lnTo>
                <a:lnTo>
                  <a:pt x="1432941" y="4092486"/>
                </a:lnTo>
                <a:lnTo>
                  <a:pt x="1476781" y="4087355"/>
                </a:lnTo>
                <a:lnTo>
                  <a:pt x="1517027" y="4072737"/>
                </a:lnTo>
                <a:lnTo>
                  <a:pt x="1552524" y="4049801"/>
                </a:lnTo>
                <a:lnTo>
                  <a:pt x="1582140" y="4019702"/>
                </a:lnTo>
                <a:lnTo>
                  <a:pt x="1604708" y="3983634"/>
                </a:lnTo>
                <a:lnTo>
                  <a:pt x="1619084" y="3942727"/>
                </a:lnTo>
                <a:lnTo>
                  <a:pt x="1624139" y="3898176"/>
                </a:lnTo>
                <a:close/>
              </a:path>
              <a:path w="3973829" h="5307330">
                <a:moveTo>
                  <a:pt x="1860181" y="2541765"/>
                </a:moveTo>
                <a:lnTo>
                  <a:pt x="1856193" y="2496591"/>
                </a:lnTo>
                <a:lnTo>
                  <a:pt x="1844713" y="2454059"/>
                </a:lnTo>
                <a:lnTo>
                  <a:pt x="1826412" y="2414905"/>
                </a:lnTo>
                <a:lnTo>
                  <a:pt x="1802015" y="2379827"/>
                </a:lnTo>
                <a:lnTo>
                  <a:pt x="1772208" y="2349538"/>
                </a:lnTo>
                <a:lnTo>
                  <a:pt x="1737690" y="2324735"/>
                </a:lnTo>
                <a:lnTo>
                  <a:pt x="1699158" y="2306142"/>
                </a:lnTo>
                <a:lnTo>
                  <a:pt x="1657324" y="2294471"/>
                </a:lnTo>
                <a:lnTo>
                  <a:pt x="1612861" y="2290419"/>
                </a:lnTo>
                <a:lnTo>
                  <a:pt x="1568411" y="2294471"/>
                </a:lnTo>
                <a:lnTo>
                  <a:pt x="1526565" y="2306142"/>
                </a:lnTo>
                <a:lnTo>
                  <a:pt x="1488033" y="2324735"/>
                </a:lnTo>
                <a:lnTo>
                  <a:pt x="1453515" y="2349538"/>
                </a:lnTo>
                <a:lnTo>
                  <a:pt x="1423708" y="2379827"/>
                </a:lnTo>
                <a:lnTo>
                  <a:pt x="1399311" y="2414905"/>
                </a:lnTo>
                <a:lnTo>
                  <a:pt x="1381023" y="2454059"/>
                </a:lnTo>
                <a:lnTo>
                  <a:pt x="1369529" y="2496591"/>
                </a:lnTo>
                <a:lnTo>
                  <a:pt x="1365542" y="2541765"/>
                </a:lnTo>
                <a:lnTo>
                  <a:pt x="1369529" y="2586939"/>
                </a:lnTo>
                <a:lnTo>
                  <a:pt x="1381023" y="2629471"/>
                </a:lnTo>
                <a:lnTo>
                  <a:pt x="1399311" y="2668625"/>
                </a:lnTo>
                <a:lnTo>
                  <a:pt x="1423708" y="2703703"/>
                </a:lnTo>
                <a:lnTo>
                  <a:pt x="1453515" y="2733992"/>
                </a:lnTo>
                <a:lnTo>
                  <a:pt x="1488033" y="2758795"/>
                </a:lnTo>
                <a:lnTo>
                  <a:pt x="1526565" y="2777388"/>
                </a:lnTo>
                <a:lnTo>
                  <a:pt x="1568411" y="2789059"/>
                </a:lnTo>
                <a:lnTo>
                  <a:pt x="1612861" y="2793111"/>
                </a:lnTo>
                <a:lnTo>
                  <a:pt x="1657324" y="2789059"/>
                </a:lnTo>
                <a:lnTo>
                  <a:pt x="1699158" y="2777388"/>
                </a:lnTo>
                <a:lnTo>
                  <a:pt x="1737690" y="2758795"/>
                </a:lnTo>
                <a:lnTo>
                  <a:pt x="1772208" y="2733992"/>
                </a:lnTo>
                <a:lnTo>
                  <a:pt x="1802015" y="2703703"/>
                </a:lnTo>
                <a:lnTo>
                  <a:pt x="1826412" y="2668625"/>
                </a:lnTo>
                <a:lnTo>
                  <a:pt x="1844713" y="2629471"/>
                </a:lnTo>
                <a:lnTo>
                  <a:pt x="1856193" y="2586939"/>
                </a:lnTo>
                <a:lnTo>
                  <a:pt x="1860181" y="2541765"/>
                </a:lnTo>
                <a:close/>
              </a:path>
              <a:path w="3973829" h="5307330">
                <a:moveTo>
                  <a:pt x="2167483" y="408241"/>
                </a:moveTo>
                <a:lnTo>
                  <a:pt x="2166924" y="335267"/>
                </a:lnTo>
                <a:lnTo>
                  <a:pt x="2162899" y="264515"/>
                </a:lnTo>
                <a:lnTo>
                  <a:pt x="2155672" y="196011"/>
                </a:lnTo>
                <a:lnTo>
                  <a:pt x="2145474" y="129794"/>
                </a:lnTo>
                <a:lnTo>
                  <a:pt x="2132596" y="65874"/>
                </a:lnTo>
                <a:lnTo>
                  <a:pt x="2117267" y="4292"/>
                </a:lnTo>
                <a:lnTo>
                  <a:pt x="2115997" y="12"/>
                </a:lnTo>
                <a:lnTo>
                  <a:pt x="1283462" y="12"/>
                </a:lnTo>
                <a:lnTo>
                  <a:pt x="1267079" y="24307"/>
                </a:lnTo>
                <a:lnTo>
                  <a:pt x="1257134" y="73621"/>
                </a:lnTo>
                <a:lnTo>
                  <a:pt x="1267079" y="122936"/>
                </a:lnTo>
                <a:lnTo>
                  <a:pt x="1294218" y="163195"/>
                </a:lnTo>
                <a:lnTo>
                  <a:pt x="1334477" y="190347"/>
                </a:lnTo>
                <a:lnTo>
                  <a:pt x="1383792" y="200304"/>
                </a:lnTo>
                <a:lnTo>
                  <a:pt x="1784172" y="200304"/>
                </a:lnTo>
                <a:lnTo>
                  <a:pt x="1791182" y="247345"/>
                </a:lnTo>
                <a:lnTo>
                  <a:pt x="1796199" y="295897"/>
                </a:lnTo>
                <a:lnTo>
                  <a:pt x="1799069" y="345973"/>
                </a:lnTo>
                <a:lnTo>
                  <a:pt x="1799653" y="397535"/>
                </a:lnTo>
                <a:lnTo>
                  <a:pt x="1797761" y="450596"/>
                </a:lnTo>
                <a:lnTo>
                  <a:pt x="1793240" y="505142"/>
                </a:lnTo>
                <a:lnTo>
                  <a:pt x="1786153" y="503910"/>
                </a:lnTo>
                <a:lnTo>
                  <a:pt x="1778977" y="502945"/>
                </a:lnTo>
                <a:lnTo>
                  <a:pt x="749782" y="502945"/>
                </a:lnTo>
                <a:lnTo>
                  <a:pt x="700468" y="512902"/>
                </a:lnTo>
                <a:lnTo>
                  <a:pt x="660209" y="540054"/>
                </a:lnTo>
                <a:lnTo>
                  <a:pt x="633069" y="580326"/>
                </a:lnTo>
                <a:lnTo>
                  <a:pt x="623125" y="629627"/>
                </a:lnTo>
                <a:lnTo>
                  <a:pt x="633069" y="678942"/>
                </a:lnTo>
                <a:lnTo>
                  <a:pt x="660209" y="719213"/>
                </a:lnTo>
                <a:lnTo>
                  <a:pt x="700468" y="746366"/>
                </a:lnTo>
                <a:lnTo>
                  <a:pt x="749782" y="756323"/>
                </a:lnTo>
                <a:lnTo>
                  <a:pt x="1732711" y="756323"/>
                </a:lnTo>
                <a:lnTo>
                  <a:pt x="1714741" y="802106"/>
                </a:lnTo>
                <a:lnTo>
                  <a:pt x="1694802" y="847928"/>
                </a:lnTo>
                <a:lnTo>
                  <a:pt x="1672983" y="893800"/>
                </a:lnTo>
                <a:lnTo>
                  <a:pt x="1649349" y="939711"/>
                </a:lnTo>
                <a:lnTo>
                  <a:pt x="1623949" y="985634"/>
                </a:lnTo>
                <a:lnTo>
                  <a:pt x="1596847" y="1031557"/>
                </a:lnTo>
                <a:lnTo>
                  <a:pt x="1568132" y="1077493"/>
                </a:lnTo>
                <a:lnTo>
                  <a:pt x="805383" y="1077493"/>
                </a:lnTo>
                <a:lnTo>
                  <a:pt x="756069" y="1087450"/>
                </a:lnTo>
                <a:lnTo>
                  <a:pt x="715810" y="1114602"/>
                </a:lnTo>
                <a:lnTo>
                  <a:pt x="688670" y="1154874"/>
                </a:lnTo>
                <a:lnTo>
                  <a:pt x="678726" y="1204175"/>
                </a:lnTo>
                <a:lnTo>
                  <a:pt x="688670" y="1253490"/>
                </a:lnTo>
                <a:lnTo>
                  <a:pt x="715810" y="1293749"/>
                </a:lnTo>
                <a:lnTo>
                  <a:pt x="756069" y="1320901"/>
                </a:lnTo>
                <a:lnTo>
                  <a:pt x="805383" y="1330858"/>
                </a:lnTo>
                <a:lnTo>
                  <a:pt x="1383538" y="1330858"/>
                </a:lnTo>
                <a:lnTo>
                  <a:pt x="1352664" y="1368552"/>
                </a:lnTo>
                <a:lnTo>
                  <a:pt x="1321041" y="1406194"/>
                </a:lnTo>
                <a:lnTo>
                  <a:pt x="1288719" y="1443786"/>
                </a:lnTo>
                <a:lnTo>
                  <a:pt x="1255737" y="1481302"/>
                </a:lnTo>
                <a:lnTo>
                  <a:pt x="1222133" y="1518742"/>
                </a:lnTo>
                <a:lnTo>
                  <a:pt x="1187945" y="1556105"/>
                </a:lnTo>
                <a:lnTo>
                  <a:pt x="1153210" y="1593380"/>
                </a:lnTo>
                <a:lnTo>
                  <a:pt x="1117981" y="1630578"/>
                </a:lnTo>
                <a:lnTo>
                  <a:pt x="1082281" y="1667675"/>
                </a:lnTo>
                <a:lnTo>
                  <a:pt x="1046162" y="1704657"/>
                </a:lnTo>
                <a:lnTo>
                  <a:pt x="1009662" y="1741538"/>
                </a:lnTo>
                <a:lnTo>
                  <a:pt x="972807" y="1778304"/>
                </a:lnTo>
                <a:lnTo>
                  <a:pt x="935659" y="1814957"/>
                </a:lnTo>
                <a:lnTo>
                  <a:pt x="898245" y="1851469"/>
                </a:lnTo>
                <a:lnTo>
                  <a:pt x="822794" y="1924113"/>
                </a:lnTo>
                <a:lnTo>
                  <a:pt x="708621" y="2031961"/>
                </a:lnTo>
                <a:lnTo>
                  <a:pt x="351548" y="2362314"/>
                </a:lnTo>
                <a:lnTo>
                  <a:pt x="183464" y="2519527"/>
                </a:lnTo>
                <a:lnTo>
                  <a:pt x="101993" y="2597442"/>
                </a:lnTo>
                <a:lnTo>
                  <a:pt x="62052" y="2636240"/>
                </a:lnTo>
                <a:lnTo>
                  <a:pt x="22707" y="2674924"/>
                </a:lnTo>
                <a:lnTo>
                  <a:pt x="0" y="2697581"/>
                </a:lnTo>
                <a:lnTo>
                  <a:pt x="0" y="3450831"/>
                </a:lnTo>
                <a:lnTo>
                  <a:pt x="701814" y="3450831"/>
                </a:lnTo>
                <a:lnTo>
                  <a:pt x="751128" y="3440874"/>
                </a:lnTo>
                <a:lnTo>
                  <a:pt x="791387" y="3413722"/>
                </a:lnTo>
                <a:lnTo>
                  <a:pt x="818527" y="3373450"/>
                </a:lnTo>
                <a:lnTo>
                  <a:pt x="828471" y="3324148"/>
                </a:lnTo>
                <a:lnTo>
                  <a:pt x="818527" y="3274834"/>
                </a:lnTo>
                <a:lnTo>
                  <a:pt x="791387" y="3234563"/>
                </a:lnTo>
                <a:lnTo>
                  <a:pt x="751128" y="3207423"/>
                </a:lnTo>
                <a:lnTo>
                  <a:pt x="701814" y="3197466"/>
                </a:lnTo>
                <a:lnTo>
                  <a:pt x="32537" y="3197466"/>
                </a:lnTo>
                <a:lnTo>
                  <a:pt x="62763" y="3163379"/>
                </a:lnTo>
                <a:lnTo>
                  <a:pt x="93967" y="3129026"/>
                </a:lnTo>
                <a:lnTo>
                  <a:pt x="126098" y="3094444"/>
                </a:lnTo>
                <a:lnTo>
                  <a:pt x="159143" y="3059607"/>
                </a:lnTo>
                <a:lnTo>
                  <a:pt x="193014" y="3024543"/>
                </a:lnTo>
                <a:lnTo>
                  <a:pt x="227698" y="2989262"/>
                </a:lnTo>
                <a:lnTo>
                  <a:pt x="263118" y="2953753"/>
                </a:lnTo>
                <a:lnTo>
                  <a:pt x="299250" y="2918041"/>
                </a:lnTo>
                <a:lnTo>
                  <a:pt x="336042" y="2882125"/>
                </a:lnTo>
                <a:lnTo>
                  <a:pt x="411391" y="2809697"/>
                </a:lnTo>
                <a:lnTo>
                  <a:pt x="528180" y="2699715"/>
                </a:lnTo>
                <a:lnTo>
                  <a:pt x="967320" y="2293175"/>
                </a:lnTo>
                <a:lnTo>
                  <a:pt x="1084859" y="2182253"/>
                </a:lnTo>
                <a:lnTo>
                  <a:pt x="1162202" y="2107908"/>
                </a:lnTo>
                <a:lnTo>
                  <a:pt x="1200480" y="2070620"/>
                </a:lnTo>
                <a:lnTo>
                  <a:pt x="1238440" y="2033244"/>
                </a:lnTo>
                <a:lnTo>
                  <a:pt x="1276083" y="1995766"/>
                </a:lnTo>
                <a:lnTo>
                  <a:pt x="1313357" y="1958213"/>
                </a:lnTo>
                <a:lnTo>
                  <a:pt x="1350238" y="1920544"/>
                </a:lnTo>
                <a:lnTo>
                  <a:pt x="1386687" y="1882787"/>
                </a:lnTo>
                <a:lnTo>
                  <a:pt x="1422692" y="1844929"/>
                </a:lnTo>
                <a:lnTo>
                  <a:pt x="1458214" y="1806968"/>
                </a:lnTo>
                <a:lnTo>
                  <a:pt x="1493227" y="1768894"/>
                </a:lnTo>
                <a:lnTo>
                  <a:pt x="1527695" y="1730705"/>
                </a:lnTo>
                <a:lnTo>
                  <a:pt x="1561579" y="1692402"/>
                </a:lnTo>
                <a:lnTo>
                  <a:pt x="1594878" y="1653984"/>
                </a:lnTo>
                <a:lnTo>
                  <a:pt x="1627530" y="1615440"/>
                </a:lnTo>
                <a:lnTo>
                  <a:pt x="1659534" y="1576781"/>
                </a:lnTo>
                <a:lnTo>
                  <a:pt x="1690839" y="1537982"/>
                </a:lnTo>
                <a:lnTo>
                  <a:pt x="1721421" y="1499057"/>
                </a:lnTo>
                <a:lnTo>
                  <a:pt x="1751253" y="1460004"/>
                </a:lnTo>
                <a:lnTo>
                  <a:pt x="1780311" y="1420812"/>
                </a:lnTo>
                <a:lnTo>
                  <a:pt x="1808543" y="1381480"/>
                </a:lnTo>
                <a:lnTo>
                  <a:pt x="1835950" y="1342009"/>
                </a:lnTo>
                <a:lnTo>
                  <a:pt x="1862480" y="1302385"/>
                </a:lnTo>
                <a:lnTo>
                  <a:pt x="1888109" y="1262621"/>
                </a:lnTo>
                <a:lnTo>
                  <a:pt x="1912810" y="1222692"/>
                </a:lnTo>
                <a:lnTo>
                  <a:pt x="1936546" y="1182624"/>
                </a:lnTo>
                <a:lnTo>
                  <a:pt x="1959292" y="1142390"/>
                </a:lnTo>
                <a:lnTo>
                  <a:pt x="1981022" y="1101991"/>
                </a:lnTo>
                <a:lnTo>
                  <a:pt x="2001710" y="1061427"/>
                </a:lnTo>
                <a:lnTo>
                  <a:pt x="2021306" y="1020699"/>
                </a:lnTo>
                <a:lnTo>
                  <a:pt x="2039797" y="979805"/>
                </a:lnTo>
                <a:lnTo>
                  <a:pt x="2057158" y="938733"/>
                </a:lnTo>
                <a:lnTo>
                  <a:pt x="2073338" y="897483"/>
                </a:lnTo>
                <a:lnTo>
                  <a:pt x="2088324" y="856056"/>
                </a:lnTo>
                <a:lnTo>
                  <a:pt x="2102078" y="814438"/>
                </a:lnTo>
                <a:lnTo>
                  <a:pt x="2114588" y="772642"/>
                </a:lnTo>
                <a:lnTo>
                  <a:pt x="2125789" y="730656"/>
                </a:lnTo>
                <a:lnTo>
                  <a:pt x="2135682" y="688479"/>
                </a:lnTo>
                <a:lnTo>
                  <a:pt x="2144230" y="646099"/>
                </a:lnTo>
                <a:lnTo>
                  <a:pt x="2151405" y="603529"/>
                </a:lnTo>
                <a:lnTo>
                  <a:pt x="2157158" y="560755"/>
                </a:lnTo>
                <a:lnTo>
                  <a:pt x="2162302" y="505142"/>
                </a:lnTo>
                <a:lnTo>
                  <a:pt x="2164308" y="483412"/>
                </a:lnTo>
                <a:lnTo>
                  <a:pt x="2167483" y="408241"/>
                </a:lnTo>
                <a:close/>
              </a:path>
              <a:path w="3973829" h="5307330">
                <a:moveTo>
                  <a:pt x="2815323" y="1929345"/>
                </a:moveTo>
                <a:lnTo>
                  <a:pt x="2811945" y="1882635"/>
                </a:lnTo>
                <a:lnTo>
                  <a:pt x="2802153" y="1838058"/>
                </a:lnTo>
                <a:lnTo>
                  <a:pt x="2786405" y="1796097"/>
                </a:lnTo>
                <a:lnTo>
                  <a:pt x="2765209" y="1757235"/>
                </a:lnTo>
                <a:lnTo>
                  <a:pt x="2739021" y="1721967"/>
                </a:lnTo>
                <a:lnTo>
                  <a:pt x="2708338" y="1690789"/>
                </a:lnTo>
                <a:lnTo>
                  <a:pt x="2673642" y="1664182"/>
                </a:lnTo>
                <a:lnTo>
                  <a:pt x="2635402" y="1642643"/>
                </a:lnTo>
                <a:lnTo>
                  <a:pt x="2594114" y="1626641"/>
                </a:lnTo>
                <a:lnTo>
                  <a:pt x="2550249" y="1616684"/>
                </a:lnTo>
                <a:lnTo>
                  <a:pt x="2504287" y="1613255"/>
                </a:lnTo>
                <a:lnTo>
                  <a:pt x="2458326" y="1616684"/>
                </a:lnTo>
                <a:lnTo>
                  <a:pt x="2414447" y="1626641"/>
                </a:lnTo>
                <a:lnTo>
                  <a:pt x="2373160" y="1642643"/>
                </a:lnTo>
                <a:lnTo>
                  <a:pt x="2334920" y="1664182"/>
                </a:lnTo>
                <a:lnTo>
                  <a:pt x="2300224" y="1690789"/>
                </a:lnTo>
                <a:lnTo>
                  <a:pt x="2269540" y="1721967"/>
                </a:lnTo>
                <a:lnTo>
                  <a:pt x="2243353" y="1757235"/>
                </a:lnTo>
                <a:lnTo>
                  <a:pt x="2222157" y="1796097"/>
                </a:lnTo>
                <a:lnTo>
                  <a:pt x="2206421" y="1838058"/>
                </a:lnTo>
                <a:lnTo>
                  <a:pt x="2196617" y="1882635"/>
                </a:lnTo>
                <a:lnTo>
                  <a:pt x="2193252" y="1929345"/>
                </a:lnTo>
                <a:lnTo>
                  <a:pt x="2196617" y="1976056"/>
                </a:lnTo>
                <a:lnTo>
                  <a:pt x="2206421" y="2020646"/>
                </a:lnTo>
                <a:lnTo>
                  <a:pt x="2222157" y="2062607"/>
                </a:lnTo>
                <a:lnTo>
                  <a:pt x="2243353" y="2101469"/>
                </a:lnTo>
                <a:lnTo>
                  <a:pt x="2269540" y="2136724"/>
                </a:lnTo>
                <a:lnTo>
                  <a:pt x="2300224" y="2167915"/>
                </a:lnTo>
                <a:lnTo>
                  <a:pt x="2334920" y="2194522"/>
                </a:lnTo>
                <a:lnTo>
                  <a:pt x="2373160" y="2216061"/>
                </a:lnTo>
                <a:lnTo>
                  <a:pt x="2414447" y="2232063"/>
                </a:lnTo>
                <a:lnTo>
                  <a:pt x="2458326" y="2242020"/>
                </a:lnTo>
                <a:lnTo>
                  <a:pt x="2504287" y="2245436"/>
                </a:lnTo>
                <a:lnTo>
                  <a:pt x="2550249" y="2242020"/>
                </a:lnTo>
                <a:lnTo>
                  <a:pt x="2594114" y="2232063"/>
                </a:lnTo>
                <a:lnTo>
                  <a:pt x="2635402" y="2216061"/>
                </a:lnTo>
                <a:lnTo>
                  <a:pt x="2673642" y="2194522"/>
                </a:lnTo>
                <a:lnTo>
                  <a:pt x="2708338" y="2167915"/>
                </a:lnTo>
                <a:lnTo>
                  <a:pt x="2739021" y="2136724"/>
                </a:lnTo>
                <a:lnTo>
                  <a:pt x="2765209" y="2101469"/>
                </a:lnTo>
                <a:lnTo>
                  <a:pt x="2786405" y="2062607"/>
                </a:lnTo>
                <a:lnTo>
                  <a:pt x="2802153" y="2020646"/>
                </a:lnTo>
                <a:lnTo>
                  <a:pt x="2811945" y="1976056"/>
                </a:lnTo>
                <a:lnTo>
                  <a:pt x="2815323" y="1929345"/>
                </a:lnTo>
                <a:close/>
              </a:path>
              <a:path w="3973829" h="5307330">
                <a:moveTo>
                  <a:pt x="2817076" y="3135579"/>
                </a:moveTo>
                <a:lnTo>
                  <a:pt x="2814421" y="3088868"/>
                </a:lnTo>
                <a:lnTo>
                  <a:pt x="2806662" y="3043745"/>
                </a:lnTo>
                <a:lnTo>
                  <a:pt x="2794089" y="3000489"/>
                </a:lnTo>
                <a:lnTo>
                  <a:pt x="2777007" y="2959430"/>
                </a:lnTo>
                <a:lnTo>
                  <a:pt x="2755709" y="2920847"/>
                </a:lnTo>
                <a:lnTo>
                  <a:pt x="2730487" y="2885059"/>
                </a:lnTo>
                <a:lnTo>
                  <a:pt x="2701633" y="2852343"/>
                </a:lnTo>
                <a:lnTo>
                  <a:pt x="2669438" y="2823019"/>
                </a:lnTo>
                <a:lnTo>
                  <a:pt x="2634221" y="2797391"/>
                </a:lnTo>
                <a:lnTo>
                  <a:pt x="2596261" y="2775737"/>
                </a:lnTo>
                <a:lnTo>
                  <a:pt x="2555849" y="2758376"/>
                </a:lnTo>
                <a:lnTo>
                  <a:pt x="2513304" y="2745600"/>
                </a:lnTo>
                <a:lnTo>
                  <a:pt x="2468892" y="2737726"/>
                </a:lnTo>
                <a:lnTo>
                  <a:pt x="2422931" y="2735021"/>
                </a:lnTo>
                <a:lnTo>
                  <a:pt x="2376957" y="2737726"/>
                </a:lnTo>
                <a:lnTo>
                  <a:pt x="2332558" y="2745600"/>
                </a:lnTo>
                <a:lnTo>
                  <a:pt x="2290000" y="2758376"/>
                </a:lnTo>
                <a:lnTo>
                  <a:pt x="2249589" y="2775737"/>
                </a:lnTo>
                <a:lnTo>
                  <a:pt x="2211628" y="2797391"/>
                </a:lnTo>
                <a:lnTo>
                  <a:pt x="2176411" y="2823019"/>
                </a:lnTo>
                <a:lnTo>
                  <a:pt x="2144230" y="2852343"/>
                </a:lnTo>
                <a:lnTo>
                  <a:pt x="2115375" y="2885059"/>
                </a:lnTo>
                <a:lnTo>
                  <a:pt x="2090153" y="2920847"/>
                </a:lnTo>
                <a:lnTo>
                  <a:pt x="2068842" y="2959430"/>
                </a:lnTo>
                <a:lnTo>
                  <a:pt x="2051761" y="3000489"/>
                </a:lnTo>
                <a:lnTo>
                  <a:pt x="2039188" y="3043745"/>
                </a:lnTo>
                <a:lnTo>
                  <a:pt x="2031428" y="3088868"/>
                </a:lnTo>
                <a:lnTo>
                  <a:pt x="2028786" y="3135579"/>
                </a:lnTo>
                <a:lnTo>
                  <a:pt x="2031428" y="3182302"/>
                </a:lnTo>
                <a:lnTo>
                  <a:pt x="2039188" y="3227425"/>
                </a:lnTo>
                <a:lnTo>
                  <a:pt x="2051761" y="3270681"/>
                </a:lnTo>
                <a:lnTo>
                  <a:pt x="2068842" y="3311741"/>
                </a:lnTo>
                <a:lnTo>
                  <a:pt x="2090153" y="3350323"/>
                </a:lnTo>
                <a:lnTo>
                  <a:pt x="2115375" y="3386112"/>
                </a:lnTo>
                <a:lnTo>
                  <a:pt x="2144230" y="3418827"/>
                </a:lnTo>
                <a:lnTo>
                  <a:pt x="2176411" y="3448139"/>
                </a:lnTo>
                <a:lnTo>
                  <a:pt x="2211628" y="3473780"/>
                </a:lnTo>
                <a:lnTo>
                  <a:pt x="2249589" y="3495433"/>
                </a:lnTo>
                <a:lnTo>
                  <a:pt x="2290000" y="3512794"/>
                </a:lnTo>
                <a:lnTo>
                  <a:pt x="2332558" y="3525558"/>
                </a:lnTo>
                <a:lnTo>
                  <a:pt x="2376957" y="3533444"/>
                </a:lnTo>
                <a:lnTo>
                  <a:pt x="2422931" y="3536137"/>
                </a:lnTo>
                <a:lnTo>
                  <a:pt x="2468892" y="3533444"/>
                </a:lnTo>
                <a:lnTo>
                  <a:pt x="2513304" y="3525558"/>
                </a:lnTo>
                <a:lnTo>
                  <a:pt x="2555849" y="3512794"/>
                </a:lnTo>
                <a:lnTo>
                  <a:pt x="2596261" y="3495433"/>
                </a:lnTo>
                <a:lnTo>
                  <a:pt x="2634221" y="3473780"/>
                </a:lnTo>
                <a:lnTo>
                  <a:pt x="2669438" y="3448139"/>
                </a:lnTo>
                <a:lnTo>
                  <a:pt x="2701633" y="3418827"/>
                </a:lnTo>
                <a:lnTo>
                  <a:pt x="2730487" y="3386112"/>
                </a:lnTo>
                <a:lnTo>
                  <a:pt x="2755709" y="3350323"/>
                </a:lnTo>
                <a:lnTo>
                  <a:pt x="2777007" y="3311741"/>
                </a:lnTo>
                <a:lnTo>
                  <a:pt x="2794089" y="3270681"/>
                </a:lnTo>
                <a:lnTo>
                  <a:pt x="2806662" y="3227425"/>
                </a:lnTo>
                <a:lnTo>
                  <a:pt x="2814421" y="3182302"/>
                </a:lnTo>
                <a:lnTo>
                  <a:pt x="2817076" y="3135579"/>
                </a:lnTo>
                <a:close/>
              </a:path>
              <a:path w="3973829" h="5307330">
                <a:moveTo>
                  <a:pt x="3001899" y="902957"/>
                </a:moveTo>
                <a:lnTo>
                  <a:pt x="2997568" y="853782"/>
                </a:lnTo>
                <a:lnTo>
                  <a:pt x="2985058" y="807504"/>
                </a:lnTo>
                <a:lnTo>
                  <a:pt x="2965145" y="764882"/>
                </a:lnTo>
                <a:lnTo>
                  <a:pt x="2938589" y="726706"/>
                </a:lnTo>
                <a:lnTo>
                  <a:pt x="2906141" y="693737"/>
                </a:lnTo>
                <a:lnTo>
                  <a:pt x="2868574" y="666750"/>
                </a:lnTo>
                <a:lnTo>
                  <a:pt x="2826639" y="646518"/>
                </a:lnTo>
                <a:lnTo>
                  <a:pt x="2781096" y="633806"/>
                </a:lnTo>
                <a:lnTo>
                  <a:pt x="2732709" y="629399"/>
                </a:lnTo>
                <a:lnTo>
                  <a:pt x="2684322" y="633806"/>
                </a:lnTo>
                <a:lnTo>
                  <a:pt x="2638780" y="646518"/>
                </a:lnTo>
                <a:lnTo>
                  <a:pt x="2596845" y="666750"/>
                </a:lnTo>
                <a:lnTo>
                  <a:pt x="2559278" y="693737"/>
                </a:lnTo>
                <a:lnTo>
                  <a:pt x="2526830" y="726706"/>
                </a:lnTo>
                <a:lnTo>
                  <a:pt x="2500274" y="764882"/>
                </a:lnTo>
                <a:lnTo>
                  <a:pt x="2480360" y="807504"/>
                </a:lnTo>
                <a:lnTo>
                  <a:pt x="2467864" y="853782"/>
                </a:lnTo>
                <a:lnTo>
                  <a:pt x="2463520" y="902957"/>
                </a:lnTo>
                <a:lnTo>
                  <a:pt x="2467864" y="952131"/>
                </a:lnTo>
                <a:lnTo>
                  <a:pt x="2480360" y="998410"/>
                </a:lnTo>
                <a:lnTo>
                  <a:pt x="2500274" y="1041031"/>
                </a:lnTo>
                <a:lnTo>
                  <a:pt x="2526830" y="1079220"/>
                </a:lnTo>
                <a:lnTo>
                  <a:pt x="2559278" y="1112189"/>
                </a:lnTo>
                <a:lnTo>
                  <a:pt x="2596845" y="1139177"/>
                </a:lnTo>
                <a:lnTo>
                  <a:pt x="2638780" y="1159408"/>
                </a:lnTo>
                <a:lnTo>
                  <a:pt x="2684322" y="1172121"/>
                </a:lnTo>
                <a:lnTo>
                  <a:pt x="2732709" y="1176528"/>
                </a:lnTo>
                <a:lnTo>
                  <a:pt x="2781096" y="1172121"/>
                </a:lnTo>
                <a:lnTo>
                  <a:pt x="2826639" y="1159408"/>
                </a:lnTo>
                <a:lnTo>
                  <a:pt x="2868574" y="1139177"/>
                </a:lnTo>
                <a:lnTo>
                  <a:pt x="2906141" y="1112189"/>
                </a:lnTo>
                <a:lnTo>
                  <a:pt x="2938589" y="1079220"/>
                </a:lnTo>
                <a:lnTo>
                  <a:pt x="2965145" y="1041031"/>
                </a:lnTo>
                <a:lnTo>
                  <a:pt x="2985058" y="998410"/>
                </a:lnTo>
                <a:lnTo>
                  <a:pt x="2997568" y="952131"/>
                </a:lnTo>
                <a:lnTo>
                  <a:pt x="3001899" y="902957"/>
                </a:lnTo>
                <a:close/>
              </a:path>
              <a:path w="3973829" h="5307330">
                <a:moveTo>
                  <a:pt x="3293262" y="0"/>
                </a:moveTo>
                <a:lnTo>
                  <a:pt x="2712770" y="0"/>
                </a:lnTo>
                <a:lnTo>
                  <a:pt x="2722854" y="15176"/>
                </a:lnTo>
                <a:lnTo>
                  <a:pt x="2752775" y="49720"/>
                </a:lnTo>
                <a:lnTo>
                  <a:pt x="2786761" y="80124"/>
                </a:lnTo>
                <a:lnTo>
                  <a:pt x="2824403" y="105956"/>
                </a:lnTo>
                <a:lnTo>
                  <a:pt x="2865259" y="126796"/>
                </a:lnTo>
                <a:lnTo>
                  <a:pt x="2908935" y="142214"/>
                </a:lnTo>
                <a:lnTo>
                  <a:pt x="2954998" y="151777"/>
                </a:lnTo>
                <a:lnTo>
                  <a:pt x="3003016" y="155054"/>
                </a:lnTo>
                <a:lnTo>
                  <a:pt x="3051035" y="151777"/>
                </a:lnTo>
                <a:lnTo>
                  <a:pt x="3097098" y="142214"/>
                </a:lnTo>
                <a:lnTo>
                  <a:pt x="3140773" y="126796"/>
                </a:lnTo>
                <a:lnTo>
                  <a:pt x="3181642" y="105956"/>
                </a:lnTo>
                <a:lnTo>
                  <a:pt x="3219272" y="80124"/>
                </a:lnTo>
                <a:lnTo>
                  <a:pt x="3253257" y="49720"/>
                </a:lnTo>
                <a:lnTo>
                  <a:pt x="3283178" y="15176"/>
                </a:lnTo>
                <a:lnTo>
                  <a:pt x="3293262" y="0"/>
                </a:lnTo>
                <a:close/>
              </a:path>
              <a:path w="3973829" h="5307330">
                <a:moveTo>
                  <a:pt x="3973512" y="1706270"/>
                </a:moveTo>
                <a:lnTo>
                  <a:pt x="3970858" y="1659585"/>
                </a:lnTo>
                <a:lnTo>
                  <a:pt x="3963111" y="1614474"/>
                </a:lnTo>
                <a:lnTo>
                  <a:pt x="3950551" y="1571244"/>
                </a:lnTo>
                <a:lnTo>
                  <a:pt x="3933469" y="1530210"/>
                </a:lnTo>
                <a:lnTo>
                  <a:pt x="3912184" y="1491640"/>
                </a:lnTo>
                <a:lnTo>
                  <a:pt x="3886962" y="1455864"/>
                </a:lnTo>
                <a:lnTo>
                  <a:pt x="3858133" y="1423174"/>
                </a:lnTo>
                <a:lnTo>
                  <a:pt x="3825964" y="1393863"/>
                </a:lnTo>
                <a:lnTo>
                  <a:pt x="3790759" y="1368247"/>
                </a:lnTo>
                <a:lnTo>
                  <a:pt x="3752812" y="1346606"/>
                </a:lnTo>
                <a:lnTo>
                  <a:pt x="3712426" y="1329245"/>
                </a:lnTo>
                <a:lnTo>
                  <a:pt x="3669893" y="1316482"/>
                </a:lnTo>
                <a:lnTo>
                  <a:pt x="3625507" y="1308608"/>
                </a:lnTo>
                <a:lnTo>
                  <a:pt x="3579558" y="1305902"/>
                </a:lnTo>
                <a:lnTo>
                  <a:pt x="3533610" y="1308608"/>
                </a:lnTo>
                <a:lnTo>
                  <a:pt x="3489223" y="1316482"/>
                </a:lnTo>
                <a:lnTo>
                  <a:pt x="3446691" y="1329245"/>
                </a:lnTo>
                <a:lnTo>
                  <a:pt x="3406305" y="1346606"/>
                </a:lnTo>
                <a:lnTo>
                  <a:pt x="3368370" y="1368247"/>
                </a:lnTo>
                <a:lnTo>
                  <a:pt x="3333165" y="1393863"/>
                </a:lnTo>
                <a:lnTo>
                  <a:pt x="3300996" y="1423174"/>
                </a:lnTo>
                <a:lnTo>
                  <a:pt x="3272155" y="1455864"/>
                </a:lnTo>
                <a:lnTo>
                  <a:pt x="3246945" y="1491640"/>
                </a:lnTo>
                <a:lnTo>
                  <a:pt x="3225647" y="1530210"/>
                </a:lnTo>
                <a:lnTo>
                  <a:pt x="3208578" y="1571244"/>
                </a:lnTo>
                <a:lnTo>
                  <a:pt x="3196005" y="1614474"/>
                </a:lnTo>
                <a:lnTo>
                  <a:pt x="3188258" y="1659585"/>
                </a:lnTo>
                <a:lnTo>
                  <a:pt x="3185604" y="1706270"/>
                </a:lnTo>
                <a:lnTo>
                  <a:pt x="3188258" y="1752968"/>
                </a:lnTo>
                <a:lnTo>
                  <a:pt x="3196005" y="1798078"/>
                </a:lnTo>
                <a:lnTo>
                  <a:pt x="3208578" y="1841296"/>
                </a:lnTo>
                <a:lnTo>
                  <a:pt x="3225647" y="1882343"/>
                </a:lnTo>
                <a:lnTo>
                  <a:pt x="3246945" y="1920900"/>
                </a:lnTo>
                <a:lnTo>
                  <a:pt x="3272155" y="1956676"/>
                </a:lnTo>
                <a:lnTo>
                  <a:pt x="3300996" y="1989366"/>
                </a:lnTo>
                <a:lnTo>
                  <a:pt x="3333165" y="2018677"/>
                </a:lnTo>
                <a:lnTo>
                  <a:pt x="3368370" y="2044306"/>
                </a:lnTo>
                <a:lnTo>
                  <a:pt x="3406305" y="2065934"/>
                </a:lnTo>
                <a:lnTo>
                  <a:pt x="3446691" y="2083295"/>
                </a:lnTo>
                <a:lnTo>
                  <a:pt x="3489223" y="2096058"/>
                </a:lnTo>
                <a:lnTo>
                  <a:pt x="3533610" y="2103932"/>
                </a:lnTo>
                <a:lnTo>
                  <a:pt x="3579558" y="2106625"/>
                </a:lnTo>
                <a:lnTo>
                  <a:pt x="3625507" y="2103932"/>
                </a:lnTo>
                <a:lnTo>
                  <a:pt x="3669893" y="2096058"/>
                </a:lnTo>
                <a:lnTo>
                  <a:pt x="3712426" y="2083295"/>
                </a:lnTo>
                <a:lnTo>
                  <a:pt x="3752812" y="2065934"/>
                </a:lnTo>
                <a:lnTo>
                  <a:pt x="3790759" y="2044306"/>
                </a:lnTo>
                <a:lnTo>
                  <a:pt x="3825964" y="2018677"/>
                </a:lnTo>
                <a:lnTo>
                  <a:pt x="3858133" y="1989366"/>
                </a:lnTo>
                <a:lnTo>
                  <a:pt x="3886962" y="1956676"/>
                </a:lnTo>
                <a:lnTo>
                  <a:pt x="3912184" y="1920900"/>
                </a:lnTo>
                <a:lnTo>
                  <a:pt x="3933469" y="1882343"/>
                </a:lnTo>
                <a:lnTo>
                  <a:pt x="3950551" y="1841296"/>
                </a:lnTo>
                <a:lnTo>
                  <a:pt x="3963111" y="1798078"/>
                </a:lnTo>
                <a:lnTo>
                  <a:pt x="3970858" y="1752968"/>
                </a:lnTo>
                <a:lnTo>
                  <a:pt x="3973512" y="1706270"/>
                </a:lnTo>
                <a:close/>
              </a:path>
            </a:pathLst>
          </a:custGeom>
          <a:solidFill>
            <a:srgbClr val="0E5C77">
              <a:alpha val="19999"/>
            </a:srgbClr>
          </a:solidFill>
        </p:spPr>
        <p:txBody>
          <a:bodyPr wrap="square" lIns="0" tIns="0" rIns="0" bIns="0" rtlCol="0"/>
          <a:lstStyle/>
          <a:p>
            <a:endParaRPr/>
          </a:p>
        </p:txBody>
      </p:sp>
      <p:sp>
        <p:nvSpPr>
          <p:cNvPr id="3" name="Text Placeholder 2">
            <a:extLst>
              <a:ext uri="{FF2B5EF4-FFF2-40B4-BE49-F238E27FC236}">
                <a16:creationId xmlns:a16="http://schemas.microsoft.com/office/drawing/2014/main" id="{5ADC4885-E653-9F9B-1C72-2AA34FCB44D8}"/>
              </a:ext>
            </a:extLst>
          </p:cNvPr>
          <p:cNvSpPr>
            <a:spLocks noGrp="1"/>
          </p:cNvSpPr>
          <p:nvPr userDrawn="1">
            <p:ph type="body" idx="1"/>
          </p:nvPr>
        </p:nvSpPr>
        <p:spPr>
          <a:xfrm>
            <a:off x="2042757" y="1766139"/>
            <a:ext cx="9282430" cy="3337640"/>
          </a:xfrm>
        </p:spPr>
        <p:txBody>
          <a:bodyPr>
            <a:normAutofit/>
          </a:bodyPr>
          <a:lstStyle>
            <a:lvl1pPr marL="0" indent="0" algn="r">
              <a:buNone/>
              <a:defRPr sz="2800">
                <a:solidFill>
                  <a:schemeClr val="bg1"/>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2" name="Title 1">
            <a:extLst>
              <a:ext uri="{FF2B5EF4-FFF2-40B4-BE49-F238E27FC236}">
                <a16:creationId xmlns:a16="http://schemas.microsoft.com/office/drawing/2014/main" id="{E70AF5EC-C3A2-AE47-AC58-C795316B7127}"/>
              </a:ext>
            </a:extLst>
          </p:cNvPr>
          <p:cNvSpPr>
            <a:spLocks noGrp="1"/>
          </p:cNvSpPr>
          <p:nvPr userDrawn="1">
            <p:ph type="title"/>
          </p:nvPr>
        </p:nvSpPr>
        <p:spPr>
          <a:xfrm>
            <a:off x="2049107" y="476581"/>
            <a:ext cx="9282430" cy="752109"/>
          </a:xfrm>
        </p:spPr>
        <p:txBody>
          <a:bodyPr anchor="b">
            <a:normAutofit/>
          </a:bodyPr>
          <a:lstStyle>
            <a:lvl1pPr algn="r">
              <a:defRPr sz="4400">
                <a:solidFill>
                  <a:schemeClr val="tx2"/>
                </a:solidFill>
                <a:latin typeface="Quicksand" pitchFamily="2" charset="0"/>
              </a:defRPr>
            </a:lvl1pPr>
          </a:lstStyle>
          <a:p>
            <a:r>
              <a:rPr lang="en-US" dirty="0"/>
              <a:t>Click to edit Master title style</a:t>
            </a:r>
            <a:endParaRPr lang="en-GB" dirty="0"/>
          </a:p>
        </p:txBody>
      </p:sp>
      <p:grpSp>
        <p:nvGrpSpPr>
          <p:cNvPr id="5" name="Group 4">
            <a:extLst>
              <a:ext uri="{FF2B5EF4-FFF2-40B4-BE49-F238E27FC236}">
                <a16:creationId xmlns:a16="http://schemas.microsoft.com/office/drawing/2014/main" id="{33C1C7D2-8ED7-565E-4663-883D463CCEC2}"/>
              </a:ext>
            </a:extLst>
          </p:cNvPr>
          <p:cNvGrpSpPr/>
          <p:nvPr userDrawn="1"/>
        </p:nvGrpSpPr>
        <p:grpSpPr>
          <a:xfrm>
            <a:off x="9738785" y="5200448"/>
            <a:ext cx="2447458" cy="1655479"/>
            <a:chOff x="9738785" y="5200448"/>
            <a:chExt cx="2447458" cy="1655479"/>
          </a:xfrm>
        </p:grpSpPr>
        <p:sp>
          <p:nvSpPr>
            <p:cNvPr id="6" name="object 4">
              <a:extLst>
                <a:ext uri="{FF2B5EF4-FFF2-40B4-BE49-F238E27FC236}">
                  <a16:creationId xmlns:a16="http://schemas.microsoft.com/office/drawing/2014/main" id="{98C71A34-944C-2B51-8D33-55FE94CDC0ED}"/>
                </a:ext>
              </a:extLst>
            </p:cNvPr>
            <p:cNvSpPr/>
            <p:nvPr/>
          </p:nvSpPr>
          <p:spPr>
            <a:xfrm>
              <a:off x="11776260" y="5200448"/>
              <a:ext cx="409983" cy="1655479"/>
            </a:xfrm>
            <a:custGeom>
              <a:avLst/>
              <a:gdLst/>
              <a:ahLst/>
              <a:cxnLst/>
              <a:rect l="l" t="t" r="r" b="b"/>
              <a:pathLst>
                <a:path w="452119" h="1825625">
                  <a:moveTo>
                    <a:pt x="451948" y="0"/>
                  </a:moveTo>
                  <a:lnTo>
                    <a:pt x="423684" y="19055"/>
                  </a:lnTo>
                  <a:lnTo>
                    <a:pt x="396532" y="59323"/>
                  </a:lnTo>
                  <a:lnTo>
                    <a:pt x="386575" y="108633"/>
                  </a:lnTo>
                  <a:lnTo>
                    <a:pt x="396532" y="157938"/>
                  </a:lnTo>
                  <a:lnTo>
                    <a:pt x="423684" y="198206"/>
                  </a:lnTo>
                  <a:lnTo>
                    <a:pt x="451948" y="217264"/>
                  </a:lnTo>
                  <a:lnTo>
                    <a:pt x="451948" y="0"/>
                  </a:lnTo>
                  <a:close/>
                </a:path>
                <a:path w="452119" h="1825625">
                  <a:moveTo>
                    <a:pt x="451948" y="537956"/>
                  </a:moveTo>
                  <a:lnTo>
                    <a:pt x="126682" y="537956"/>
                  </a:lnTo>
                  <a:lnTo>
                    <a:pt x="77372" y="547914"/>
                  </a:lnTo>
                  <a:lnTo>
                    <a:pt x="37104" y="575066"/>
                  </a:lnTo>
                  <a:lnTo>
                    <a:pt x="9955" y="615334"/>
                  </a:lnTo>
                  <a:lnTo>
                    <a:pt x="0" y="664639"/>
                  </a:lnTo>
                  <a:lnTo>
                    <a:pt x="9955" y="713951"/>
                  </a:lnTo>
                  <a:lnTo>
                    <a:pt x="37104" y="754223"/>
                  </a:lnTo>
                  <a:lnTo>
                    <a:pt x="77372" y="781377"/>
                  </a:lnTo>
                  <a:lnTo>
                    <a:pt x="126682" y="791334"/>
                  </a:lnTo>
                  <a:lnTo>
                    <a:pt x="451948" y="791334"/>
                  </a:lnTo>
                  <a:lnTo>
                    <a:pt x="451948" y="537956"/>
                  </a:lnTo>
                  <a:close/>
                </a:path>
                <a:path w="452119" h="1825625">
                  <a:moveTo>
                    <a:pt x="451948" y="1112479"/>
                  </a:moveTo>
                  <a:lnTo>
                    <a:pt x="182283" y="1112479"/>
                  </a:lnTo>
                  <a:lnTo>
                    <a:pt x="132972" y="1122436"/>
                  </a:lnTo>
                  <a:lnTo>
                    <a:pt x="92705" y="1149588"/>
                  </a:lnTo>
                  <a:lnTo>
                    <a:pt x="65556" y="1189857"/>
                  </a:lnTo>
                  <a:lnTo>
                    <a:pt x="55600" y="1239162"/>
                  </a:lnTo>
                  <a:lnTo>
                    <a:pt x="65556" y="1288472"/>
                  </a:lnTo>
                  <a:lnTo>
                    <a:pt x="92705" y="1328739"/>
                  </a:lnTo>
                  <a:lnTo>
                    <a:pt x="132972" y="1355889"/>
                  </a:lnTo>
                  <a:lnTo>
                    <a:pt x="182283" y="1365844"/>
                  </a:lnTo>
                  <a:lnTo>
                    <a:pt x="451948" y="1365844"/>
                  </a:lnTo>
                  <a:lnTo>
                    <a:pt x="451948" y="1112479"/>
                  </a:lnTo>
                  <a:close/>
                </a:path>
                <a:path w="452119" h="1825625">
                  <a:moveTo>
                    <a:pt x="451948" y="1710089"/>
                  </a:moveTo>
                  <a:lnTo>
                    <a:pt x="423079" y="1739653"/>
                  </a:lnTo>
                  <a:lnTo>
                    <a:pt x="386576" y="1776536"/>
                  </a:lnTo>
                  <a:lnTo>
                    <a:pt x="349728" y="1813304"/>
                  </a:lnTo>
                  <a:lnTo>
                    <a:pt x="337804" y="1825067"/>
                  </a:lnTo>
                  <a:lnTo>
                    <a:pt x="451948" y="1825067"/>
                  </a:lnTo>
                  <a:lnTo>
                    <a:pt x="451948" y="1710089"/>
                  </a:lnTo>
                  <a:close/>
                </a:path>
              </a:pathLst>
            </a:custGeom>
            <a:solidFill>
              <a:srgbClr val="0E5C77">
                <a:alpha val="19999"/>
              </a:srgbClr>
            </a:solidFill>
          </p:spPr>
          <p:txBody>
            <a:bodyPr wrap="square" lIns="0" tIns="0" rIns="0" bIns="0" rtlCol="0"/>
            <a:lstStyle/>
            <a:p>
              <a:endParaRPr/>
            </a:p>
          </p:txBody>
        </p:sp>
        <p:sp>
          <p:nvSpPr>
            <p:cNvPr id="7" name="object 5">
              <a:extLst>
                <a:ext uri="{FF2B5EF4-FFF2-40B4-BE49-F238E27FC236}">
                  <a16:creationId xmlns:a16="http://schemas.microsoft.com/office/drawing/2014/main" id="{18C9DDA2-A716-EBE8-F34F-C40B6D8FCE79}"/>
                </a:ext>
              </a:extLst>
            </p:cNvPr>
            <p:cNvSpPr/>
            <p:nvPr/>
          </p:nvSpPr>
          <p:spPr>
            <a:xfrm>
              <a:off x="11026069" y="6723987"/>
              <a:ext cx="393860" cy="131862"/>
            </a:xfrm>
            <a:custGeom>
              <a:avLst/>
              <a:gdLst/>
              <a:ahLst/>
              <a:cxnLst/>
              <a:rect l="l" t="t" r="r" b="b"/>
              <a:pathLst>
                <a:path w="434340" h="145415">
                  <a:moveTo>
                    <a:pt x="216865" y="0"/>
                  </a:moveTo>
                  <a:lnTo>
                    <a:pt x="169224" y="4880"/>
                  </a:lnTo>
                  <a:lnTo>
                    <a:pt x="124850" y="18878"/>
                  </a:lnTo>
                  <a:lnTo>
                    <a:pt x="84694" y="41028"/>
                  </a:lnTo>
                  <a:lnTo>
                    <a:pt x="49708" y="70364"/>
                  </a:lnTo>
                  <a:lnTo>
                    <a:pt x="20841" y="105919"/>
                  </a:lnTo>
                  <a:lnTo>
                    <a:pt x="0" y="144942"/>
                  </a:lnTo>
                  <a:lnTo>
                    <a:pt x="433744" y="144942"/>
                  </a:lnTo>
                  <a:lnTo>
                    <a:pt x="412901" y="105919"/>
                  </a:lnTo>
                  <a:lnTo>
                    <a:pt x="384034" y="70364"/>
                  </a:lnTo>
                  <a:lnTo>
                    <a:pt x="349046" y="41028"/>
                  </a:lnTo>
                  <a:lnTo>
                    <a:pt x="308888" y="18878"/>
                  </a:lnTo>
                  <a:lnTo>
                    <a:pt x="264511" y="4880"/>
                  </a:lnTo>
                  <a:lnTo>
                    <a:pt x="216865" y="0"/>
                  </a:lnTo>
                  <a:close/>
                </a:path>
              </a:pathLst>
            </a:custGeom>
            <a:solidFill>
              <a:srgbClr val="0E5C77">
                <a:alpha val="19999"/>
              </a:srgbClr>
            </a:solidFill>
          </p:spPr>
          <p:txBody>
            <a:bodyPr wrap="square" lIns="0" tIns="0" rIns="0" bIns="0" rtlCol="0"/>
            <a:lstStyle/>
            <a:p>
              <a:endParaRPr/>
            </a:p>
          </p:txBody>
        </p:sp>
        <p:sp>
          <p:nvSpPr>
            <p:cNvPr id="15" name="object 6">
              <a:extLst>
                <a:ext uri="{FF2B5EF4-FFF2-40B4-BE49-F238E27FC236}">
                  <a16:creationId xmlns:a16="http://schemas.microsoft.com/office/drawing/2014/main" id="{FACD9CE7-8C7D-69FF-1D44-5F08A5F89086}"/>
                </a:ext>
              </a:extLst>
            </p:cNvPr>
            <p:cNvSpPr/>
            <p:nvPr/>
          </p:nvSpPr>
          <p:spPr>
            <a:xfrm>
              <a:off x="11333372" y="6158589"/>
              <a:ext cx="324186" cy="329368"/>
            </a:xfrm>
            <a:custGeom>
              <a:avLst/>
              <a:gdLst/>
              <a:ahLst/>
              <a:cxnLst/>
              <a:rect l="l" t="t" r="r" b="b"/>
              <a:pathLst>
                <a:path w="357504" h="363220">
                  <a:moveTo>
                    <a:pt x="178612" y="0"/>
                  </a:moveTo>
                  <a:lnTo>
                    <a:pt x="131127" y="6483"/>
                  </a:lnTo>
                  <a:lnTo>
                    <a:pt x="88459" y="24782"/>
                  </a:lnTo>
                  <a:lnTo>
                    <a:pt x="52311" y="53165"/>
                  </a:lnTo>
                  <a:lnTo>
                    <a:pt x="24384" y="89902"/>
                  </a:lnTo>
                  <a:lnTo>
                    <a:pt x="6379" y="133264"/>
                  </a:lnTo>
                  <a:lnTo>
                    <a:pt x="0" y="181521"/>
                  </a:lnTo>
                  <a:lnTo>
                    <a:pt x="6379" y="229772"/>
                  </a:lnTo>
                  <a:lnTo>
                    <a:pt x="24383" y="273130"/>
                  </a:lnTo>
                  <a:lnTo>
                    <a:pt x="52311" y="309865"/>
                  </a:lnTo>
                  <a:lnTo>
                    <a:pt x="88459" y="338247"/>
                  </a:lnTo>
                  <a:lnTo>
                    <a:pt x="131127" y="356545"/>
                  </a:lnTo>
                  <a:lnTo>
                    <a:pt x="178612" y="363029"/>
                  </a:lnTo>
                  <a:lnTo>
                    <a:pt x="226092" y="356545"/>
                  </a:lnTo>
                  <a:lnTo>
                    <a:pt x="268756" y="338247"/>
                  </a:lnTo>
                  <a:lnTo>
                    <a:pt x="304903" y="309865"/>
                  </a:lnTo>
                  <a:lnTo>
                    <a:pt x="332829" y="273130"/>
                  </a:lnTo>
                  <a:lnTo>
                    <a:pt x="350833" y="229772"/>
                  </a:lnTo>
                  <a:lnTo>
                    <a:pt x="357212" y="181521"/>
                  </a:lnTo>
                  <a:lnTo>
                    <a:pt x="350833" y="133264"/>
                  </a:lnTo>
                  <a:lnTo>
                    <a:pt x="332829" y="89902"/>
                  </a:lnTo>
                  <a:lnTo>
                    <a:pt x="304903" y="53165"/>
                  </a:lnTo>
                  <a:lnTo>
                    <a:pt x="268756" y="24782"/>
                  </a:lnTo>
                  <a:lnTo>
                    <a:pt x="226092" y="6483"/>
                  </a:lnTo>
                  <a:lnTo>
                    <a:pt x="178612" y="0"/>
                  </a:lnTo>
                  <a:close/>
                </a:path>
              </a:pathLst>
            </a:custGeom>
            <a:solidFill>
              <a:srgbClr val="0E5C77">
                <a:alpha val="19999"/>
              </a:srgbClr>
            </a:solidFill>
          </p:spPr>
          <p:txBody>
            <a:bodyPr wrap="square" lIns="0" tIns="0" rIns="0" bIns="0" rtlCol="0"/>
            <a:lstStyle/>
            <a:p>
              <a:endParaRPr/>
            </a:p>
          </p:txBody>
        </p:sp>
        <p:sp>
          <p:nvSpPr>
            <p:cNvPr id="20" name="object 7">
              <a:extLst>
                <a:ext uri="{FF2B5EF4-FFF2-40B4-BE49-F238E27FC236}">
                  <a16:creationId xmlns:a16="http://schemas.microsoft.com/office/drawing/2014/main" id="{9B6B4EDF-9602-7E47-156F-525A333E17AC}"/>
                </a:ext>
              </a:extLst>
            </p:cNvPr>
            <p:cNvSpPr/>
            <p:nvPr/>
          </p:nvSpPr>
          <p:spPr>
            <a:xfrm>
              <a:off x="9738785" y="6661239"/>
              <a:ext cx="593093" cy="194626"/>
            </a:xfrm>
            <a:custGeom>
              <a:avLst/>
              <a:gdLst/>
              <a:ahLst/>
              <a:cxnLst/>
              <a:rect l="l" t="t" r="r" b="b"/>
              <a:pathLst>
                <a:path w="654050" h="214629">
                  <a:moveTo>
                    <a:pt x="326761" y="0"/>
                  </a:moveTo>
                  <a:lnTo>
                    <a:pt x="277990" y="3334"/>
                  </a:lnTo>
                  <a:lnTo>
                    <a:pt x="231213" y="13046"/>
                  </a:lnTo>
                  <a:lnTo>
                    <a:pt x="186858" y="28702"/>
                  </a:lnTo>
                  <a:lnTo>
                    <a:pt x="145354" y="49867"/>
                  </a:lnTo>
                  <a:lnTo>
                    <a:pt x="107129" y="76104"/>
                  </a:lnTo>
                  <a:lnTo>
                    <a:pt x="72611" y="106980"/>
                  </a:lnTo>
                  <a:lnTo>
                    <a:pt x="42229" y="142058"/>
                  </a:lnTo>
                  <a:lnTo>
                    <a:pt x="16410" y="180904"/>
                  </a:lnTo>
                  <a:lnTo>
                    <a:pt x="0" y="214139"/>
                  </a:lnTo>
                  <a:lnTo>
                    <a:pt x="653522" y="214139"/>
                  </a:lnTo>
                  <a:lnTo>
                    <a:pt x="611292" y="142058"/>
                  </a:lnTo>
                  <a:lnTo>
                    <a:pt x="580910" y="106980"/>
                  </a:lnTo>
                  <a:lnTo>
                    <a:pt x="546392" y="76104"/>
                  </a:lnTo>
                  <a:lnTo>
                    <a:pt x="508167" y="49867"/>
                  </a:lnTo>
                  <a:lnTo>
                    <a:pt x="466663" y="28702"/>
                  </a:lnTo>
                  <a:lnTo>
                    <a:pt x="422308" y="13046"/>
                  </a:lnTo>
                  <a:lnTo>
                    <a:pt x="375532" y="3334"/>
                  </a:lnTo>
                  <a:lnTo>
                    <a:pt x="326761" y="0"/>
                  </a:lnTo>
                  <a:close/>
                </a:path>
              </a:pathLst>
            </a:custGeom>
            <a:solidFill>
              <a:srgbClr val="0E5C77">
                <a:alpha val="19999"/>
              </a:srgbClr>
            </a:solidFill>
          </p:spPr>
          <p:txBody>
            <a:bodyPr wrap="square" lIns="0" tIns="0" rIns="0" bIns="0" rtlCol="0"/>
            <a:lstStyle/>
            <a:p>
              <a:endParaRPr/>
            </a:p>
          </p:txBody>
        </p:sp>
      </p:grpSp>
      <p:sp>
        <p:nvSpPr>
          <p:cNvPr id="21" name="object 14">
            <a:extLst>
              <a:ext uri="{FF2B5EF4-FFF2-40B4-BE49-F238E27FC236}">
                <a16:creationId xmlns:a16="http://schemas.microsoft.com/office/drawing/2014/main" id="{E920B87E-EB30-C29A-7725-F098B0CD9403}"/>
              </a:ext>
            </a:extLst>
          </p:cNvPr>
          <p:cNvSpPr/>
          <p:nvPr userDrawn="1"/>
        </p:nvSpPr>
        <p:spPr>
          <a:xfrm rot="10800000">
            <a:off x="11050480" y="5292007"/>
            <a:ext cx="562114" cy="584428"/>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spTree>
    <p:extLst>
      <p:ext uri="{BB962C8B-B14F-4D97-AF65-F5344CB8AC3E}">
        <p14:creationId xmlns:p14="http://schemas.microsoft.com/office/powerpoint/2010/main" val="38505718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4_Section Header">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2D00DCAC-C40F-C3B9-F022-BCEE66A66A0B}"/>
              </a:ext>
            </a:extLst>
          </p:cNvPr>
          <p:cNvSpPr/>
          <p:nvPr userDrawn="1"/>
        </p:nvSpPr>
        <p:spPr>
          <a:xfrm>
            <a:off x="0" y="0"/>
            <a:ext cx="12192000" cy="6855696"/>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chemeClr val="tx2"/>
          </a:solidFill>
        </p:spPr>
        <p:txBody>
          <a:bodyPr wrap="square" lIns="0" tIns="0" rIns="0" bIns="0" rtlCol="0"/>
          <a:lstStyle/>
          <a:p>
            <a:endParaRPr sz="2000"/>
          </a:p>
        </p:txBody>
      </p:sp>
      <p:sp>
        <p:nvSpPr>
          <p:cNvPr id="20" name="object 3">
            <a:extLst>
              <a:ext uri="{FF2B5EF4-FFF2-40B4-BE49-F238E27FC236}">
                <a16:creationId xmlns:a16="http://schemas.microsoft.com/office/drawing/2014/main" id="{B044399D-0912-D593-C0A7-709DB4E472C3}"/>
              </a:ext>
            </a:extLst>
          </p:cNvPr>
          <p:cNvSpPr/>
          <p:nvPr userDrawn="1"/>
        </p:nvSpPr>
        <p:spPr>
          <a:xfrm>
            <a:off x="8454618" y="-21266"/>
            <a:ext cx="4391193" cy="4363554"/>
          </a:xfrm>
          <a:custGeom>
            <a:avLst/>
            <a:gdLst/>
            <a:ahLst/>
            <a:cxnLst/>
            <a:rect l="l" t="t" r="r" b="b"/>
            <a:pathLst>
              <a:path w="4842509" h="4812030">
                <a:moveTo>
                  <a:pt x="747268" y="1291882"/>
                </a:moveTo>
                <a:lnTo>
                  <a:pt x="744347" y="1244257"/>
                </a:lnTo>
                <a:lnTo>
                  <a:pt x="735850" y="1198397"/>
                </a:lnTo>
                <a:lnTo>
                  <a:pt x="722109" y="1154645"/>
                </a:lnTo>
                <a:lnTo>
                  <a:pt x="703478" y="1113383"/>
                </a:lnTo>
                <a:lnTo>
                  <a:pt x="680313" y="1074953"/>
                </a:lnTo>
                <a:lnTo>
                  <a:pt x="652957" y="1039710"/>
                </a:lnTo>
                <a:lnTo>
                  <a:pt x="621766" y="1008011"/>
                </a:lnTo>
                <a:lnTo>
                  <a:pt x="587095" y="980211"/>
                </a:lnTo>
                <a:lnTo>
                  <a:pt x="549275" y="956665"/>
                </a:lnTo>
                <a:lnTo>
                  <a:pt x="508673" y="937742"/>
                </a:lnTo>
                <a:lnTo>
                  <a:pt x="465620" y="923772"/>
                </a:lnTo>
                <a:lnTo>
                  <a:pt x="420497" y="915136"/>
                </a:lnTo>
                <a:lnTo>
                  <a:pt x="373634" y="912177"/>
                </a:lnTo>
                <a:lnTo>
                  <a:pt x="326758" y="915136"/>
                </a:lnTo>
                <a:lnTo>
                  <a:pt x="281635" y="923772"/>
                </a:lnTo>
                <a:lnTo>
                  <a:pt x="238582" y="937742"/>
                </a:lnTo>
                <a:lnTo>
                  <a:pt x="197980" y="956665"/>
                </a:lnTo>
                <a:lnTo>
                  <a:pt x="160159" y="980211"/>
                </a:lnTo>
                <a:lnTo>
                  <a:pt x="125488" y="1008011"/>
                </a:lnTo>
                <a:lnTo>
                  <a:pt x="94297" y="1039710"/>
                </a:lnTo>
                <a:lnTo>
                  <a:pt x="66941" y="1074953"/>
                </a:lnTo>
                <a:lnTo>
                  <a:pt x="43776" y="1113383"/>
                </a:lnTo>
                <a:lnTo>
                  <a:pt x="25146" y="1154645"/>
                </a:lnTo>
                <a:lnTo>
                  <a:pt x="11404" y="1198397"/>
                </a:lnTo>
                <a:lnTo>
                  <a:pt x="2908" y="1244257"/>
                </a:lnTo>
                <a:lnTo>
                  <a:pt x="0" y="1291882"/>
                </a:lnTo>
                <a:lnTo>
                  <a:pt x="2908" y="1339519"/>
                </a:lnTo>
                <a:lnTo>
                  <a:pt x="11404" y="1385379"/>
                </a:lnTo>
                <a:lnTo>
                  <a:pt x="25146" y="1429131"/>
                </a:lnTo>
                <a:lnTo>
                  <a:pt x="43776" y="1470393"/>
                </a:lnTo>
                <a:lnTo>
                  <a:pt x="66941" y="1508823"/>
                </a:lnTo>
                <a:lnTo>
                  <a:pt x="94297" y="1544066"/>
                </a:lnTo>
                <a:lnTo>
                  <a:pt x="125488" y="1575765"/>
                </a:lnTo>
                <a:lnTo>
                  <a:pt x="160159" y="1603565"/>
                </a:lnTo>
                <a:lnTo>
                  <a:pt x="197980" y="1627111"/>
                </a:lnTo>
                <a:lnTo>
                  <a:pt x="238582" y="1646047"/>
                </a:lnTo>
                <a:lnTo>
                  <a:pt x="281635" y="1660004"/>
                </a:lnTo>
                <a:lnTo>
                  <a:pt x="326758" y="1668640"/>
                </a:lnTo>
                <a:lnTo>
                  <a:pt x="373634" y="1671599"/>
                </a:lnTo>
                <a:lnTo>
                  <a:pt x="420497" y="1668640"/>
                </a:lnTo>
                <a:lnTo>
                  <a:pt x="465620" y="1660004"/>
                </a:lnTo>
                <a:lnTo>
                  <a:pt x="508673" y="1646047"/>
                </a:lnTo>
                <a:lnTo>
                  <a:pt x="549275" y="1627111"/>
                </a:lnTo>
                <a:lnTo>
                  <a:pt x="587095" y="1603565"/>
                </a:lnTo>
                <a:lnTo>
                  <a:pt x="621766" y="1575765"/>
                </a:lnTo>
                <a:lnTo>
                  <a:pt x="652957" y="1544066"/>
                </a:lnTo>
                <a:lnTo>
                  <a:pt x="680313" y="1508823"/>
                </a:lnTo>
                <a:lnTo>
                  <a:pt x="703478" y="1470393"/>
                </a:lnTo>
                <a:lnTo>
                  <a:pt x="722109" y="1429131"/>
                </a:lnTo>
                <a:lnTo>
                  <a:pt x="735850" y="1385379"/>
                </a:lnTo>
                <a:lnTo>
                  <a:pt x="744347" y="1339519"/>
                </a:lnTo>
                <a:lnTo>
                  <a:pt x="747268" y="1291882"/>
                </a:lnTo>
                <a:close/>
              </a:path>
              <a:path w="4842509" h="4812030">
                <a:moveTo>
                  <a:pt x="1038237" y="2275001"/>
                </a:moveTo>
                <a:lnTo>
                  <a:pt x="1033195" y="2230450"/>
                </a:lnTo>
                <a:lnTo>
                  <a:pt x="1018806" y="2189556"/>
                </a:lnTo>
                <a:lnTo>
                  <a:pt x="996238" y="2153475"/>
                </a:lnTo>
                <a:lnTo>
                  <a:pt x="966635" y="2123389"/>
                </a:lnTo>
                <a:lnTo>
                  <a:pt x="931125" y="2100453"/>
                </a:lnTo>
                <a:lnTo>
                  <a:pt x="890879" y="2085835"/>
                </a:lnTo>
                <a:lnTo>
                  <a:pt x="847039" y="2080691"/>
                </a:lnTo>
                <a:lnTo>
                  <a:pt x="803198" y="2085835"/>
                </a:lnTo>
                <a:lnTo>
                  <a:pt x="762952" y="2100453"/>
                </a:lnTo>
                <a:lnTo>
                  <a:pt x="727456" y="2123389"/>
                </a:lnTo>
                <a:lnTo>
                  <a:pt x="697852" y="2153475"/>
                </a:lnTo>
                <a:lnTo>
                  <a:pt x="675284" y="2189556"/>
                </a:lnTo>
                <a:lnTo>
                  <a:pt x="660895" y="2230450"/>
                </a:lnTo>
                <a:lnTo>
                  <a:pt x="655840" y="2275001"/>
                </a:lnTo>
                <a:lnTo>
                  <a:pt x="660895" y="2319566"/>
                </a:lnTo>
                <a:lnTo>
                  <a:pt x="675284" y="2360460"/>
                </a:lnTo>
                <a:lnTo>
                  <a:pt x="697852" y="2396540"/>
                </a:lnTo>
                <a:lnTo>
                  <a:pt x="727456" y="2426627"/>
                </a:lnTo>
                <a:lnTo>
                  <a:pt x="762952" y="2449563"/>
                </a:lnTo>
                <a:lnTo>
                  <a:pt x="803198" y="2464181"/>
                </a:lnTo>
                <a:lnTo>
                  <a:pt x="847039" y="2469311"/>
                </a:lnTo>
                <a:lnTo>
                  <a:pt x="890879" y="2464181"/>
                </a:lnTo>
                <a:lnTo>
                  <a:pt x="931125" y="2449563"/>
                </a:lnTo>
                <a:lnTo>
                  <a:pt x="966635" y="2426627"/>
                </a:lnTo>
                <a:lnTo>
                  <a:pt x="996238" y="2396540"/>
                </a:lnTo>
                <a:lnTo>
                  <a:pt x="1018806" y="2360460"/>
                </a:lnTo>
                <a:lnTo>
                  <a:pt x="1033195" y="2319566"/>
                </a:lnTo>
                <a:lnTo>
                  <a:pt x="1038237" y="2275001"/>
                </a:lnTo>
                <a:close/>
              </a:path>
              <a:path w="4842509" h="4812030">
                <a:moveTo>
                  <a:pt x="1353693" y="205016"/>
                </a:moveTo>
                <a:lnTo>
                  <a:pt x="1349044" y="158140"/>
                </a:lnTo>
                <a:lnTo>
                  <a:pt x="1335709" y="114490"/>
                </a:lnTo>
                <a:lnTo>
                  <a:pt x="1314615" y="74993"/>
                </a:lnTo>
                <a:lnTo>
                  <a:pt x="1286675" y="40576"/>
                </a:lnTo>
                <a:lnTo>
                  <a:pt x="1252804" y="12179"/>
                </a:lnTo>
                <a:lnTo>
                  <a:pt x="1230744" y="12"/>
                </a:lnTo>
                <a:lnTo>
                  <a:pt x="1018984" y="12"/>
                </a:lnTo>
                <a:lnTo>
                  <a:pt x="963053" y="40576"/>
                </a:lnTo>
                <a:lnTo>
                  <a:pt x="935113" y="74993"/>
                </a:lnTo>
                <a:lnTo>
                  <a:pt x="914019" y="114490"/>
                </a:lnTo>
                <a:lnTo>
                  <a:pt x="900684" y="158140"/>
                </a:lnTo>
                <a:lnTo>
                  <a:pt x="896035" y="205016"/>
                </a:lnTo>
                <a:lnTo>
                  <a:pt x="900684" y="251879"/>
                </a:lnTo>
                <a:lnTo>
                  <a:pt x="914019" y="295529"/>
                </a:lnTo>
                <a:lnTo>
                  <a:pt x="935113" y="335038"/>
                </a:lnTo>
                <a:lnTo>
                  <a:pt x="963053" y="369443"/>
                </a:lnTo>
                <a:lnTo>
                  <a:pt x="996924" y="397840"/>
                </a:lnTo>
                <a:lnTo>
                  <a:pt x="1035799" y="419290"/>
                </a:lnTo>
                <a:lnTo>
                  <a:pt x="1078750" y="432841"/>
                </a:lnTo>
                <a:lnTo>
                  <a:pt x="1124864" y="437565"/>
                </a:lnTo>
                <a:lnTo>
                  <a:pt x="1170978" y="432841"/>
                </a:lnTo>
                <a:lnTo>
                  <a:pt x="1213929" y="419290"/>
                </a:lnTo>
                <a:lnTo>
                  <a:pt x="1252804" y="397840"/>
                </a:lnTo>
                <a:lnTo>
                  <a:pt x="1286675" y="369443"/>
                </a:lnTo>
                <a:lnTo>
                  <a:pt x="1314615" y="335038"/>
                </a:lnTo>
                <a:lnTo>
                  <a:pt x="1335709" y="295529"/>
                </a:lnTo>
                <a:lnTo>
                  <a:pt x="1349044" y="251879"/>
                </a:lnTo>
                <a:lnTo>
                  <a:pt x="1353693" y="205016"/>
                </a:lnTo>
                <a:close/>
              </a:path>
              <a:path w="4842509" h="4812030">
                <a:moveTo>
                  <a:pt x="2336165" y="3331895"/>
                </a:moveTo>
                <a:lnTo>
                  <a:pt x="2331415" y="3284131"/>
                </a:lnTo>
                <a:lnTo>
                  <a:pt x="2317826" y="3239643"/>
                </a:lnTo>
                <a:lnTo>
                  <a:pt x="2296325" y="3199384"/>
                </a:lnTo>
                <a:lnTo>
                  <a:pt x="2267851" y="3164319"/>
                </a:lnTo>
                <a:lnTo>
                  <a:pt x="2233333" y="3135376"/>
                </a:lnTo>
                <a:lnTo>
                  <a:pt x="2193721" y="3113519"/>
                </a:lnTo>
                <a:lnTo>
                  <a:pt x="2149945" y="3099714"/>
                </a:lnTo>
                <a:lnTo>
                  <a:pt x="2102954" y="3094901"/>
                </a:lnTo>
                <a:lnTo>
                  <a:pt x="2055952" y="3099714"/>
                </a:lnTo>
                <a:lnTo>
                  <a:pt x="2012175" y="3113519"/>
                </a:lnTo>
                <a:lnTo>
                  <a:pt x="1972564" y="3135376"/>
                </a:lnTo>
                <a:lnTo>
                  <a:pt x="1938058" y="3164319"/>
                </a:lnTo>
                <a:lnTo>
                  <a:pt x="1909572" y="3199384"/>
                </a:lnTo>
                <a:lnTo>
                  <a:pt x="1888070" y="3239643"/>
                </a:lnTo>
                <a:lnTo>
                  <a:pt x="1874494" y="3284131"/>
                </a:lnTo>
                <a:lnTo>
                  <a:pt x="1869757" y="3331895"/>
                </a:lnTo>
                <a:lnTo>
                  <a:pt x="1874494" y="3379660"/>
                </a:lnTo>
                <a:lnTo>
                  <a:pt x="1888070" y="3424148"/>
                </a:lnTo>
                <a:lnTo>
                  <a:pt x="1909572" y="3464407"/>
                </a:lnTo>
                <a:lnTo>
                  <a:pt x="1938058" y="3499485"/>
                </a:lnTo>
                <a:lnTo>
                  <a:pt x="1972564" y="3528428"/>
                </a:lnTo>
                <a:lnTo>
                  <a:pt x="2012175" y="3550272"/>
                </a:lnTo>
                <a:lnTo>
                  <a:pt x="2055952" y="3564090"/>
                </a:lnTo>
                <a:lnTo>
                  <a:pt x="2102954" y="3568903"/>
                </a:lnTo>
                <a:lnTo>
                  <a:pt x="2149945" y="3564090"/>
                </a:lnTo>
                <a:lnTo>
                  <a:pt x="2193721" y="3550272"/>
                </a:lnTo>
                <a:lnTo>
                  <a:pt x="2233333" y="3528428"/>
                </a:lnTo>
                <a:lnTo>
                  <a:pt x="2267851" y="3499485"/>
                </a:lnTo>
                <a:lnTo>
                  <a:pt x="2296325" y="3464407"/>
                </a:lnTo>
                <a:lnTo>
                  <a:pt x="2317826" y="3424148"/>
                </a:lnTo>
                <a:lnTo>
                  <a:pt x="2331415" y="3379660"/>
                </a:lnTo>
                <a:lnTo>
                  <a:pt x="2336165" y="3331895"/>
                </a:lnTo>
                <a:close/>
              </a:path>
              <a:path w="4842509" h="4812030">
                <a:moveTo>
                  <a:pt x="2815031" y="1458963"/>
                </a:moveTo>
                <a:lnTo>
                  <a:pt x="2805074" y="1409661"/>
                </a:lnTo>
                <a:lnTo>
                  <a:pt x="2777921" y="1369390"/>
                </a:lnTo>
                <a:lnTo>
                  <a:pt x="2737650" y="1342237"/>
                </a:lnTo>
                <a:lnTo>
                  <a:pt x="2688348" y="1332280"/>
                </a:lnTo>
                <a:lnTo>
                  <a:pt x="1587842" y="1332280"/>
                </a:lnTo>
                <a:lnTo>
                  <a:pt x="1594739" y="1302042"/>
                </a:lnTo>
                <a:lnTo>
                  <a:pt x="1611210" y="1240929"/>
                </a:lnTo>
                <a:lnTo>
                  <a:pt x="1635810" y="1170025"/>
                </a:lnTo>
                <a:lnTo>
                  <a:pt x="1653717" y="1129347"/>
                </a:lnTo>
                <a:lnTo>
                  <a:pt x="1674545" y="1088034"/>
                </a:lnTo>
                <a:lnTo>
                  <a:pt x="1698117" y="1046111"/>
                </a:lnTo>
                <a:lnTo>
                  <a:pt x="1724279" y="1003617"/>
                </a:lnTo>
                <a:lnTo>
                  <a:pt x="1724837" y="1003617"/>
                </a:lnTo>
                <a:lnTo>
                  <a:pt x="1725358" y="1003782"/>
                </a:lnTo>
                <a:lnTo>
                  <a:pt x="2587726" y="1003782"/>
                </a:lnTo>
                <a:lnTo>
                  <a:pt x="2588539" y="1003617"/>
                </a:lnTo>
                <a:lnTo>
                  <a:pt x="2637028" y="993825"/>
                </a:lnTo>
                <a:lnTo>
                  <a:pt x="2677299" y="966673"/>
                </a:lnTo>
                <a:lnTo>
                  <a:pt x="2704452" y="926414"/>
                </a:lnTo>
                <a:lnTo>
                  <a:pt x="2714409" y="877100"/>
                </a:lnTo>
                <a:lnTo>
                  <a:pt x="2704452" y="827798"/>
                </a:lnTo>
                <a:lnTo>
                  <a:pt x="2677299" y="787527"/>
                </a:lnTo>
                <a:lnTo>
                  <a:pt x="2637028" y="760374"/>
                </a:lnTo>
                <a:lnTo>
                  <a:pt x="2587726" y="750417"/>
                </a:lnTo>
                <a:lnTo>
                  <a:pt x="1918449" y="750417"/>
                </a:lnTo>
                <a:lnTo>
                  <a:pt x="1948662" y="716330"/>
                </a:lnTo>
                <a:lnTo>
                  <a:pt x="1979866" y="681990"/>
                </a:lnTo>
                <a:lnTo>
                  <a:pt x="2012010" y="647395"/>
                </a:lnTo>
                <a:lnTo>
                  <a:pt x="2045055" y="612559"/>
                </a:lnTo>
                <a:lnTo>
                  <a:pt x="2078926" y="577494"/>
                </a:lnTo>
                <a:lnTo>
                  <a:pt x="2113610" y="542213"/>
                </a:lnTo>
                <a:lnTo>
                  <a:pt x="2149030" y="506704"/>
                </a:lnTo>
                <a:lnTo>
                  <a:pt x="2185162" y="470992"/>
                </a:lnTo>
                <a:lnTo>
                  <a:pt x="2221954" y="435076"/>
                </a:lnTo>
                <a:lnTo>
                  <a:pt x="2297303" y="362648"/>
                </a:lnTo>
                <a:lnTo>
                  <a:pt x="2414079" y="252666"/>
                </a:lnTo>
                <a:lnTo>
                  <a:pt x="2687383" y="12"/>
                </a:lnTo>
                <a:lnTo>
                  <a:pt x="2146401" y="12"/>
                </a:lnTo>
                <a:lnTo>
                  <a:pt x="2069376" y="72491"/>
                </a:lnTo>
                <a:lnTo>
                  <a:pt x="1987892" y="150406"/>
                </a:lnTo>
                <a:lnTo>
                  <a:pt x="1947964" y="189191"/>
                </a:lnTo>
                <a:lnTo>
                  <a:pt x="1908632" y="227888"/>
                </a:lnTo>
                <a:lnTo>
                  <a:pt x="1869922" y="266471"/>
                </a:lnTo>
                <a:lnTo>
                  <a:pt x="1831911" y="304952"/>
                </a:lnTo>
                <a:lnTo>
                  <a:pt x="1794637" y="343331"/>
                </a:lnTo>
                <a:lnTo>
                  <a:pt x="1758124" y="381622"/>
                </a:lnTo>
                <a:lnTo>
                  <a:pt x="1722450" y="419811"/>
                </a:lnTo>
                <a:lnTo>
                  <a:pt x="1687626" y="457911"/>
                </a:lnTo>
                <a:lnTo>
                  <a:pt x="1653730" y="495922"/>
                </a:lnTo>
                <a:lnTo>
                  <a:pt x="1620786" y="533844"/>
                </a:lnTo>
                <a:lnTo>
                  <a:pt x="1588846" y="571690"/>
                </a:lnTo>
                <a:lnTo>
                  <a:pt x="1557959" y="609447"/>
                </a:lnTo>
                <a:lnTo>
                  <a:pt x="1528152" y="647115"/>
                </a:lnTo>
                <a:lnTo>
                  <a:pt x="1499501" y="684720"/>
                </a:lnTo>
                <a:lnTo>
                  <a:pt x="1472018" y="722249"/>
                </a:lnTo>
                <a:lnTo>
                  <a:pt x="1445780" y="759701"/>
                </a:lnTo>
                <a:lnTo>
                  <a:pt x="1420812" y="797077"/>
                </a:lnTo>
                <a:lnTo>
                  <a:pt x="1397165" y="834390"/>
                </a:lnTo>
                <a:lnTo>
                  <a:pt x="1374889" y="871639"/>
                </a:lnTo>
                <a:lnTo>
                  <a:pt x="1354023" y="908824"/>
                </a:lnTo>
                <a:lnTo>
                  <a:pt x="1334604" y="945946"/>
                </a:lnTo>
                <a:lnTo>
                  <a:pt x="1316697" y="983018"/>
                </a:lnTo>
                <a:lnTo>
                  <a:pt x="1300340" y="1020025"/>
                </a:lnTo>
                <a:lnTo>
                  <a:pt x="1285570" y="1056982"/>
                </a:lnTo>
                <a:lnTo>
                  <a:pt x="1272451" y="1093889"/>
                </a:lnTo>
                <a:lnTo>
                  <a:pt x="1251242" y="1162659"/>
                </a:lnTo>
                <a:lnTo>
                  <a:pt x="1233639" y="1230528"/>
                </a:lnTo>
                <a:lnTo>
                  <a:pt x="1219492" y="1297495"/>
                </a:lnTo>
                <a:lnTo>
                  <a:pt x="1208646" y="1363497"/>
                </a:lnTo>
                <a:lnTo>
                  <a:pt x="1200962" y="1428521"/>
                </a:lnTo>
                <a:lnTo>
                  <a:pt x="1196276" y="1492504"/>
                </a:lnTo>
                <a:lnTo>
                  <a:pt x="1194447" y="1555432"/>
                </a:lnTo>
                <a:lnTo>
                  <a:pt x="1195324" y="1617268"/>
                </a:lnTo>
                <a:lnTo>
                  <a:pt x="1198753" y="1677974"/>
                </a:lnTo>
                <a:lnTo>
                  <a:pt x="1204595" y="1737499"/>
                </a:lnTo>
                <a:lnTo>
                  <a:pt x="1212684" y="1795830"/>
                </a:lnTo>
                <a:lnTo>
                  <a:pt x="1222870" y="1852930"/>
                </a:lnTo>
                <a:lnTo>
                  <a:pt x="1235024" y="1908746"/>
                </a:lnTo>
                <a:lnTo>
                  <a:pt x="1248981" y="1963242"/>
                </a:lnTo>
                <a:lnTo>
                  <a:pt x="1264589" y="2016404"/>
                </a:lnTo>
                <a:lnTo>
                  <a:pt x="1281709" y="2068182"/>
                </a:lnTo>
                <a:lnTo>
                  <a:pt x="1300175" y="2118537"/>
                </a:lnTo>
                <a:lnTo>
                  <a:pt x="1319860" y="2167445"/>
                </a:lnTo>
                <a:lnTo>
                  <a:pt x="1340586" y="2214854"/>
                </a:lnTo>
                <a:lnTo>
                  <a:pt x="1362227" y="2260752"/>
                </a:lnTo>
                <a:lnTo>
                  <a:pt x="1384617" y="2305075"/>
                </a:lnTo>
                <a:lnTo>
                  <a:pt x="1407617" y="2347811"/>
                </a:lnTo>
                <a:lnTo>
                  <a:pt x="1431074" y="2388920"/>
                </a:lnTo>
                <a:lnTo>
                  <a:pt x="1454835" y="2428354"/>
                </a:lnTo>
                <a:lnTo>
                  <a:pt x="1478749" y="2466086"/>
                </a:lnTo>
                <a:lnTo>
                  <a:pt x="1502676" y="2502077"/>
                </a:lnTo>
                <a:lnTo>
                  <a:pt x="1526451" y="2536291"/>
                </a:lnTo>
                <a:lnTo>
                  <a:pt x="1549946" y="2568702"/>
                </a:lnTo>
                <a:lnTo>
                  <a:pt x="1572983" y="2599271"/>
                </a:lnTo>
                <a:lnTo>
                  <a:pt x="1617141" y="2654719"/>
                </a:lnTo>
                <a:lnTo>
                  <a:pt x="1657718" y="2702344"/>
                </a:lnTo>
                <a:lnTo>
                  <a:pt x="1693532" y="2741879"/>
                </a:lnTo>
                <a:lnTo>
                  <a:pt x="1723364" y="2773045"/>
                </a:lnTo>
                <a:lnTo>
                  <a:pt x="1754289" y="2803436"/>
                </a:lnTo>
                <a:lnTo>
                  <a:pt x="1791779" y="2833128"/>
                </a:lnTo>
                <a:lnTo>
                  <a:pt x="1853996" y="2856725"/>
                </a:lnTo>
                <a:lnTo>
                  <a:pt x="1886724" y="2859659"/>
                </a:lnTo>
                <a:lnTo>
                  <a:pt x="1923973" y="2855861"/>
                </a:lnTo>
                <a:lnTo>
                  <a:pt x="1993277" y="2825635"/>
                </a:lnTo>
                <a:lnTo>
                  <a:pt x="2022830" y="2799372"/>
                </a:lnTo>
                <a:lnTo>
                  <a:pt x="2050745" y="2758884"/>
                </a:lnTo>
                <a:lnTo>
                  <a:pt x="2066505" y="2714015"/>
                </a:lnTo>
                <a:lnTo>
                  <a:pt x="2070239" y="2667228"/>
                </a:lnTo>
                <a:lnTo>
                  <a:pt x="2062073" y="2621000"/>
                </a:lnTo>
                <a:lnTo>
                  <a:pt x="2042134" y="2577782"/>
                </a:lnTo>
                <a:lnTo>
                  <a:pt x="2010562" y="2540063"/>
                </a:lnTo>
                <a:lnTo>
                  <a:pt x="2002307" y="2532316"/>
                </a:lnTo>
                <a:lnTo>
                  <a:pt x="1986203" y="2516479"/>
                </a:lnTo>
                <a:lnTo>
                  <a:pt x="1934933" y="2461717"/>
                </a:lnTo>
                <a:lnTo>
                  <a:pt x="1902015" y="2423401"/>
                </a:lnTo>
                <a:lnTo>
                  <a:pt x="1865718" y="2378151"/>
                </a:lnTo>
                <a:lnTo>
                  <a:pt x="1827174" y="2326297"/>
                </a:lnTo>
                <a:lnTo>
                  <a:pt x="1787486" y="2268118"/>
                </a:lnTo>
                <a:lnTo>
                  <a:pt x="1747786" y="2203907"/>
                </a:lnTo>
                <a:lnTo>
                  <a:pt x="1709204" y="2133955"/>
                </a:lnTo>
                <a:lnTo>
                  <a:pt x="2085060" y="2133955"/>
                </a:lnTo>
                <a:lnTo>
                  <a:pt x="2134362" y="2123998"/>
                </a:lnTo>
                <a:lnTo>
                  <a:pt x="2174633" y="2096846"/>
                </a:lnTo>
                <a:lnTo>
                  <a:pt x="2201786" y="2056587"/>
                </a:lnTo>
                <a:lnTo>
                  <a:pt x="2211743" y="2007273"/>
                </a:lnTo>
                <a:lnTo>
                  <a:pt x="2201786" y="1957971"/>
                </a:lnTo>
                <a:lnTo>
                  <a:pt x="2174633" y="1917700"/>
                </a:lnTo>
                <a:lnTo>
                  <a:pt x="2134362" y="1890547"/>
                </a:lnTo>
                <a:lnTo>
                  <a:pt x="2085060" y="1880590"/>
                </a:lnTo>
                <a:lnTo>
                  <a:pt x="1607959" y="1880590"/>
                </a:lnTo>
                <a:lnTo>
                  <a:pt x="1595729" y="1834248"/>
                </a:lnTo>
                <a:lnTo>
                  <a:pt x="1585214" y="1786712"/>
                </a:lnTo>
                <a:lnTo>
                  <a:pt x="1576565" y="1738058"/>
                </a:lnTo>
                <a:lnTo>
                  <a:pt x="1569910" y="1688299"/>
                </a:lnTo>
                <a:lnTo>
                  <a:pt x="1565402" y="1637487"/>
                </a:lnTo>
                <a:lnTo>
                  <a:pt x="1563192" y="1585645"/>
                </a:lnTo>
                <a:lnTo>
                  <a:pt x="2688348" y="1585645"/>
                </a:lnTo>
                <a:lnTo>
                  <a:pt x="2737650" y="1575689"/>
                </a:lnTo>
                <a:lnTo>
                  <a:pt x="2777921" y="1548549"/>
                </a:lnTo>
                <a:lnTo>
                  <a:pt x="2805074" y="1508277"/>
                </a:lnTo>
                <a:lnTo>
                  <a:pt x="2815031" y="1458963"/>
                </a:lnTo>
                <a:close/>
              </a:path>
              <a:path w="4842509" h="4812030">
                <a:moveTo>
                  <a:pt x="3022498" y="2007273"/>
                </a:moveTo>
                <a:lnTo>
                  <a:pt x="3012541" y="1957959"/>
                </a:lnTo>
                <a:lnTo>
                  <a:pt x="2985389" y="1917700"/>
                </a:lnTo>
                <a:lnTo>
                  <a:pt x="2945130" y="1890547"/>
                </a:lnTo>
                <a:lnTo>
                  <a:pt x="2895816" y="1880590"/>
                </a:lnTo>
                <a:lnTo>
                  <a:pt x="2492959" y="1880590"/>
                </a:lnTo>
                <a:lnTo>
                  <a:pt x="2443645" y="1890547"/>
                </a:lnTo>
                <a:lnTo>
                  <a:pt x="2403373" y="1917700"/>
                </a:lnTo>
                <a:lnTo>
                  <a:pt x="2376220" y="1957959"/>
                </a:lnTo>
                <a:lnTo>
                  <a:pt x="2366264" y="2007273"/>
                </a:lnTo>
                <a:lnTo>
                  <a:pt x="2376220" y="2056587"/>
                </a:lnTo>
                <a:lnTo>
                  <a:pt x="2403373" y="2096846"/>
                </a:lnTo>
                <a:lnTo>
                  <a:pt x="2443645" y="2123998"/>
                </a:lnTo>
                <a:lnTo>
                  <a:pt x="2492959" y="2133955"/>
                </a:lnTo>
                <a:lnTo>
                  <a:pt x="2895816" y="2133955"/>
                </a:lnTo>
                <a:lnTo>
                  <a:pt x="2945130" y="2123998"/>
                </a:lnTo>
                <a:lnTo>
                  <a:pt x="2985389" y="2096846"/>
                </a:lnTo>
                <a:lnTo>
                  <a:pt x="3012541" y="2056587"/>
                </a:lnTo>
                <a:lnTo>
                  <a:pt x="3022498" y="2007273"/>
                </a:lnTo>
                <a:close/>
              </a:path>
              <a:path w="4842509" h="4812030">
                <a:moveTo>
                  <a:pt x="3290455" y="869467"/>
                </a:moveTo>
                <a:lnTo>
                  <a:pt x="3285413" y="824915"/>
                </a:lnTo>
                <a:lnTo>
                  <a:pt x="3271024" y="784021"/>
                </a:lnTo>
                <a:lnTo>
                  <a:pt x="3248456" y="747941"/>
                </a:lnTo>
                <a:lnTo>
                  <a:pt x="3218853" y="717854"/>
                </a:lnTo>
                <a:lnTo>
                  <a:pt x="3183344" y="694918"/>
                </a:lnTo>
                <a:lnTo>
                  <a:pt x="3143097" y="680300"/>
                </a:lnTo>
                <a:lnTo>
                  <a:pt x="3099257" y="675170"/>
                </a:lnTo>
                <a:lnTo>
                  <a:pt x="3055429" y="680300"/>
                </a:lnTo>
                <a:lnTo>
                  <a:pt x="3015183" y="694918"/>
                </a:lnTo>
                <a:lnTo>
                  <a:pt x="2979674" y="717854"/>
                </a:lnTo>
                <a:lnTo>
                  <a:pt x="2950070" y="747941"/>
                </a:lnTo>
                <a:lnTo>
                  <a:pt x="2927502" y="784021"/>
                </a:lnTo>
                <a:lnTo>
                  <a:pt x="2913113" y="824915"/>
                </a:lnTo>
                <a:lnTo>
                  <a:pt x="2908058" y="869467"/>
                </a:lnTo>
                <a:lnTo>
                  <a:pt x="2913113" y="914019"/>
                </a:lnTo>
                <a:lnTo>
                  <a:pt x="2927502" y="954925"/>
                </a:lnTo>
                <a:lnTo>
                  <a:pt x="2950070" y="990993"/>
                </a:lnTo>
                <a:lnTo>
                  <a:pt x="2979674" y="1021092"/>
                </a:lnTo>
                <a:lnTo>
                  <a:pt x="3015183" y="1044028"/>
                </a:lnTo>
                <a:lnTo>
                  <a:pt x="3055429" y="1058646"/>
                </a:lnTo>
                <a:lnTo>
                  <a:pt x="3099257" y="1063777"/>
                </a:lnTo>
                <a:lnTo>
                  <a:pt x="3143097" y="1058646"/>
                </a:lnTo>
                <a:lnTo>
                  <a:pt x="3183344" y="1044028"/>
                </a:lnTo>
                <a:lnTo>
                  <a:pt x="3218853" y="1021092"/>
                </a:lnTo>
                <a:lnTo>
                  <a:pt x="3248456" y="990993"/>
                </a:lnTo>
                <a:lnTo>
                  <a:pt x="3271024" y="954925"/>
                </a:lnTo>
                <a:lnTo>
                  <a:pt x="3285413" y="914019"/>
                </a:lnTo>
                <a:lnTo>
                  <a:pt x="3290455" y="869467"/>
                </a:lnTo>
                <a:close/>
              </a:path>
              <a:path w="4842509" h="4812030">
                <a:moveTo>
                  <a:pt x="3455378" y="1445844"/>
                </a:moveTo>
                <a:lnTo>
                  <a:pt x="3449624" y="1402283"/>
                </a:lnTo>
                <a:lnTo>
                  <a:pt x="3433368" y="1363154"/>
                </a:lnTo>
                <a:lnTo>
                  <a:pt x="3408159" y="1329994"/>
                </a:lnTo>
                <a:lnTo>
                  <a:pt x="3375533" y="1304378"/>
                </a:lnTo>
                <a:lnTo>
                  <a:pt x="3337026" y="1287868"/>
                </a:lnTo>
                <a:lnTo>
                  <a:pt x="3294164" y="1282014"/>
                </a:lnTo>
                <a:lnTo>
                  <a:pt x="3251314" y="1287868"/>
                </a:lnTo>
                <a:lnTo>
                  <a:pt x="3212795" y="1304378"/>
                </a:lnTo>
                <a:lnTo>
                  <a:pt x="3180169" y="1329994"/>
                </a:lnTo>
                <a:lnTo>
                  <a:pt x="3154959" y="1363154"/>
                </a:lnTo>
                <a:lnTo>
                  <a:pt x="3138716" y="1402283"/>
                </a:lnTo>
                <a:lnTo>
                  <a:pt x="3132950" y="1445844"/>
                </a:lnTo>
                <a:lnTo>
                  <a:pt x="3138716" y="1489392"/>
                </a:lnTo>
                <a:lnTo>
                  <a:pt x="3154959" y="1528533"/>
                </a:lnTo>
                <a:lnTo>
                  <a:pt x="3180169" y="1561680"/>
                </a:lnTo>
                <a:lnTo>
                  <a:pt x="3212795" y="1587309"/>
                </a:lnTo>
                <a:lnTo>
                  <a:pt x="3251314" y="1603819"/>
                </a:lnTo>
                <a:lnTo>
                  <a:pt x="3294164" y="1609674"/>
                </a:lnTo>
                <a:lnTo>
                  <a:pt x="3337026" y="1603819"/>
                </a:lnTo>
                <a:lnTo>
                  <a:pt x="3375533" y="1587309"/>
                </a:lnTo>
                <a:lnTo>
                  <a:pt x="3408159" y="1561680"/>
                </a:lnTo>
                <a:lnTo>
                  <a:pt x="3433368" y="1528533"/>
                </a:lnTo>
                <a:lnTo>
                  <a:pt x="3449624" y="1489392"/>
                </a:lnTo>
                <a:lnTo>
                  <a:pt x="3455378" y="1445844"/>
                </a:lnTo>
                <a:close/>
              </a:path>
              <a:path w="4842509" h="4812030">
                <a:moveTo>
                  <a:pt x="3677882" y="150622"/>
                </a:moveTo>
                <a:lnTo>
                  <a:pt x="3669868" y="100114"/>
                </a:lnTo>
                <a:lnTo>
                  <a:pt x="3647541" y="56248"/>
                </a:lnTo>
                <a:lnTo>
                  <a:pt x="3613505" y="21653"/>
                </a:lnTo>
                <a:lnTo>
                  <a:pt x="3572306" y="0"/>
                </a:lnTo>
                <a:lnTo>
                  <a:pt x="3468979" y="0"/>
                </a:lnTo>
                <a:lnTo>
                  <a:pt x="3427780" y="21653"/>
                </a:lnTo>
                <a:lnTo>
                  <a:pt x="3393744" y="56248"/>
                </a:lnTo>
                <a:lnTo>
                  <a:pt x="3371418" y="100114"/>
                </a:lnTo>
                <a:lnTo>
                  <a:pt x="3363404" y="150622"/>
                </a:lnTo>
                <a:lnTo>
                  <a:pt x="3371418" y="201129"/>
                </a:lnTo>
                <a:lnTo>
                  <a:pt x="3393744" y="244995"/>
                </a:lnTo>
                <a:lnTo>
                  <a:pt x="3427780" y="279577"/>
                </a:lnTo>
                <a:lnTo>
                  <a:pt x="3470935" y="302260"/>
                </a:lnTo>
                <a:lnTo>
                  <a:pt x="3520643" y="310413"/>
                </a:lnTo>
                <a:lnTo>
                  <a:pt x="3570338" y="302260"/>
                </a:lnTo>
                <a:lnTo>
                  <a:pt x="3613505" y="279577"/>
                </a:lnTo>
                <a:lnTo>
                  <a:pt x="3647541" y="244995"/>
                </a:lnTo>
                <a:lnTo>
                  <a:pt x="3669868" y="201129"/>
                </a:lnTo>
                <a:lnTo>
                  <a:pt x="3677882" y="150622"/>
                </a:lnTo>
                <a:close/>
              </a:path>
              <a:path w="4842509" h="4812030">
                <a:moveTo>
                  <a:pt x="3887127" y="718464"/>
                </a:moveTo>
                <a:lnTo>
                  <a:pt x="3882085" y="673912"/>
                </a:lnTo>
                <a:lnTo>
                  <a:pt x="3867696" y="633006"/>
                </a:lnTo>
                <a:lnTo>
                  <a:pt x="3845128" y="596925"/>
                </a:lnTo>
                <a:lnTo>
                  <a:pt x="3815524" y="566839"/>
                </a:lnTo>
                <a:lnTo>
                  <a:pt x="3780015" y="543902"/>
                </a:lnTo>
                <a:lnTo>
                  <a:pt x="3739769" y="529285"/>
                </a:lnTo>
                <a:lnTo>
                  <a:pt x="3695928" y="524154"/>
                </a:lnTo>
                <a:lnTo>
                  <a:pt x="3652101" y="529285"/>
                </a:lnTo>
                <a:lnTo>
                  <a:pt x="3611854" y="543902"/>
                </a:lnTo>
                <a:lnTo>
                  <a:pt x="3576345" y="566839"/>
                </a:lnTo>
                <a:lnTo>
                  <a:pt x="3546741" y="596925"/>
                </a:lnTo>
                <a:lnTo>
                  <a:pt x="3524173" y="633006"/>
                </a:lnTo>
                <a:lnTo>
                  <a:pt x="3509784" y="673912"/>
                </a:lnTo>
                <a:lnTo>
                  <a:pt x="3504730" y="718464"/>
                </a:lnTo>
                <a:lnTo>
                  <a:pt x="3509784" y="763016"/>
                </a:lnTo>
                <a:lnTo>
                  <a:pt x="3524173" y="803910"/>
                </a:lnTo>
                <a:lnTo>
                  <a:pt x="3546741" y="839990"/>
                </a:lnTo>
                <a:lnTo>
                  <a:pt x="3576345" y="870089"/>
                </a:lnTo>
                <a:lnTo>
                  <a:pt x="3611854" y="893025"/>
                </a:lnTo>
                <a:lnTo>
                  <a:pt x="3652101" y="907643"/>
                </a:lnTo>
                <a:lnTo>
                  <a:pt x="3695928" y="912774"/>
                </a:lnTo>
                <a:lnTo>
                  <a:pt x="3739769" y="907643"/>
                </a:lnTo>
                <a:lnTo>
                  <a:pt x="3780015" y="893025"/>
                </a:lnTo>
                <a:lnTo>
                  <a:pt x="3815524" y="870089"/>
                </a:lnTo>
                <a:lnTo>
                  <a:pt x="3845128" y="839990"/>
                </a:lnTo>
                <a:lnTo>
                  <a:pt x="3867696" y="803910"/>
                </a:lnTo>
                <a:lnTo>
                  <a:pt x="3882085" y="763016"/>
                </a:lnTo>
                <a:lnTo>
                  <a:pt x="3887127" y="718464"/>
                </a:lnTo>
                <a:close/>
              </a:path>
              <a:path w="4842509" h="4812030">
                <a:moveTo>
                  <a:pt x="4802949" y="2826423"/>
                </a:moveTo>
                <a:lnTo>
                  <a:pt x="4797895" y="2781871"/>
                </a:lnTo>
                <a:lnTo>
                  <a:pt x="4783518" y="2740977"/>
                </a:lnTo>
                <a:lnTo>
                  <a:pt x="4760950" y="2704896"/>
                </a:lnTo>
                <a:lnTo>
                  <a:pt x="4731334" y="2674810"/>
                </a:lnTo>
                <a:lnTo>
                  <a:pt x="4695837" y="2651874"/>
                </a:lnTo>
                <a:lnTo>
                  <a:pt x="4655591" y="2637256"/>
                </a:lnTo>
                <a:lnTo>
                  <a:pt x="4611751" y="2632113"/>
                </a:lnTo>
                <a:lnTo>
                  <a:pt x="4567910" y="2637256"/>
                </a:lnTo>
                <a:lnTo>
                  <a:pt x="4527664" y="2651874"/>
                </a:lnTo>
                <a:lnTo>
                  <a:pt x="4492168" y="2674810"/>
                </a:lnTo>
                <a:lnTo>
                  <a:pt x="4462551" y="2704896"/>
                </a:lnTo>
                <a:lnTo>
                  <a:pt x="4439983" y="2740977"/>
                </a:lnTo>
                <a:lnTo>
                  <a:pt x="4425607" y="2781871"/>
                </a:lnTo>
                <a:lnTo>
                  <a:pt x="4420552" y="2826423"/>
                </a:lnTo>
                <a:lnTo>
                  <a:pt x="4425607" y="2870987"/>
                </a:lnTo>
                <a:lnTo>
                  <a:pt x="4439983" y="2911881"/>
                </a:lnTo>
                <a:lnTo>
                  <a:pt x="4462551" y="2947962"/>
                </a:lnTo>
                <a:lnTo>
                  <a:pt x="4492168" y="2978048"/>
                </a:lnTo>
                <a:lnTo>
                  <a:pt x="4527664" y="3000984"/>
                </a:lnTo>
                <a:lnTo>
                  <a:pt x="4567910" y="3015602"/>
                </a:lnTo>
                <a:lnTo>
                  <a:pt x="4611751" y="3020733"/>
                </a:lnTo>
                <a:lnTo>
                  <a:pt x="4655591" y="3015602"/>
                </a:lnTo>
                <a:lnTo>
                  <a:pt x="4695837" y="3000984"/>
                </a:lnTo>
                <a:lnTo>
                  <a:pt x="4731334" y="2978048"/>
                </a:lnTo>
                <a:lnTo>
                  <a:pt x="4760950" y="2947962"/>
                </a:lnTo>
                <a:lnTo>
                  <a:pt x="4783518" y="2911881"/>
                </a:lnTo>
                <a:lnTo>
                  <a:pt x="4797895" y="2870987"/>
                </a:lnTo>
                <a:lnTo>
                  <a:pt x="4802949" y="2826423"/>
                </a:lnTo>
                <a:close/>
              </a:path>
              <a:path w="4842509" h="4812030">
                <a:moveTo>
                  <a:pt x="4841951" y="3211792"/>
                </a:moveTo>
                <a:lnTo>
                  <a:pt x="4773104" y="3214001"/>
                </a:lnTo>
                <a:lnTo>
                  <a:pt x="4732858" y="3228619"/>
                </a:lnTo>
                <a:lnTo>
                  <a:pt x="4697349" y="3251555"/>
                </a:lnTo>
                <a:lnTo>
                  <a:pt x="4667745" y="3281642"/>
                </a:lnTo>
                <a:lnTo>
                  <a:pt x="4645177" y="3317722"/>
                </a:lnTo>
                <a:lnTo>
                  <a:pt x="4630788" y="3358629"/>
                </a:lnTo>
                <a:lnTo>
                  <a:pt x="4625746" y="3403181"/>
                </a:lnTo>
                <a:lnTo>
                  <a:pt x="4630788" y="3447732"/>
                </a:lnTo>
                <a:lnTo>
                  <a:pt x="4645177" y="3488626"/>
                </a:lnTo>
                <a:lnTo>
                  <a:pt x="4667745" y="3524707"/>
                </a:lnTo>
                <a:lnTo>
                  <a:pt x="4697349" y="3554806"/>
                </a:lnTo>
                <a:lnTo>
                  <a:pt x="4732858" y="3577742"/>
                </a:lnTo>
                <a:lnTo>
                  <a:pt x="4773104" y="3592360"/>
                </a:lnTo>
                <a:lnTo>
                  <a:pt x="4816945" y="3597491"/>
                </a:lnTo>
                <a:lnTo>
                  <a:pt x="4841951" y="3594557"/>
                </a:lnTo>
                <a:lnTo>
                  <a:pt x="4841951" y="3211792"/>
                </a:lnTo>
                <a:close/>
              </a:path>
              <a:path w="4842509" h="4812030">
                <a:moveTo>
                  <a:pt x="4841951" y="1851342"/>
                </a:moveTo>
                <a:lnTo>
                  <a:pt x="4807712" y="1884832"/>
                </a:lnTo>
                <a:lnTo>
                  <a:pt x="4783315" y="1919909"/>
                </a:lnTo>
                <a:lnTo>
                  <a:pt x="4765014" y="1959063"/>
                </a:lnTo>
                <a:lnTo>
                  <a:pt x="4753534" y="2001583"/>
                </a:lnTo>
                <a:lnTo>
                  <a:pt x="4749546" y="2046757"/>
                </a:lnTo>
                <a:lnTo>
                  <a:pt x="4753534" y="2091944"/>
                </a:lnTo>
                <a:lnTo>
                  <a:pt x="4765014" y="2134463"/>
                </a:lnTo>
                <a:lnTo>
                  <a:pt x="4783315" y="2173617"/>
                </a:lnTo>
                <a:lnTo>
                  <a:pt x="4807712" y="2208695"/>
                </a:lnTo>
                <a:lnTo>
                  <a:pt x="4837519" y="2238997"/>
                </a:lnTo>
                <a:lnTo>
                  <a:pt x="4841951" y="2242185"/>
                </a:lnTo>
                <a:lnTo>
                  <a:pt x="4841951" y="1851342"/>
                </a:lnTo>
                <a:close/>
              </a:path>
              <a:path w="4842509" h="4812030">
                <a:moveTo>
                  <a:pt x="4841951" y="582485"/>
                </a:moveTo>
                <a:lnTo>
                  <a:pt x="4189387" y="582485"/>
                </a:lnTo>
                <a:lnTo>
                  <a:pt x="4140073" y="592455"/>
                </a:lnTo>
                <a:lnTo>
                  <a:pt x="4099814" y="619594"/>
                </a:lnTo>
                <a:lnTo>
                  <a:pt x="4072674" y="659866"/>
                </a:lnTo>
                <a:lnTo>
                  <a:pt x="4062730" y="709168"/>
                </a:lnTo>
                <a:lnTo>
                  <a:pt x="4072674" y="758482"/>
                </a:lnTo>
                <a:lnTo>
                  <a:pt x="4099814" y="798753"/>
                </a:lnTo>
                <a:lnTo>
                  <a:pt x="4140073" y="825906"/>
                </a:lnTo>
                <a:lnTo>
                  <a:pt x="4189387" y="835850"/>
                </a:lnTo>
                <a:lnTo>
                  <a:pt x="4767542" y="835850"/>
                </a:lnTo>
                <a:lnTo>
                  <a:pt x="4736668" y="873556"/>
                </a:lnTo>
                <a:lnTo>
                  <a:pt x="4705045" y="911199"/>
                </a:lnTo>
                <a:lnTo>
                  <a:pt x="4672723" y="948778"/>
                </a:lnTo>
                <a:lnTo>
                  <a:pt x="4639742" y="986294"/>
                </a:lnTo>
                <a:lnTo>
                  <a:pt x="4606137" y="1023747"/>
                </a:lnTo>
                <a:lnTo>
                  <a:pt x="4571949" y="1061110"/>
                </a:lnTo>
                <a:lnTo>
                  <a:pt x="4537214" y="1098384"/>
                </a:lnTo>
                <a:lnTo>
                  <a:pt x="4501985" y="1135583"/>
                </a:lnTo>
                <a:lnTo>
                  <a:pt x="4466285" y="1172667"/>
                </a:lnTo>
                <a:lnTo>
                  <a:pt x="4430166" y="1209662"/>
                </a:lnTo>
                <a:lnTo>
                  <a:pt x="4393654" y="1246543"/>
                </a:lnTo>
                <a:lnTo>
                  <a:pt x="4356811" y="1283309"/>
                </a:lnTo>
                <a:lnTo>
                  <a:pt x="4319663" y="1319961"/>
                </a:lnTo>
                <a:lnTo>
                  <a:pt x="4282249" y="1356474"/>
                </a:lnTo>
                <a:lnTo>
                  <a:pt x="4206786" y="1429118"/>
                </a:lnTo>
                <a:lnTo>
                  <a:pt x="4092625" y="1536966"/>
                </a:lnTo>
                <a:lnTo>
                  <a:pt x="3735552" y="1867319"/>
                </a:lnTo>
                <a:lnTo>
                  <a:pt x="3567468" y="2024532"/>
                </a:lnTo>
                <a:lnTo>
                  <a:pt x="3485985" y="2102446"/>
                </a:lnTo>
                <a:lnTo>
                  <a:pt x="3446056" y="2141245"/>
                </a:lnTo>
                <a:lnTo>
                  <a:pt x="3406711" y="2179929"/>
                </a:lnTo>
                <a:lnTo>
                  <a:pt x="3368014" y="2218512"/>
                </a:lnTo>
                <a:lnTo>
                  <a:pt x="3330003" y="2256993"/>
                </a:lnTo>
                <a:lnTo>
                  <a:pt x="3292716" y="2295372"/>
                </a:lnTo>
                <a:lnTo>
                  <a:pt x="3256216" y="2333663"/>
                </a:lnTo>
                <a:lnTo>
                  <a:pt x="3220529" y="2371852"/>
                </a:lnTo>
                <a:lnTo>
                  <a:pt x="3185718" y="2409952"/>
                </a:lnTo>
                <a:lnTo>
                  <a:pt x="3151809" y="2447963"/>
                </a:lnTo>
                <a:lnTo>
                  <a:pt x="3118866" y="2485885"/>
                </a:lnTo>
                <a:lnTo>
                  <a:pt x="3086925" y="2523731"/>
                </a:lnTo>
                <a:lnTo>
                  <a:pt x="3056039" y="2561488"/>
                </a:lnTo>
                <a:lnTo>
                  <a:pt x="3026245" y="2599169"/>
                </a:lnTo>
                <a:lnTo>
                  <a:pt x="2997581" y="2636761"/>
                </a:lnTo>
                <a:lnTo>
                  <a:pt x="2970111" y="2674289"/>
                </a:lnTo>
                <a:lnTo>
                  <a:pt x="2943860" y="2711742"/>
                </a:lnTo>
                <a:lnTo>
                  <a:pt x="2918904" y="2749118"/>
                </a:lnTo>
                <a:lnTo>
                  <a:pt x="2895257" y="2786430"/>
                </a:lnTo>
                <a:lnTo>
                  <a:pt x="2872981" y="2823680"/>
                </a:lnTo>
                <a:lnTo>
                  <a:pt x="2852102" y="2860865"/>
                </a:lnTo>
                <a:lnTo>
                  <a:pt x="2832697" y="2898000"/>
                </a:lnTo>
                <a:lnTo>
                  <a:pt x="2814790" y="2935059"/>
                </a:lnTo>
                <a:lnTo>
                  <a:pt x="2798432" y="2972066"/>
                </a:lnTo>
                <a:lnTo>
                  <a:pt x="2783662" y="3009023"/>
                </a:lnTo>
                <a:lnTo>
                  <a:pt x="2770543" y="3045930"/>
                </a:lnTo>
                <a:lnTo>
                  <a:pt x="2749334" y="3114700"/>
                </a:lnTo>
                <a:lnTo>
                  <a:pt x="2731732" y="3182582"/>
                </a:lnTo>
                <a:lnTo>
                  <a:pt x="2717584" y="3249536"/>
                </a:lnTo>
                <a:lnTo>
                  <a:pt x="2706751" y="3315551"/>
                </a:lnTo>
                <a:lnTo>
                  <a:pt x="2699054" y="3380562"/>
                </a:lnTo>
                <a:lnTo>
                  <a:pt x="2694368" y="3444557"/>
                </a:lnTo>
                <a:lnTo>
                  <a:pt x="2692539" y="3507486"/>
                </a:lnTo>
                <a:lnTo>
                  <a:pt x="2693416" y="3569322"/>
                </a:lnTo>
                <a:lnTo>
                  <a:pt x="2696845" y="3630015"/>
                </a:lnTo>
                <a:lnTo>
                  <a:pt x="2702687" y="3689553"/>
                </a:lnTo>
                <a:lnTo>
                  <a:pt x="2710777" y="3747884"/>
                </a:lnTo>
                <a:lnTo>
                  <a:pt x="2720975" y="3804970"/>
                </a:lnTo>
                <a:lnTo>
                  <a:pt x="2733116" y="3860787"/>
                </a:lnTo>
                <a:lnTo>
                  <a:pt x="2747073" y="3915295"/>
                </a:lnTo>
                <a:lnTo>
                  <a:pt x="2762681" y="3968458"/>
                </a:lnTo>
                <a:lnTo>
                  <a:pt x="2779801" y="4020235"/>
                </a:lnTo>
                <a:lnTo>
                  <a:pt x="2798267" y="4070591"/>
                </a:lnTo>
                <a:lnTo>
                  <a:pt x="2817952" y="4119499"/>
                </a:lnTo>
                <a:lnTo>
                  <a:pt x="2838678" y="4166908"/>
                </a:lnTo>
                <a:lnTo>
                  <a:pt x="2860319" y="4212806"/>
                </a:lnTo>
                <a:lnTo>
                  <a:pt x="2882709" y="4257129"/>
                </a:lnTo>
                <a:lnTo>
                  <a:pt x="2905709" y="4299864"/>
                </a:lnTo>
                <a:lnTo>
                  <a:pt x="2929166" y="4340974"/>
                </a:lnTo>
                <a:lnTo>
                  <a:pt x="2952927" y="4380408"/>
                </a:lnTo>
                <a:lnTo>
                  <a:pt x="2976854" y="4418139"/>
                </a:lnTo>
                <a:lnTo>
                  <a:pt x="3000768" y="4454131"/>
                </a:lnTo>
                <a:lnTo>
                  <a:pt x="3024555" y="4488345"/>
                </a:lnTo>
                <a:lnTo>
                  <a:pt x="3048038" y="4520755"/>
                </a:lnTo>
                <a:lnTo>
                  <a:pt x="3071076" y="4551324"/>
                </a:lnTo>
                <a:lnTo>
                  <a:pt x="3115233" y="4606772"/>
                </a:lnTo>
                <a:lnTo>
                  <a:pt x="3155810" y="4654410"/>
                </a:lnTo>
                <a:lnTo>
                  <a:pt x="3191624" y="4693945"/>
                </a:lnTo>
                <a:lnTo>
                  <a:pt x="3221456" y="4725098"/>
                </a:lnTo>
                <a:lnTo>
                  <a:pt x="3252393" y="4755489"/>
                </a:lnTo>
                <a:lnTo>
                  <a:pt x="3289871" y="4785195"/>
                </a:lnTo>
                <a:lnTo>
                  <a:pt x="3352101" y="4808791"/>
                </a:lnTo>
                <a:lnTo>
                  <a:pt x="3384816" y="4811725"/>
                </a:lnTo>
                <a:lnTo>
                  <a:pt x="3422065" y="4807928"/>
                </a:lnTo>
                <a:lnTo>
                  <a:pt x="3491369" y="4777714"/>
                </a:lnTo>
                <a:lnTo>
                  <a:pt x="3520922" y="4751438"/>
                </a:lnTo>
                <a:lnTo>
                  <a:pt x="3548837" y="4710963"/>
                </a:lnTo>
                <a:lnTo>
                  <a:pt x="3564598" y="4666081"/>
                </a:lnTo>
                <a:lnTo>
                  <a:pt x="3568331" y="4619295"/>
                </a:lnTo>
                <a:lnTo>
                  <a:pt x="3560165" y="4573067"/>
                </a:lnTo>
                <a:lnTo>
                  <a:pt x="3540239" y="4529861"/>
                </a:lnTo>
                <a:lnTo>
                  <a:pt x="3508654" y="4492129"/>
                </a:lnTo>
                <a:lnTo>
                  <a:pt x="3500399" y="4484382"/>
                </a:lnTo>
                <a:lnTo>
                  <a:pt x="3484295" y="4468546"/>
                </a:lnTo>
                <a:lnTo>
                  <a:pt x="3433026" y="4413796"/>
                </a:lnTo>
                <a:lnTo>
                  <a:pt x="3400107" y="4375455"/>
                </a:lnTo>
                <a:lnTo>
                  <a:pt x="3363798" y="4330217"/>
                </a:lnTo>
                <a:lnTo>
                  <a:pt x="3325253" y="4278363"/>
                </a:lnTo>
                <a:lnTo>
                  <a:pt x="3285566" y="4220172"/>
                </a:lnTo>
                <a:lnTo>
                  <a:pt x="3245878" y="4155960"/>
                </a:lnTo>
                <a:lnTo>
                  <a:pt x="3207283" y="4085996"/>
                </a:lnTo>
                <a:lnTo>
                  <a:pt x="3803065" y="4085996"/>
                </a:lnTo>
                <a:lnTo>
                  <a:pt x="3852380" y="4076039"/>
                </a:lnTo>
                <a:lnTo>
                  <a:pt x="3892639" y="4048887"/>
                </a:lnTo>
                <a:lnTo>
                  <a:pt x="3919766" y="4008628"/>
                </a:lnTo>
                <a:lnTo>
                  <a:pt x="3929723" y="3959314"/>
                </a:lnTo>
                <a:lnTo>
                  <a:pt x="3919766" y="3910012"/>
                </a:lnTo>
                <a:lnTo>
                  <a:pt x="3892639" y="3869740"/>
                </a:lnTo>
                <a:lnTo>
                  <a:pt x="3852380" y="3842588"/>
                </a:lnTo>
                <a:lnTo>
                  <a:pt x="3803065" y="3832631"/>
                </a:lnTo>
                <a:lnTo>
                  <a:pt x="3106051" y="3832631"/>
                </a:lnTo>
                <a:lnTo>
                  <a:pt x="3093821" y="3786289"/>
                </a:lnTo>
                <a:lnTo>
                  <a:pt x="3083318" y="3738765"/>
                </a:lnTo>
                <a:lnTo>
                  <a:pt x="3074657" y="3690099"/>
                </a:lnTo>
                <a:lnTo>
                  <a:pt x="3068002" y="3640340"/>
                </a:lnTo>
                <a:lnTo>
                  <a:pt x="3063494" y="3589528"/>
                </a:lnTo>
                <a:lnTo>
                  <a:pt x="3061284" y="3537686"/>
                </a:lnTo>
                <a:lnTo>
                  <a:pt x="4186415" y="3537686"/>
                </a:lnTo>
                <a:lnTo>
                  <a:pt x="4235729" y="3527742"/>
                </a:lnTo>
                <a:lnTo>
                  <a:pt x="4275988" y="3500590"/>
                </a:lnTo>
                <a:lnTo>
                  <a:pt x="4303128" y="3460318"/>
                </a:lnTo>
                <a:lnTo>
                  <a:pt x="4313072" y="3411004"/>
                </a:lnTo>
                <a:lnTo>
                  <a:pt x="4303128" y="3361702"/>
                </a:lnTo>
                <a:lnTo>
                  <a:pt x="4275988" y="3321431"/>
                </a:lnTo>
                <a:lnTo>
                  <a:pt x="4235729" y="3294291"/>
                </a:lnTo>
                <a:lnTo>
                  <a:pt x="4186415" y="3284321"/>
                </a:lnTo>
                <a:lnTo>
                  <a:pt x="3085935" y="3284321"/>
                </a:lnTo>
                <a:lnTo>
                  <a:pt x="3092831" y="3254083"/>
                </a:lnTo>
                <a:lnTo>
                  <a:pt x="3109315" y="3192983"/>
                </a:lnTo>
                <a:lnTo>
                  <a:pt x="3133902" y="3122079"/>
                </a:lnTo>
                <a:lnTo>
                  <a:pt x="3151809" y="3081401"/>
                </a:lnTo>
                <a:lnTo>
                  <a:pt x="3172637" y="3040075"/>
                </a:lnTo>
                <a:lnTo>
                  <a:pt x="3196209" y="2998165"/>
                </a:lnTo>
                <a:lnTo>
                  <a:pt x="3222371" y="2955658"/>
                </a:lnTo>
                <a:lnTo>
                  <a:pt x="3222929" y="2955658"/>
                </a:lnTo>
                <a:lnTo>
                  <a:pt x="3223450" y="2955823"/>
                </a:lnTo>
                <a:lnTo>
                  <a:pt x="4085818" y="2955823"/>
                </a:lnTo>
                <a:lnTo>
                  <a:pt x="4086631" y="2955658"/>
                </a:lnTo>
                <a:lnTo>
                  <a:pt x="4135132" y="2945866"/>
                </a:lnTo>
                <a:lnTo>
                  <a:pt x="4175391" y="2918714"/>
                </a:lnTo>
                <a:lnTo>
                  <a:pt x="4202519" y="2878455"/>
                </a:lnTo>
                <a:lnTo>
                  <a:pt x="4212475" y="2829141"/>
                </a:lnTo>
                <a:lnTo>
                  <a:pt x="4202519" y="2779839"/>
                </a:lnTo>
                <a:lnTo>
                  <a:pt x="4175391" y="2739567"/>
                </a:lnTo>
                <a:lnTo>
                  <a:pt x="4135132" y="2712415"/>
                </a:lnTo>
                <a:lnTo>
                  <a:pt x="4085818" y="2702458"/>
                </a:lnTo>
                <a:lnTo>
                  <a:pt x="3416541" y="2702458"/>
                </a:lnTo>
                <a:lnTo>
                  <a:pt x="3446754" y="2668371"/>
                </a:lnTo>
                <a:lnTo>
                  <a:pt x="3477958" y="2634030"/>
                </a:lnTo>
                <a:lnTo>
                  <a:pt x="3510102" y="2599436"/>
                </a:lnTo>
                <a:lnTo>
                  <a:pt x="3543135" y="2564612"/>
                </a:lnTo>
                <a:lnTo>
                  <a:pt x="3577018" y="2529548"/>
                </a:lnTo>
                <a:lnTo>
                  <a:pt x="3611702" y="2494267"/>
                </a:lnTo>
                <a:lnTo>
                  <a:pt x="3647122" y="2458758"/>
                </a:lnTo>
                <a:lnTo>
                  <a:pt x="3683254" y="2423045"/>
                </a:lnTo>
                <a:lnTo>
                  <a:pt x="3720046" y="2387117"/>
                </a:lnTo>
                <a:lnTo>
                  <a:pt x="3795395" y="2314702"/>
                </a:lnTo>
                <a:lnTo>
                  <a:pt x="3912184" y="2204707"/>
                </a:lnTo>
                <a:lnTo>
                  <a:pt x="4351325" y="1798180"/>
                </a:lnTo>
                <a:lnTo>
                  <a:pt x="4468863" y="1687245"/>
                </a:lnTo>
                <a:lnTo>
                  <a:pt x="4546206" y="1612912"/>
                </a:lnTo>
                <a:lnTo>
                  <a:pt x="4584484" y="1575625"/>
                </a:lnTo>
                <a:lnTo>
                  <a:pt x="4622444" y="1538236"/>
                </a:lnTo>
                <a:lnTo>
                  <a:pt x="4660087" y="1500771"/>
                </a:lnTo>
                <a:lnTo>
                  <a:pt x="4697361" y="1463205"/>
                </a:lnTo>
                <a:lnTo>
                  <a:pt x="4734242" y="1425549"/>
                </a:lnTo>
                <a:lnTo>
                  <a:pt x="4770691" y="1387792"/>
                </a:lnTo>
                <a:lnTo>
                  <a:pt x="4806696" y="1349933"/>
                </a:lnTo>
                <a:lnTo>
                  <a:pt x="4841951" y="1312240"/>
                </a:lnTo>
                <a:lnTo>
                  <a:pt x="4841951" y="582485"/>
                </a:lnTo>
                <a:close/>
              </a:path>
              <a:path w="4842509" h="4812030">
                <a:moveTo>
                  <a:pt x="4841951" y="7937"/>
                </a:moveTo>
                <a:lnTo>
                  <a:pt x="4133786" y="7937"/>
                </a:lnTo>
                <a:lnTo>
                  <a:pt x="4084472" y="17907"/>
                </a:lnTo>
                <a:lnTo>
                  <a:pt x="4044213" y="45046"/>
                </a:lnTo>
                <a:lnTo>
                  <a:pt x="4017073" y="85318"/>
                </a:lnTo>
                <a:lnTo>
                  <a:pt x="4007129" y="134620"/>
                </a:lnTo>
                <a:lnTo>
                  <a:pt x="4017073" y="183934"/>
                </a:lnTo>
                <a:lnTo>
                  <a:pt x="4044213" y="224205"/>
                </a:lnTo>
                <a:lnTo>
                  <a:pt x="4084472" y="251358"/>
                </a:lnTo>
                <a:lnTo>
                  <a:pt x="4133786" y="261315"/>
                </a:lnTo>
                <a:lnTo>
                  <a:pt x="4841951" y="261315"/>
                </a:lnTo>
                <a:lnTo>
                  <a:pt x="4841951" y="7937"/>
                </a:lnTo>
                <a:close/>
              </a:path>
            </a:pathLst>
          </a:custGeom>
          <a:solidFill>
            <a:srgbClr val="0E5C77">
              <a:alpha val="23999"/>
            </a:srgbClr>
          </a:solidFill>
        </p:spPr>
        <p:txBody>
          <a:bodyPr wrap="square" lIns="0" tIns="0" rIns="0" bIns="0" rtlCol="0"/>
          <a:lstStyle/>
          <a:p>
            <a:endParaRPr/>
          </a:p>
        </p:txBody>
      </p:sp>
      <p:grpSp>
        <p:nvGrpSpPr>
          <p:cNvPr id="8" name="Group 7">
            <a:extLst>
              <a:ext uri="{FF2B5EF4-FFF2-40B4-BE49-F238E27FC236}">
                <a16:creationId xmlns:a16="http://schemas.microsoft.com/office/drawing/2014/main" id="{B5C08C7F-F671-37EF-FA4F-14868BE5D34B}"/>
              </a:ext>
            </a:extLst>
          </p:cNvPr>
          <p:cNvGrpSpPr/>
          <p:nvPr userDrawn="1"/>
        </p:nvGrpSpPr>
        <p:grpSpPr>
          <a:xfrm>
            <a:off x="391375" y="5191214"/>
            <a:ext cx="2957963" cy="1664692"/>
            <a:chOff x="391375" y="5191214"/>
            <a:chExt cx="2957963" cy="1664692"/>
          </a:xfrm>
        </p:grpSpPr>
        <p:sp>
          <p:nvSpPr>
            <p:cNvPr id="9" name="object 5">
              <a:extLst>
                <a:ext uri="{FF2B5EF4-FFF2-40B4-BE49-F238E27FC236}">
                  <a16:creationId xmlns:a16="http://schemas.microsoft.com/office/drawing/2014/main" id="{7CF38E78-8B18-E2DD-57F6-5A3EBF4CFBF8}"/>
                </a:ext>
              </a:extLst>
            </p:cNvPr>
            <p:cNvSpPr/>
            <p:nvPr/>
          </p:nvSpPr>
          <p:spPr>
            <a:xfrm>
              <a:off x="1985572" y="6805678"/>
              <a:ext cx="238965" cy="50095"/>
            </a:xfrm>
            <a:custGeom>
              <a:avLst/>
              <a:gdLst/>
              <a:ahLst/>
              <a:cxnLst/>
              <a:rect l="l" t="t" r="r" b="b"/>
              <a:pathLst>
                <a:path w="263525" h="55245">
                  <a:moveTo>
                    <a:pt x="131560" y="0"/>
                  </a:moveTo>
                  <a:lnTo>
                    <a:pt x="87719" y="5131"/>
                  </a:lnTo>
                  <a:lnTo>
                    <a:pt x="47474" y="19749"/>
                  </a:lnTo>
                  <a:lnTo>
                    <a:pt x="11974" y="42686"/>
                  </a:lnTo>
                  <a:lnTo>
                    <a:pt x="0" y="54855"/>
                  </a:lnTo>
                  <a:lnTo>
                    <a:pt x="263121" y="54855"/>
                  </a:lnTo>
                  <a:lnTo>
                    <a:pt x="251147" y="42686"/>
                  </a:lnTo>
                  <a:lnTo>
                    <a:pt x="215647" y="19749"/>
                  </a:lnTo>
                  <a:lnTo>
                    <a:pt x="175402" y="5131"/>
                  </a:lnTo>
                  <a:lnTo>
                    <a:pt x="131560" y="0"/>
                  </a:lnTo>
                  <a:close/>
                </a:path>
              </a:pathLst>
            </a:custGeom>
            <a:solidFill>
              <a:srgbClr val="0E5C77">
                <a:alpha val="23999"/>
              </a:srgbClr>
            </a:solidFill>
          </p:spPr>
          <p:txBody>
            <a:bodyPr wrap="square" lIns="0" tIns="0" rIns="0" bIns="0" rtlCol="0"/>
            <a:lstStyle/>
            <a:p>
              <a:endParaRPr/>
            </a:p>
          </p:txBody>
        </p:sp>
        <p:sp>
          <p:nvSpPr>
            <p:cNvPr id="10" name="object 6">
              <a:extLst>
                <a:ext uri="{FF2B5EF4-FFF2-40B4-BE49-F238E27FC236}">
                  <a16:creationId xmlns:a16="http://schemas.microsoft.com/office/drawing/2014/main" id="{01B1EF4C-ACBC-8DF2-F98F-A520632D49A8}"/>
                </a:ext>
              </a:extLst>
            </p:cNvPr>
            <p:cNvSpPr/>
            <p:nvPr/>
          </p:nvSpPr>
          <p:spPr>
            <a:xfrm>
              <a:off x="3002119" y="6641559"/>
              <a:ext cx="347219" cy="214205"/>
            </a:xfrm>
            <a:custGeom>
              <a:avLst/>
              <a:gdLst/>
              <a:ahLst/>
              <a:cxnLst/>
              <a:rect l="l" t="t" r="r" b="b"/>
              <a:pathLst>
                <a:path w="382904" h="236220">
                  <a:moveTo>
                    <a:pt x="191198" y="0"/>
                  </a:moveTo>
                  <a:lnTo>
                    <a:pt x="147357" y="5131"/>
                  </a:lnTo>
                  <a:lnTo>
                    <a:pt x="107112" y="19749"/>
                  </a:lnTo>
                  <a:lnTo>
                    <a:pt x="71611" y="42687"/>
                  </a:lnTo>
                  <a:lnTo>
                    <a:pt x="42002" y="72778"/>
                  </a:lnTo>
                  <a:lnTo>
                    <a:pt x="19432" y="108857"/>
                  </a:lnTo>
                  <a:lnTo>
                    <a:pt x="5049" y="149756"/>
                  </a:lnTo>
                  <a:lnTo>
                    <a:pt x="0" y="194310"/>
                  </a:lnTo>
                  <a:lnTo>
                    <a:pt x="4706" y="235840"/>
                  </a:lnTo>
                  <a:lnTo>
                    <a:pt x="377689" y="235840"/>
                  </a:lnTo>
                  <a:lnTo>
                    <a:pt x="382397" y="194310"/>
                  </a:lnTo>
                  <a:lnTo>
                    <a:pt x="377346" y="149756"/>
                  </a:lnTo>
                  <a:lnTo>
                    <a:pt x="362961" y="108857"/>
                  </a:lnTo>
                  <a:lnTo>
                    <a:pt x="340390" y="72778"/>
                  </a:lnTo>
                  <a:lnTo>
                    <a:pt x="310779" y="42687"/>
                  </a:lnTo>
                  <a:lnTo>
                    <a:pt x="275279" y="19749"/>
                  </a:lnTo>
                  <a:lnTo>
                    <a:pt x="235035" y="5131"/>
                  </a:lnTo>
                  <a:lnTo>
                    <a:pt x="191198" y="0"/>
                  </a:lnTo>
                  <a:close/>
                </a:path>
              </a:pathLst>
            </a:custGeom>
            <a:solidFill>
              <a:srgbClr val="0E5C77">
                <a:alpha val="23999"/>
              </a:srgbClr>
            </a:solidFill>
          </p:spPr>
          <p:txBody>
            <a:bodyPr wrap="square" lIns="0" tIns="0" rIns="0" bIns="0" rtlCol="0"/>
            <a:lstStyle/>
            <a:p>
              <a:endParaRPr/>
            </a:p>
          </p:txBody>
        </p:sp>
        <p:sp>
          <p:nvSpPr>
            <p:cNvPr id="11" name="object 7">
              <a:extLst>
                <a:ext uri="{FF2B5EF4-FFF2-40B4-BE49-F238E27FC236}">
                  <a16:creationId xmlns:a16="http://schemas.microsoft.com/office/drawing/2014/main" id="{C69F5CB4-EE4D-3E00-9E24-A5394A4C5C0E}"/>
                </a:ext>
              </a:extLst>
            </p:cNvPr>
            <p:cNvSpPr/>
            <p:nvPr/>
          </p:nvSpPr>
          <p:spPr>
            <a:xfrm>
              <a:off x="2877401" y="6040817"/>
              <a:ext cx="347219" cy="352401"/>
            </a:xfrm>
            <a:custGeom>
              <a:avLst/>
              <a:gdLst/>
              <a:ahLst/>
              <a:cxnLst/>
              <a:rect l="l" t="t" r="r" b="b"/>
              <a:pathLst>
                <a:path w="382904" h="388620">
                  <a:moveTo>
                    <a:pt x="191198" y="0"/>
                  </a:moveTo>
                  <a:lnTo>
                    <a:pt x="147357" y="5131"/>
                  </a:lnTo>
                  <a:lnTo>
                    <a:pt x="107112" y="19749"/>
                  </a:lnTo>
                  <a:lnTo>
                    <a:pt x="71611" y="42687"/>
                  </a:lnTo>
                  <a:lnTo>
                    <a:pt x="42002" y="72778"/>
                  </a:lnTo>
                  <a:lnTo>
                    <a:pt x="19432" y="108857"/>
                  </a:lnTo>
                  <a:lnTo>
                    <a:pt x="5049" y="149756"/>
                  </a:lnTo>
                  <a:lnTo>
                    <a:pt x="0" y="194309"/>
                  </a:lnTo>
                  <a:lnTo>
                    <a:pt x="5049" y="238863"/>
                  </a:lnTo>
                  <a:lnTo>
                    <a:pt x="19432" y="279762"/>
                  </a:lnTo>
                  <a:lnTo>
                    <a:pt x="42002" y="315841"/>
                  </a:lnTo>
                  <a:lnTo>
                    <a:pt x="71611" y="345932"/>
                  </a:lnTo>
                  <a:lnTo>
                    <a:pt x="107112" y="368870"/>
                  </a:lnTo>
                  <a:lnTo>
                    <a:pt x="147357" y="383488"/>
                  </a:lnTo>
                  <a:lnTo>
                    <a:pt x="191198" y="388619"/>
                  </a:lnTo>
                  <a:lnTo>
                    <a:pt x="235039" y="383488"/>
                  </a:lnTo>
                  <a:lnTo>
                    <a:pt x="275284" y="368870"/>
                  </a:lnTo>
                  <a:lnTo>
                    <a:pt x="310785" y="345932"/>
                  </a:lnTo>
                  <a:lnTo>
                    <a:pt x="340394" y="315841"/>
                  </a:lnTo>
                  <a:lnTo>
                    <a:pt x="362964" y="279762"/>
                  </a:lnTo>
                  <a:lnTo>
                    <a:pt x="377347" y="238863"/>
                  </a:lnTo>
                  <a:lnTo>
                    <a:pt x="382397" y="194309"/>
                  </a:lnTo>
                  <a:lnTo>
                    <a:pt x="377347" y="149756"/>
                  </a:lnTo>
                  <a:lnTo>
                    <a:pt x="362964" y="108857"/>
                  </a:lnTo>
                  <a:lnTo>
                    <a:pt x="340394" y="72778"/>
                  </a:lnTo>
                  <a:lnTo>
                    <a:pt x="310785" y="42687"/>
                  </a:lnTo>
                  <a:lnTo>
                    <a:pt x="275284" y="19749"/>
                  </a:lnTo>
                  <a:lnTo>
                    <a:pt x="235039" y="5131"/>
                  </a:lnTo>
                  <a:lnTo>
                    <a:pt x="191198" y="0"/>
                  </a:lnTo>
                  <a:close/>
                </a:path>
              </a:pathLst>
            </a:custGeom>
            <a:solidFill>
              <a:srgbClr val="0E5C77">
                <a:alpha val="23999"/>
              </a:srgbClr>
            </a:solidFill>
          </p:spPr>
          <p:txBody>
            <a:bodyPr wrap="square" lIns="0" tIns="0" rIns="0" bIns="0" rtlCol="0"/>
            <a:lstStyle/>
            <a:p>
              <a:endParaRPr/>
            </a:p>
          </p:txBody>
        </p:sp>
        <p:sp>
          <p:nvSpPr>
            <p:cNvPr id="12" name="object 8">
              <a:extLst>
                <a:ext uri="{FF2B5EF4-FFF2-40B4-BE49-F238E27FC236}">
                  <a16:creationId xmlns:a16="http://schemas.microsoft.com/office/drawing/2014/main" id="{D5CB64B5-EAB4-764D-E33F-11B3A4C5099E}"/>
                </a:ext>
              </a:extLst>
            </p:cNvPr>
            <p:cNvSpPr/>
            <p:nvPr/>
          </p:nvSpPr>
          <p:spPr>
            <a:xfrm>
              <a:off x="2210807" y="6183673"/>
              <a:ext cx="415741" cy="422651"/>
            </a:xfrm>
            <a:custGeom>
              <a:avLst/>
              <a:gdLst/>
              <a:ahLst/>
              <a:cxnLst/>
              <a:rect l="l" t="t" r="r" b="b"/>
              <a:pathLst>
                <a:path w="458469" h="466090">
                  <a:moveTo>
                    <a:pt x="229044" y="0"/>
                  </a:moveTo>
                  <a:lnTo>
                    <a:pt x="182885" y="4728"/>
                  </a:lnTo>
                  <a:lnTo>
                    <a:pt x="139892" y="18290"/>
                  </a:lnTo>
                  <a:lnTo>
                    <a:pt x="100986" y="39750"/>
                  </a:lnTo>
                  <a:lnTo>
                    <a:pt x="67087" y="68172"/>
                  </a:lnTo>
                  <a:lnTo>
                    <a:pt x="39118" y="102620"/>
                  </a:lnTo>
                  <a:lnTo>
                    <a:pt x="18000" y="142158"/>
                  </a:lnTo>
                  <a:lnTo>
                    <a:pt x="4653" y="185852"/>
                  </a:lnTo>
                  <a:lnTo>
                    <a:pt x="0" y="232765"/>
                  </a:lnTo>
                  <a:lnTo>
                    <a:pt x="4653" y="279679"/>
                  </a:lnTo>
                  <a:lnTo>
                    <a:pt x="18000" y="323374"/>
                  </a:lnTo>
                  <a:lnTo>
                    <a:pt x="39118" y="362915"/>
                  </a:lnTo>
                  <a:lnTo>
                    <a:pt x="67087" y="397365"/>
                  </a:lnTo>
                  <a:lnTo>
                    <a:pt x="100986" y="425789"/>
                  </a:lnTo>
                  <a:lnTo>
                    <a:pt x="139892" y="447251"/>
                  </a:lnTo>
                  <a:lnTo>
                    <a:pt x="182885" y="460814"/>
                  </a:lnTo>
                  <a:lnTo>
                    <a:pt x="229044" y="465543"/>
                  </a:lnTo>
                  <a:lnTo>
                    <a:pt x="275207" y="460814"/>
                  </a:lnTo>
                  <a:lnTo>
                    <a:pt x="318203" y="447251"/>
                  </a:lnTo>
                  <a:lnTo>
                    <a:pt x="357112" y="425789"/>
                  </a:lnTo>
                  <a:lnTo>
                    <a:pt x="391012" y="397365"/>
                  </a:lnTo>
                  <a:lnTo>
                    <a:pt x="418982" y="362915"/>
                  </a:lnTo>
                  <a:lnTo>
                    <a:pt x="440101" y="323374"/>
                  </a:lnTo>
                  <a:lnTo>
                    <a:pt x="453448" y="279679"/>
                  </a:lnTo>
                  <a:lnTo>
                    <a:pt x="458101" y="232765"/>
                  </a:lnTo>
                  <a:lnTo>
                    <a:pt x="453448" y="185852"/>
                  </a:lnTo>
                  <a:lnTo>
                    <a:pt x="440101" y="142158"/>
                  </a:lnTo>
                  <a:lnTo>
                    <a:pt x="418982" y="102620"/>
                  </a:lnTo>
                  <a:lnTo>
                    <a:pt x="391012" y="68172"/>
                  </a:lnTo>
                  <a:lnTo>
                    <a:pt x="357112" y="39750"/>
                  </a:lnTo>
                  <a:lnTo>
                    <a:pt x="318203" y="18290"/>
                  </a:lnTo>
                  <a:lnTo>
                    <a:pt x="275207" y="4728"/>
                  </a:lnTo>
                  <a:lnTo>
                    <a:pt x="229044" y="0"/>
                  </a:lnTo>
                  <a:close/>
                </a:path>
              </a:pathLst>
            </a:custGeom>
            <a:solidFill>
              <a:srgbClr val="0E5C77">
                <a:alpha val="23999"/>
              </a:srgbClr>
            </a:solidFill>
          </p:spPr>
          <p:txBody>
            <a:bodyPr wrap="square" lIns="0" tIns="0" rIns="0" bIns="0" rtlCol="0"/>
            <a:lstStyle/>
            <a:p>
              <a:endParaRPr/>
            </a:p>
          </p:txBody>
        </p:sp>
        <p:sp>
          <p:nvSpPr>
            <p:cNvPr id="13" name="object 9">
              <a:extLst>
                <a:ext uri="{FF2B5EF4-FFF2-40B4-BE49-F238E27FC236}">
                  <a16:creationId xmlns:a16="http://schemas.microsoft.com/office/drawing/2014/main" id="{544E0DFF-B974-C185-F664-2BB8D65D3E1C}"/>
                </a:ext>
              </a:extLst>
            </p:cNvPr>
            <p:cNvSpPr/>
            <p:nvPr/>
          </p:nvSpPr>
          <p:spPr>
            <a:xfrm>
              <a:off x="1993834" y="5340502"/>
              <a:ext cx="536087" cy="545300"/>
            </a:xfrm>
            <a:custGeom>
              <a:avLst/>
              <a:gdLst/>
              <a:ahLst/>
              <a:cxnLst/>
              <a:rect l="l" t="t" r="r" b="b"/>
              <a:pathLst>
                <a:path w="591185" h="601345">
                  <a:moveTo>
                    <a:pt x="295554" y="0"/>
                  </a:moveTo>
                  <a:lnTo>
                    <a:pt x="247613" y="3930"/>
                  </a:lnTo>
                  <a:lnTo>
                    <a:pt x="202135" y="15311"/>
                  </a:lnTo>
                  <a:lnTo>
                    <a:pt x="159728" y="33523"/>
                  </a:lnTo>
                  <a:lnTo>
                    <a:pt x="121002" y="57949"/>
                  </a:lnTo>
                  <a:lnTo>
                    <a:pt x="86564" y="87969"/>
                  </a:lnTo>
                  <a:lnTo>
                    <a:pt x="57024" y="122966"/>
                  </a:lnTo>
                  <a:lnTo>
                    <a:pt x="32988" y="162321"/>
                  </a:lnTo>
                  <a:lnTo>
                    <a:pt x="15067" y="205417"/>
                  </a:lnTo>
                  <a:lnTo>
                    <a:pt x="3868" y="251634"/>
                  </a:lnTo>
                  <a:lnTo>
                    <a:pt x="0" y="300354"/>
                  </a:lnTo>
                  <a:lnTo>
                    <a:pt x="3868" y="349075"/>
                  </a:lnTo>
                  <a:lnTo>
                    <a:pt x="15067" y="395294"/>
                  </a:lnTo>
                  <a:lnTo>
                    <a:pt x="32988" y="438390"/>
                  </a:lnTo>
                  <a:lnTo>
                    <a:pt x="57024" y="477747"/>
                  </a:lnTo>
                  <a:lnTo>
                    <a:pt x="86564" y="512746"/>
                  </a:lnTo>
                  <a:lnTo>
                    <a:pt x="121002" y="542768"/>
                  </a:lnTo>
                  <a:lnTo>
                    <a:pt x="159728" y="567195"/>
                  </a:lnTo>
                  <a:lnTo>
                    <a:pt x="202135" y="585409"/>
                  </a:lnTo>
                  <a:lnTo>
                    <a:pt x="247613" y="596791"/>
                  </a:lnTo>
                  <a:lnTo>
                    <a:pt x="295554" y="600722"/>
                  </a:lnTo>
                  <a:lnTo>
                    <a:pt x="343495" y="596791"/>
                  </a:lnTo>
                  <a:lnTo>
                    <a:pt x="388973" y="585409"/>
                  </a:lnTo>
                  <a:lnTo>
                    <a:pt x="431379" y="567195"/>
                  </a:lnTo>
                  <a:lnTo>
                    <a:pt x="470106" y="542768"/>
                  </a:lnTo>
                  <a:lnTo>
                    <a:pt x="504544" y="512746"/>
                  </a:lnTo>
                  <a:lnTo>
                    <a:pt x="534084" y="477747"/>
                  </a:lnTo>
                  <a:lnTo>
                    <a:pt x="558120" y="438390"/>
                  </a:lnTo>
                  <a:lnTo>
                    <a:pt x="576041" y="395294"/>
                  </a:lnTo>
                  <a:lnTo>
                    <a:pt x="587240" y="349075"/>
                  </a:lnTo>
                  <a:lnTo>
                    <a:pt x="591108" y="300354"/>
                  </a:lnTo>
                  <a:lnTo>
                    <a:pt x="587240" y="251634"/>
                  </a:lnTo>
                  <a:lnTo>
                    <a:pt x="576041" y="205417"/>
                  </a:lnTo>
                  <a:lnTo>
                    <a:pt x="558120" y="162321"/>
                  </a:lnTo>
                  <a:lnTo>
                    <a:pt x="534084" y="122966"/>
                  </a:lnTo>
                  <a:lnTo>
                    <a:pt x="504544" y="87969"/>
                  </a:lnTo>
                  <a:lnTo>
                    <a:pt x="470106" y="57949"/>
                  </a:lnTo>
                  <a:lnTo>
                    <a:pt x="431379" y="33523"/>
                  </a:lnTo>
                  <a:lnTo>
                    <a:pt x="388973" y="15311"/>
                  </a:lnTo>
                  <a:lnTo>
                    <a:pt x="343495" y="3930"/>
                  </a:lnTo>
                  <a:lnTo>
                    <a:pt x="295554" y="0"/>
                  </a:lnTo>
                  <a:close/>
                </a:path>
              </a:pathLst>
            </a:custGeom>
            <a:solidFill>
              <a:srgbClr val="0E5C77">
                <a:alpha val="23999"/>
              </a:srgbClr>
            </a:solidFill>
          </p:spPr>
          <p:txBody>
            <a:bodyPr wrap="square" lIns="0" tIns="0" rIns="0" bIns="0" rtlCol="0"/>
            <a:lstStyle/>
            <a:p>
              <a:endParaRPr/>
            </a:p>
          </p:txBody>
        </p:sp>
        <p:sp>
          <p:nvSpPr>
            <p:cNvPr id="14" name="object 10">
              <a:extLst>
                <a:ext uri="{FF2B5EF4-FFF2-40B4-BE49-F238E27FC236}">
                  <a16:creationId xmlns:a16="http://schemas.microsoft.com/office/drawing/2014/main" id="{BAF8C586-5508-CCC1-A9F6-94AC7AFA27D1}"/>
                </a:ext>
              </a:extLst>
            </p:cNvPr>
            <p:cNvSpPr/>
            <p:nvPr/>
          </p:nvSpPr>
          <p:spPr>
            <a:xfrm>
              <a:off x="391375" y="5191214"/>
              <a:ext cx="1400967" cy="1664692"/>
            </a:xfrm>
            <a:custGeom>
              <a:avLst/>
              <a:gdLst/>
              <a:ahLst/>
              <a:cxnLst/>
              <a:rect l="l" t="t" r="r" b="b"/>
              <a:pathLst>
                <a:path w="1544955" h="1835784">
                  <a:moveTo>
                    <a:pt x="925999" y="0"/>
                  </a:moveTo>
                  <a:lnTo>
                    <a:pt x="880349" y="10091"/>
                  </a:lnTo>
                  <a:lnTo>
                    <a:pt x="838161" y="31783"/>
                  </a:lnTo>
                  <a:lnTo>
                    <a:pt x="801852" y="64835"/>
                  </a:lnTo>
                  <a:lnTo>
                    <a:pt x="775520" y="106276"/>
                  </a:lnTo>
                  <a:lnTo>
                    <a:pt x="761475" y="151656"/>
                  </a:lnTo>
                  <a:lnTo>
                    <a:pt x="759491" y="198513"/>
                  </a:lnTo>
                  <a:lnTo>
                    <a:pt x="769344" y="244387"/>
                  </a:lnTo>
                  <a:lnTo>
                    <a:pt x="790808" y="286817"/>
                  </a:lnTo>
                  <a:lnTo>
                    <a:pt x="823658" y="323343"/>
                  </a:lnTo>
                  <a:lnTo>
                    <a:pt x="831988" y="330759"/>
                  </a:lnTo>
                  <a:lnTo>
                    <a:pt x="849099" y="347051"/>
                  </a:lnTo>
                  <a:lnTo>
                    <a:pt x="903479" y="405526"/>
                  </a:lnTo>
                  <a:lnTo>
                    <a:pt x="937656" y="447339"/>
                  </a:lnTo>
                  <a:lnTo>
                    <a:pt x="974430" y="497291"/>
                  </a:lnTo>
                  <a:lnTo>
                    <a:pt x="1012254" y="555196"/>
                  </a:lnTo>
                  <a:lnTo>
                    <a:pt x="1049583" y="620872"/>
                  </a:lnTo>
                  <a:lnTo>
                    <a:pt x="1084872" y="694132"/>
                  </a:lnTo>
                  <a:lnTo>
                    <a:pt x="513257" y="694132"/>
                  </a:lnTo>
                  <a:lnTo>
                    <a:pt x="463952" y="704088"/>
                  </a:lnTo>
                  <a:lnTo>
                    <a:pt x="423684" y="731237"/>
                  </a:lnTo>
                  <a:lnTo>
                    <a:pt x="396532" y="771504"/>
                  </a:lnTo>
                  <a:lnTo>
                    <a:pt x="386575" y="820815"/>
                  </a:lnTo>
                  <a:lnTo>
                    <a:pt x="396532" y="870120"/>
                  </a:lnTo>
                  <a:lnTo>
                    <a:pt x="423684" y="910388"/>
                  </a:lnTo>
                  <a:lnTo>
                    <a:pt x="463952" y="937540"/>
                  </a:lnTo>
                  <a:lnTo>
                    <a:pt x="513257" y="947497"/>
                  </a:lnTo>
                  <a:lnTo>
                    <a:pt x="1161059" y="947497"/>
                  </a:lnTo>
                  <a:lnTo>
                    <a:pt x="1168059" y="994539"/>
                  </a:lnTo>
                  <a:lnTo>
                    <a:pt x="1173078" y="1043098"/>
                  </a:lnTo>
                  <a:lnTo>
                    <a:pt x="1175954" y="1093166"/>
                  </a:lnTo>
                  <a:lnTo>
                    <a:pt x="1176527" y="1144733"/>
                  </a:lnTo>
                  <a:lnTo>
                    <a:pt x="1174633" y="1197788"/>
                  </a:lnTo>
                  <a:lnTo>
                    <a:pt x="1170114" y="1252323"/>
                  </a:lnTo>
                  <a:lnTo>
                    <a:pt x="1163053" y="1251103"/>
                  </a:lnTo>
                  <a:lnTo>
                    <a:pt x="1155890" y="1250138"/>
                  </a:lnTo>
                  <a:lnTo>
                    <a:pt x="126682" y="1250138"/>
                  </a:lnTo>
                  <a:lnTo>
                    <a:pt x="77372" y="1260095"/>
                  </a:lnTo>
                  <a:lnTo>
                    <a:pt x="37104" y="1287248"/>
                  </a:lnTo>
                  <a:lnTo>
                    <a:pt x="9955" y="1327516"/>
                  </a:lnTo>
                  <a:lnTo>
                    <a:pt x="0" y="1376821"/>
                  </a:lnTo>
                  <a:lnTo>
                    <a:pt x="9955" y="1426133"/>
                  </a:lnTo>
                  <a:lnTo>
                    <a:pt x="37104" y="1466405"/>
                  </a:lnTo>
                  <a:lnTo>
                    <a:pt x="77372" y="1493559"/>
                  </a:lnTo>
                  <a:lnTo>
                    <a:pt x="126682" y="1503516"/>
                  </a:lnTo>
                  <a:lnTo>
                    <a:pt x="1109611" y="1503516"/>
                  </a:lnTo>
                  <a:lnTo>
                    <a:pt x="1091637" y="1549292"/>
                  </a:lnTo>
                  <a:lnTo>
                    <a:pt x="1071709" y="1595118"/>
                  </a:lnTo>
                  <a:lnTo>
                    <a:pt x="1049893" y="1640986"/>
                  </a:lnTo>
                  <a:lnTo>
                    <a:pt x="1026255" y="1686883"/>
                  </a:lnTo>
                  <a:lnTo>
                    <a:pt x="1000859" y="1732802"/>
                  </a:lnTo>
                  <a:lnTo>
                    <a:pt x="973771" y="1778731"/>
                  </a:lnTo>
                  <a:lnTo>
                    <a:pt x="945057" y="1824661"/>
                  </a:lnTo>
                  <a:lnTo>
                    <a:pt x="182283" y="1824661"/>
                  </a:lnTo>
                  <a:lnTo>
                    <a:pt x="132972" y="1834618"/>
                  </a:lnTo>
                  <a:lnTo>
                    <a:pt x="132035" y="1835250"/>
                  </a:lnTo>
                  <a:lnTo>
                    <a:pt x="1365030" y="1835250"/>
                  </a:lnTo>
                  <a:lnTo>
                    <a:pt x="1398211" y="1767887"/>
                  </a:lnTo>
                  <a:lnTo>
                    <a:pt x="1416703" y="1726988"/>
                  </a:lnTo>
                  <a:lnTo>
                    <a:pt x="1434056" y="1685916"/>
                  </a:lnTo>
                  <a:lnTo>
                    <a:pt x="1450240" y="1644667"/>
                  </a:lnTo>
                  <a:lnTo>
                    <a:pt x="1465225" y="1603237"/>
                  </a:lnTo>
                  <a:lnTo>
                    <a:pt x="1478982" y="1561625"/>
                  </a:lnTo>
                  <a:lnTo>
                    <a:pt x="1491481" y="1519827"/>
                  </a:lnTo>
                  <a:lnTo>
                    <a:pt x="1502692" y="1477840"/>
                  </a:lnTo>
                  <a:lnTo>
                    <a:pt x="1512585" y="1435660"/>
                  </a:lnTo>
                  <a:lnTo>
                    <a:pt x="1521130" y="1393285"/>
                  </a:lnTo>
                  <a:lnTo>
                    <a:pt x="1528298" y="1350711"/>
                  </a:lnTo>
                  <a:lnTo>
                    <a:pt x="1534058" y="1307936"/>
                  </a:lnTo>
                  <a:lnTo>
                    <a:pt x="1541211" y="1230596"/>
                  </a:lnTo>
                  <a:lnTo>
                    <a:pt x="1544382" y="1155425"/>
                  </a:lnTo>
                  <a:lnTo>
                    <a:pt x="1543828" y="1082452"/>
                  </a:lnTo>
                  <a:lnTo>
                    <a:pt x="1539804" y="1011702"/>
                  </a:lnTo>
                  <a:lnTo>
                    <a:pt x="1532569" y="943204"/>
                  </a:lnTo>
                  <a:lnTo>
                    <a:pt x="1522380" y="876984"/>
                  </a:lnTo>
                  <a:lnTo>
                    <a:pt x="1509492" y="813069"/>
                  </a:lnTo>
                  <a:lnTo>
                    <a:pt x="1494164" y="751487"/>
                  </a:lnTo>
                  <a:lnTo>
                    <a:pt x="1476653" y="692264"/>
                  </a:lnTo>
                  <a:lnTo>
                    <a:pt x="1457214" y="635429"/>
                  </a:lnTo>
                  <a:lnTo>
                    <a:pt x="1436106" y="581007"/>
                  </a:lnTo>
                  <a:lnTo>
                    <a:pt x="1413584" y="529026"/>
                  </a:lnTo>
                  <a:lnTo>
                    <a:pt x="1389907" y="479514"/>
                  </a:lnTo>
                  <a:lnTo>
                    <a:pt x="1365331" y="432497"/>
                  </a:lnTo>
                  <a:lnTo>
                    <a:pt x="1340113" y="388002"/>
                  </a:lnTo>
                  <a:lnTo>
                    <a:pt x="1314510" y="346057"/>
                  </a:lnTo>
                  <a:lnTo>
                    <a:pt x="1288779" y="306688"/>
                  </a:lnTo>
                  <a:lnTo>
                    <a:pt x="1263177" y="269924"/>
                  </a:lnTo>
                  <a:lnTo>
                    <a:pt x="1237961" y="235790"/>
                  </a:lnTo>
                  <a:lnTo>
                    <a:pt x="1213388" y="204314"/>
                  </a:lnTo>
                  <a:lnTo>
                    <a:pt x="1167198" y="149446"/>
                  </a:lnTo>
                  <a:lnTo>
                    <a:pt x="1126663" y="105535"/>
                  </a:lnTo>
                  <a:lnTo>
                    <a:pt x="1093839" y="72800"/>
                  </a:lnTo>
                  <a:lnTo>
                    <a:pt x="1059548" y="41721"/>
                  </a:lnTo>
                  <a:lnTo>
                    <a:pt x="1018016" y="15575"/>
                  </a:lnTo>
                  <a:lnTo>
                    <a:pt x="972694" y="1748"/>
                  </a:lnTo>
                  <a:lnTo>
                    <a:pt x="925999" y="0"/>
                  </a:lnTo>
                  <a:close/>
                </a:path>
              </a:pathLst>
            </a:custGeom>
            <a:solidFill>
              <a:srgbClr val="0E5C77">
                <a:alpha val="23999"/>
              </a:srgbClr>
            </a:solidFill>
          </p:spPr>
          <p:txBody>
            <a:bodyPr wrap="square" lIns="0" tIns="0" rIns="0" bIns="0" rtlCol="0"/>
            <a:lstStyle/>
            <a:p>
              <a:endParaRPr/>
            </a:p>
          </p:txBody>
        </p:sp>
      </p:grpSp>
      <p:sp>
        <p:nvSpPr>
          <p:cNvPr id="3" name="Text Placeholder 2">
            <a:extLst>
              <a:ext uri="{FF2B5EF4-FFF2-40B4-BE49-F238E27FC236}">
                <a16:creationId xmlns:a16="http://schemas.microsoft.com/office/drawing/2014/main" id="{5ADC4885-E653-9F9B-1C72-2AA34FCB44D8}"/>
              </a:ext>
            </a:extLst>
          </p:cNvPr>
          <p:cNvSpPr>
            <a:spLocks noGrp="1"/>
          </p:cNvSpPr>
          <p:nvPr>
            <p:ph type="body" idx="1"/>
          </p:nvPr>
        </p:nvSpPr>
        <p:spPr>
          <a:xfrm>
            <a:off x="731520" y="1882770"/>
            <a:ext cx="8910320" cy="3872235"/>
          </a:xfrm>
        </p:spPr>
        <p:txBody>
          <a:bodyPr>
            <a:normAutofit/>
          </a:bodyPr>
          <a:lstStyle>
            <a:lvl1pPr marL="0" indent="0">
              <a:buNone/>
              <a:defRPr sz="28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30" name="Footer Placeholder 4">
            <a:extLst>
              <a:ext uri="{FF2B5EF4-FFF2-40B4-BE49-F238E27FC236}">
                <a16:creationId xmlns:a16="http://schemas.microsoft.com/office/drawing/2014/main" id="{02C401B5-B453-3BF0-01CE-3F0F63B03A02}"/>
              </a:ext>
            </a:extLst>
          </p:cNvPr>
          <p:cNvSpPr>
            <a:spLocks noGrp="1"/>
          </p:cNvSpPr>
          <p:nvPr>
            <p:ph type="ftr" sz="quarter" idx="3"/>
          </p:nvPr>
        </p:nvSpPr>
        <p:spPr>
          <a:xfrm>
            <a:off x="731520" y="6114954"/>
            <a:ext cx="8924387" cy="365125"/>
          </a:xfrm>
          <a:prstGeom prst="rect">
            <a:avLst/>
          </a:prstGeom>
        </p:spPr>
        <p:txBody>
          <a:bodyPr/>
          <a:lstStyle>
            <a:lvl1pPr>
              <a:defRPr sz="1400">
                <a:solidFill>
                  <a:schemeClr val="bg1"/>
                </a:solidFill>
              </a:defRPr>
            </a:lvl1pPr>
          </a:lstStyle>
          <a:p>
            <a:endParaRPr lang="en-GB" dirty="0"/>
          </a:p>
        </p:txBody>
      </p:sp>
      <p:grpSp>
        <p:nvGrpSpPr>
          <p:cNvPr id="4" name="object 41">
            <a:extLst>
              <a:ext uri="{FF2B5EF4-FFF2-40B4-BE49-F238E27FC236}">
                <a16:creationId xmlns:a16="http://schemas.microsoft.com/office/drawing/2014/main" id="{4AA4F7D3-F6E8-EAB2-F7FF-BD27C0DB60AC}"/>
              </a:ext>
            </a:extLst>
          </p:cNvPr>
          <p:cNvGrpSpPr/>
          <p:nvPr userDrawn="1"/>
        </p:nvGrpSpPr>
        <p:grpSpPr>
          <a:xfrm>
            <a:off x="10681097" y="5820975"/>
            <a:ext cx="651156" cy="708550"/>
            <a:chOff x="5598848" y="1620229"/>
            <a:chExt cx="2190115" cy="2383155"/>
          </a:xfrm>
        </p:grpSpPr>
        <p:pic>
          <p:nvPicPr>
            <p:cNvPr id="5" name="object 42">
              <a:extLst>
                <a:ext uri="{FF2B5EF4-FFF2-40B4-BE49-F238E27FC236}">
                  <a16:creationId xmlns:a16="http://schemas.microsoft.com/office/drawing/2014/main" id="{E917381C-8FE5-3CAD-273B-51DCDB6727FC}"/>
                </a:ext>
              </a:extLst>
            </p:cNvPr>
            <p:cNvPicPr/>
            <p:nvPr/>
          </p:nvPicPr>
          <p:blipFill>
            <a:blip r:embed="rId2" cstate="print"/>
            <a:stretch>
              <a:fillRect/>
            </a:stretch>
          </p:blipFill>
          <p:spPr>
            <a:xfrm>
              <a:off x="7161630" y="1899091"/>
              <a:ext cx="113817" cy="115671"/>
            </a:xfrm>
            <a:prstGeom prst="rect">
              <a:avLst/>
            </a:prstGeom>
          </p:spPr>
        </p:pic>
        <p:pic>
          <p:nvPicPr>
            <p:cNvPr id="6" name="object 43">
              <a:extLst>
                <a:ext uri="{FF2B5EF4-FFF2-40B4-BE49-F238E27FC236}">
                  <a16:creationId xmlns:a16="http://schemas.microsoft.com/office/drawing/2014/main" id="{6EC3B691-15D3-272C-C984-5D8D7AB4D44B}"/>
                </a:ext>
              </a:extLst>
            </p:cNvPr>
            <p:cNvPicPr/>
            <p:nvPr/>
          </p:nvPicPr>
          <p:blipFill>
            <a:blip r:embed="rId3" cstate="print"/>
            <a:stretch>
              <a:fillRect/>
            </a:stretch>
          </p:blipFill>
          <p:spPr>
            <a:xfrm>
              <a:off x="5598848" y="1620229"/>
              <a:ext cx="2189904" cy="2382902"/>
            </a:xfrm>
            <a:prstGeom prst="rect">
              <a:avLst/>
            </a:prstGeom>
          </p:spPr>
        </p:pic>
        <p:pic>
          <p:nvPicPr>
            <p:cNvPr id="7" name="object 44">
              <a:extLst>
                <a:ext uri="{FF2B5EF4-FFF2-40B4-BE49-F238E27FC236}">
                  <a16:creationId xmlns:a16="http://schemas.microsoft.com/office/drawing/2014/main" id="{26C44628-116B-F318-B8E0-DE32F2332BC6}"/>
                </a:ext>
              </a:extLst>
            </p:cNvPr>
            <p:cNvPicPr/>
            <p:nvPr/>
          </p:nvPicPr>
          <p:blipFill>
            <a:blip r:embed="rId4" cstate="print"/>
            <a:stretch>
              <a:fillRect/>
            </a:stretch>
          </p:blipFill>
          <p:spPr>
            <a:xfrm>
              <a:off x="6871611" y="1669224"/>
              <a:ext cx="175945" cy="178803"/>
            </a:xfrm>
            <a:prstGeom prst="rect">
              <a:avLst/>
            </a:prstGeom>
          </p:spPr>
        </p:pic>
      </p:grpSp>
      <p:sp>
        <p:nvSpPr>
          <p:cNvPr id="15" name="object 14">
            <a:extLst>
              <a:ext uri="{FF2B5EF4-FFF2-40B4-BE49-F238E27FC236}">
                <a16:creationId xmlns:a16="http://schemas.microsoft.com/office/drawing/2014/main" id="{45F4DC08-150F-4A25-716A-90191F21FDC9}"/>
              </a:ext>
            </a:extLst>
          </p:cNvPr>
          <p:cNvSpPr/>
          <p:nvPr userDrawn="1"/>
        </p:nvSpPr>
        <p:spPr>
          <a:xfrm rot="10800000">
            <a:off x="-308147" y="5862122"/>
            <a:ext cx="562114" cy="584428"/>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sp>
        <p:nvSpPr>
          <p:cNvPr id="16" name="object 14">
            <a:extLst>
              <a:ext uri="{FF2B5EF4-FFF2-40B4-BE49-F238E27FC236}">
                <a16:creationId xmlns:a16="http://schemas.microsoft.com/office/drawing/2014/main" id="{01D5C4C6-F307-4C2A-EEA2-C7230077C63A}"/>
              </a:ext>
            </a:extLst>
          </p:cNvPr>
          <p:cNvSpPr/>
          <p:nvPr userDrawn="1"/>
        </p:nvSpPr>
        <p:spPr>
          <a:xfrm rot="10800000">
            <a:off x="-650" y="6776735"/>
            <a:ext cx="360745" cy="375065"/>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sp>
        <p:nvSpPr>
          <p:cNvPr id="17" name="object 14">
            <a:extLst>
              <a:ext uri="{FF2B5EF4-FFF2-40B4-BE49-F238E27FC236}">
                <a16:creationId xmlns:a16="http://schemas.microsoft.com/office/drawing/2014/main" id="{ED0436A5-966C-D05D-FD27-2ED35FF09750}"/>
              </a:ext>
            </a:extLst>
          </p:cNvPr>
          <p:cNvSpPr/>
          <p:nvPr userDrawn="1"/>
        </p:nvSpPr>
        <p:spPr>
          <a:xfrm rot="10800000">
            <a:off x="8761227" y="264563"/>
            <a:ext cx="262322" cy="272735"/>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sp>
        <p:nvSpPr>
          <p:cNvPr id="19" name="object 14">
            <a:extLst>
              <a:ext uri="{FF2B5EF4-FFF2-40B4-BE49-F238E27FC236}">
                <a16:creationId xmlns:a16="http://schemas.microsoft.com/office/drawing/2014/main" id="{B1D59208-AF3F-67F9-AFEE-0B79028CDC85}"/>
              </a:ext>
            </a:extLst>
          </p:cNvPr>
          <p:cNvSpPr/>
          <p:nvPr userDrawn="1"/>
        </p:nvSpPr>
        <p:spPr>
          <a:xfrm rot="10800000">
            <a:off x="8268251" y="-287815"/>
            <a:ext cx="492976" cy="512545"/>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sp>
        <p:nvSpPr>
          <p:cNvPr id="2" name="Title 1">
            <a:extLst>
              <a:ext uri="{FF2B5EF4-FFF2-40B4-BE49-F238E27FC236}">
                <a16:creationId xmlns:a16="http://schemas.microsoft.com/office/drawing/2014/main" id="{E70AF5EC-C3A2-AE47-AC58-C795316B7127}"/>
              </a:ext>
            </a:extLst>
          </p:cNvPr>
          <p:cNvSpPr>
            <a:spLocks noGrp="1"/>
          </p:cNvSpPr>
          <p:nvPr>
            <p:ph type="title"/>
          </p:nvPr>
        </p:nvSpPr>
        <p:spPr>
          <a:xfrm>
            <a:off x="737870" y="593213"/>
            <a:ext cx="8910320" cy="752109"/>
          </a:xfrm>
        </p:spPr>
        <p:txBody>
          <a:bodyPr anchor="b">
            <a:normAutofit/>
          </a:bodyPr>
          <a:lstStyle>
            <a:lvl1pPr>
              <a:defRPr sz="4400">
                <a:solidFill>
                  <a:schemeClr val="bg1"/>
                </a:solidFill>
                <a:latin typeface="Quicksand" pitchFamily="2" charset="0"/>
              </a:defRPr>
            </a:lvl1pPr>
          </a:lstStyle>
          <a:p>
            <a:r>
              <a:rPr lang="en-US" dirty="0"/>
              <a:t>Click to edit Master title style</a:t>
            </a:r>
            <a:endParaRPr lang="en-GB" dirty="0"/>
          </a:p>
        </p:txBody>
      </p:sp>
    </p:spTree>
    <p:extLst>
      <p:ext uri="{BB962C8B-B14F-4D97-AF65-F5344CB8AC3E}">
        <p14:creationId xmlns:p14="http://schemas.microsoft.com/office/powerpoint/2010/main" val="19252987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ation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4446D-3EC5-A487-67B6-AFE74A9C4781}"/>
              </a:ext>
            </a:extLst>
          </p:cNvPr>
          <p:cNvSpPr>
            <a:spLocks noGrp="1"/>
          </p:cNvSpPr>
          <p:nvPr>
            <p:ph type="title"/>
          </p:nvPr>
        </p:nvSpPr>
        <p:spPr>
          <a:xfrm>
            <a:off x="714520" y="365125"/>
            <a:ext cx="6475989" cy="4355493"/>
          </a:xfrm>
        </p:spPr>
        <p:txBody>
          <a:bodyPr anchor="t" anchorCtr="0">
            <a:normAutofit/>
          </a:bodyPr>
          <a:lstStyle>
            <a:lvl1pPr>
              <a:defRPr sz="4400">
                <a:solidFill>
                  <a:schemeClr val="accent3"/>
                </a:solidFill>
              </a:defRPr>
            </a:lvl1p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A5CA96E9-5766-B813-ED3A-78756E2A6A61}"/>
              </a:ext>
            </a:extLst>
          </p:cNvPr>
          <p:cNvSpPr>
            <a:spLocks noGrp="1"/>
          </p:cNvSpPr>
          <p:nvPr>
            <p:ph type="body" idx="1"/>
          </p:nvPr>
        </p:nvSpPr>
        <p:spPr>
          <a:xfrm>
            <a:off x="714520" y="4862945"/>
            <a:ext cx="6475989" cy="491375"/>
          </a:xfrm>
        </p:spPr>
        <p:txBody>
          <a:bodyPr anchor="t" anchorCtr="0">
            <a:normAutofit/>
          </a:bodyPr>
          <a:lstStyle>
            <a:lvl1pPr marL="0" indent="0">
              <a:buNone/>
              <a:defRPr sz="20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8" name="Footer Placeholder 7">
            <a:extLst>
              <a:ext uri="{FF2B5EF4-FFF2-40B4-BE49-F238E27FC236}">
                <a16:creationId xmlns:a16="http://schemas.microsoft.com/office/drawing/2014/main" id="{49A034B4-D92B-161B-41A1-3DE14A2FB743}"/>
              </a:ext>
            </a:extLst>
          </p:cNvPr>
          <p:cNvSpPr>
            <a:spLocks noGrp="1"/>
          </p:cNvSpPr>
          <p:nvPr>
            <p:ph type="ftr" sz="quarter" idx="11"/>
          </p:nvPr>
        </p:nvSpPr>
        <p:spPr>
          <a:xfrm>
            <a:off x="746347" y="6127750"/>
            <a:ext cx="8927320" cy="365125"/>
          </a:xfrm>
          <a:prstGeom prst="rect">
            <a:avLst/>
          </a:prstGeom>
        </p:spPr>
        <p:txBody>
          <a:bodyPr/>
          <a:lstStyle/>
          <a:p>
            <a:endParaRPr lang="en-GB" dirty="0"/>
          </a:p>
        </p:txBody>
      </p:sp>
      <p:sp>
        <p:nvSpPr>
          <p:cNvPr id="10" name="object 2">
            <a:extLst>
              <a:ext uri="{FF2B5EF4-FFF2-40B4-BE49-F238E27FC236}">
                <a16:creationId xmlns:a16="http://schemas.microsoft.com/office/drawing/2014/main" id="{F387DD09-C436-5F8E-8C10-75D345EE965A}"/>
              </a:ext>
            </a:extLst>
          </p:cNvPr>
          <p:cNvSpPr/>
          <p:nvPr userDrawn="1"/>
        </p:nvSpPr>
        <p:spPr>
          <a:xfrm>
            <a:off x="7805550" y="0"/>
            <a:ext cx="4391193" cy="4355492"/>
          </a:xfrm>
          <a:custGeom>
            <a:avLst/>
            <a:gdLst/>
            <a:ahLst/>
            <a:cxnLst/>
            <a:rect l="l" t="t" r="r" b="b"/>
            <a:pathLst>
              <a:path w="4842509" h="4803140">
                <a:moveTo>
                  <a:pt x="747268" y="1282877"/>
                </a:moveTo>
                <a:lnTo>
                  <a:pt x="744347" y="1235252"/>
                </a:lnTo>
                <a:lnTo>
                  <a:pt x="735850" y="1189393"/>
                </a:lnTo>
                <a:lnTo>
                  <a:pt x="722109" y="1145654"/>
                </a:lnTo>
                <a:lnTo>
                  <a:pt x="703478" y="1104379"/>
                </a:lnTo>
                <a:lnTo>
                  <a:pt x="680313" y="1065949"/>
                </a:lnTo>
                <a:lnTo>
                  <a:pt x="652957" y="1030706"/>
                </a:lnTo>
                <a:lnTo>
                  <a:pt x="621766" y="999007"/>
                </a:lnTo>
                <a:lnTo>
                  <a:pt x="587095" y="971207"/>
                </a:lnTo>
                <a:lnTo>
                  <a:pt x="549275" y="947661"/>
                </a:lnTo>
                <a:lnTo>
                  <a:pt x="508673" y="928738"/>
                </a:lnTo>
                <a:lnTo>
                  <a:pt x="465620" y="914781"/>
                </a:lnTo>
                <a:lnTo>
                  <a:pt x="420497" y="906132"/>
                </a:lnTo>
                <a:lnTo>
                  <a:pt x="373634" y="903173"/>
                </a:lnTo>
                <a:lnTo>
                  <a:pt x="326758" y="906132"/>
                </a:lnTo>
                <a:lnTo>
                  <a:pt x="281635" y="914781"/>
                </a:lnTo>
                <a:lnTo>
                  <a:pt x="238582" y="928738"/>
                </a:lnTo>
                <a:lnTo>
                  <a:pt x="197980" y="947661"/>
                </a:lnTo>
                <a:lnTo>
                  <a:pt x="160159" y="971207"/>
                </a:lnTo>
                <a:lnTo>
                  <a:pt x="125488" y="999007"/>
                </a:lnTo>
                <a:lnTo>
                  <a:pt x="94297" y="1030706"/>
                </a:lnTo>
                <a:lnTo>
                  <a:pt x="66941" y="1065949"/>
                </a:lnTo>
                <a:lnTo>
                  <a:pt x="43776" y="1104379"/>
                </a:lnTo>
                <a:lnTo>
                  <a:pt x="25146" y="1145654"/>
                </a:lnTo>
                <a:lnTo>
                  <a:pt x="11404" y="1189393"/>
                </a:lnTo>
                <a:lnTo>
                  <a:pt x="2908" y="1235252"/>
                </a:lnTo>
                <a:lnTo>
                  <a:pt x="0" y="1282877"/>
                </a:lnTo>
                <a:lnTo>
                  <a:pt x="2908" y="1330515"/>
                </a:lnTo>
                <a:lnTo>
                  <a:pt x="11404" y="1376375"/>
                </a:lnTo>
                <a:lnTo>
                  <a:pt x="25146" y="1420126"/>
                </a:lnTo>
                <a:lnTo>
                  <a:pt x="43776" y="1461389"/>
                </a:lnTo>
                <a:lnTo>
                  <a:pt x="66941" y="1499819"/>
                </a:lnTo>
                <a:lnTo>
                  <a:pt x="94297" y="1535074"/>
                </a:lnTo>
                <a:lnTo>
                  <a:pt x="125488" y="1566773"/>
                </a:lnTo>
                <a:lnTo>
                  <a:pt x="160159" y="1594573"/>
                </a:lnTo>
                <a:lnTo>
                  <a:pt x="197980" y="1618107"/>
                </a:lnTo>
                <a:lnTo>
                  <a:pt x="238582" y="1637042"/>
                </a:lnTo>
                <a:lnTo>
                  <a:pt x="281635" y="1651000"/>
                </a:lnTo>
                <a:lnTo>
                  <a:pt x="326758" y="1659636"/>
                </a:lnTo>
                <a:lnTo>
                  <a:pt x="373634" y="1662595"/>
                </a:lnTo>
                <a:lnTo>
                  <a:pt x="420497" y="1659636"/>
                </a:lnTo>
                <a:lnTo>
                  <a:pt x="465620" y="1651000"/>
                </a:lnTo>
                <a:lnTo>
                  <a:pt x="508673" y="1637042"/>
                </a:lnTo>
                <a:lnTo>
                  <a:pt x="549275" y="1618107"/>
                </a:lnTo>
                <a:lnTo>
                  <a:pt x="587095" y="1594573"/>
                </a:lnTo>
                <a:lnTo>
                  <a:pt x="621766" y="1566773"/>
                </a:lnTo>
                <a:lnTo>
                  <a:pt x="652957" y="1535074"/>
                </a:lnTo>
                <a:lnTo>
                  <a:pt x="680313" y="1499819"/>
                </a:lnTo>
                <a:lnTo>
                  <a:pt x="703478" y="1461389"/>
                </a:lnTo>
                <a:lnTo>
                  <a:pt x="722109" y="1420126"/>
                </a:lnTo>
                <a:lnTo>
                  <a:pt x="735850" y="1376375"/>
                </a:lnTo>
                <a:lnTo>
                  <a:pt x="744347" y="1330515"/>
                </a:lnTo>
                <a:lnTo>
                  <a:pt x="747268" y="1282877"/>
                </a:lnTo>
                <a:close/>
              </a:path>
              <a:path w="4842509" h="4803140">
                <a:moveTo>
                  <a:pt x="1038237" y="2266010"/>
                </a:moveTo>
                <a:lnTo>
                  <a:pt x="1033195" y="2221458"/>
                </a:lnTo>
                <a:lnTo>
                  <a:pt x="1018806" y="2180552"/>
                </a:lnTo>
                <a:lnTo>
                  <a:pt x="996238" y="2144471"/>
                </a:lnTo>
                <a:lnTo>
                  <a:pt x="966635" y="2114385"/>
                </a:lnTo>
                <a:lnTo>
                  <a:pt x="931125" y="2091448"/>
                </a:lnTo>
                <a:lnTo>
                  <a:pt x="890879" y="2076831"/>
                </a:lnTo>
                <a:lnTo>
                  <a:pt x="847039" y="2071700"/>
                </a:lnTo>
                <a:lnTo>
                  <a:pt x="803198" y="2076831"/>
                </a:lnTo>
                <a:lnTo>
                  <a:pt x="762952" y="2091448"/>
                </a:lnTo>
                <a:lnTo>
                  <a:pt x="727456" y="2114385"/>
                </a:lnTo>
                <a:lnTo>
                  <a:pt x="697852" y="2144471"/>
                </a:lnTo>
                <a:lnTo>
                  <a:pt x="675284" y="2180552"/>
                </a:lnTo>
                <a:lnTo>
                  <a:pt x="660895" y="2221458"/>
                </a:lnTo>
                <a:lnTo>
                  <a:pt x="655840" y="2266010"/>
                </a:lnTo>
                <a:lnTo>
                  <a:pt x="660895" y="2310561"/>
                </a:lnTo>
                <a:lnTo>
                  <a:pt x="675284" y="2351455"/>
                </a:lnTo>
                <a:lnTo>
                  <a:pt x="697852" y="2387536"/>
                </a:lnTo>
                <a:lnTo>
                  <a:pt x="727456" y="2417635"/>
                </a:lnTo>
                <a:lnTo>
                  <a:pt x="762952" y="2440571"/>
                </a:lnTo>
                <a:lnTo>
                  <a:pt x="803198" y="2455189"/>
                </a:lnTo>
                <a:lnTo>
                  <a:pt x="847039" y="2460320"/>
                </a:lnTo>
                <a:lnTo>
                  <a:pt x="890879" y="2455189"/>
                </a:lnTo>
                <a:lnTo>
                  <a:pt x="931125" y="2440571"/>
                </a:lnTo>
                <a:lnTo>
                  <a:pt x="966635" y="2417635"/>
                </a:lnTo>
                <a:lnTo>
                  <a:pt x="996238" y="2387536"/>
                </a:lnTo>
                <a:lnTo>
                  <a:pt x="1018806" y="2351455"/>
                </a:lnTo>
                <a:lnTo>
                  <a:pt x="1033195" y="2310561"/>
                </a:lnTo>
                <a:lnTo>
                  <a:pt x="1038237" y="2266010"/>
                </a:lnTo>
                <a:close/>
              </a:path>
              <a:path w="4842509" h="4803140">
                <a:moveTo>
                  <a:pt x="1353693" y="196011"/>
                </a:moveTo>
                <a:lnTo>
                  <a:pt x="1349044" y="149148"/>
                </a:lnTo>
                <a:lnTo>
                  <a:pt x="1335709" y="105486"/>
                </a:lnTo>
                <a:lnTo>
                  <a:pt x="1314615" y="65989"/>
                </a:lnTo>
                <a:lnTo>
                  <a:pt x="1286675" y="31572"/>
                </a:lnTo>
                <a:lnTo>
                  <a:pt x="1252804" y="3175"/>
                </a:lnTo>
                <a:lnTo>
                  <a:pt x="1247063" y="0"/>
                </a:lnTo>
                <a:lnTo>
                  <a:pt x="1002677" y="0"/>
                </a:lnTo>
                <a:lnTo>
                  <a:pt x="963053" y="31572"/>
                </a:lnTo>
                <a:lnTo>
                  <a:pt x="935113" y="65989"/>
                </a:lnTo>
                <a:lnTo>
                  <a:pt x="914019" y="105486"/>
                </a:lnTo>
                <a:lnTo>
                  <a:pt x="900684" y="149148"/>
                </a:lnTo>
                <a:lnTo>
                  <a:pt x="896035" y="196011"/>
                </a:lnTo>
                <a:lnTo>
                  <a:pt x="900684" y="242874"/>
                </a:lnTo>
                <a:lnTo>
                  <a:pt x="914019" y="286524"/>
                </a:lnTo>
                <a:lnTo>
                  <a:pt x="935113" y="326034"/>
                </a:lnTo>
                <a:lnTo>
                  <a:pt x="963053" y="360451"/>
                </a:lnTo>
                <a:lnTo>
                  <a:pt x="996924" y="388848"/>
                </a:lnTo>
                <a:lnTo>
                  <a:pt x="1035799" y="410286"/>
                </a:lnTo>
                <a:lnTo>
                  <a:pt x="1078750" y="423837"/>
                </a:lnTo>
                <a:lnTo>
                  <a:pt x="1124864" y="428561"/>
                </a:lnTo>
                <a:lnTo>
                  <a:pt x="1170978" y="423837"/>
                </a:lnTo>
                <a:lnTo>
                  <a:pt x="1213929" y="410286"/>
                </a:lnTo>
                <a:lnTo>
                  <a:pt x="1252804" y="388848"/>
                </a:lnTo>
                <a:lnTo>
                  <a:pt x="1286675" y="360451"/>
                </a:lnTo>
                <a:lnTo>
                  <a:pt x="1314615" y="326034"/>
                </a:lnTo>
                <a:lnTo>
                  <a:pt x="1335709" y="286524"/>
                </a:lnTo>
                <a:lnTo>
                  <a:pt x="1349044" y="242874"/>
                </a:lnTo>
                <a:lnTo>
                  <a:pt x="1353693" y="196011"/>
                </a:lnTo>
                <a:close/>
              </a:path>
              <a:path w="4842509" h="4803140">
                <a:moveTo>
                  <a:pt x="2336165" y="3322891"/>
                </a:moveTo>
                <a:lnTo>
                  <a:pt x="2331415" y="3275126"/>
                </a:lnTo>
                <a:lnTo>
                  <a:pt x="2317826" y="3230638"/>
                </a:lnTo>
                <a:lnTo>
                  <a:pt x="2296325" y="3190392"/>
                </a:lnTo>
                <a:lnTo>
                  <a:pt x="2267851" y="3155315"/>
                </a:lnTo>
                <a:lnTo>
                  <a:pt x="2233333" y="3126371"/>
                </a:lnTo>
                <a:lnTo>
                  <a:pt x="2193721" y="3104527"/>
                </a:lnTo>
                <a:lnTo>
                  <a:pt x="2149945" y="3090710"/>
                </a:lnTo>
                <a:lnTo>
                  <a:pt x="2102954" y="3085896"/>
                </a:lnTo>
                <a:lnTo>
                  <a:pt x="2055952" y="3090710"/>
                </a:lnTo>
                <a:lnTo>
                  <a:pt x="2012175" y="3104527"/>
                </a:lnTo>
                <a:lnTo>
                  <a:pt x="1972564" y="3126371"/>
                </a:lnTo>
                <a:lnTo>
                  <a:pt x="1938058" y="3155315"/>
                </a:lnTo>
                <a:lnTo>
                  <a:pt x="1909572" y="3190392"/>
                </a:lnTo>
                <a:lnTo>
                  <a:pt x="1888070" y="3230638"/>
                </a:lnTo>
                <a:lnTo>
                  <a:pt x="1874494" y="3275126"/>
                </a:lnTo>
                <a:lnTo>
                  <a:pt x="1869757" y="3322891"/>
                </a:lnTo>
                <a:lnTo>
                  <a:pt x="1874494" y="3370656"/>
                </a:lnTo>
                <a:lnTo>
                  <a:pt x="1888070" y="3415144"/>
                </a:lnTo>
                <a:lnTo>
                  <a:pt x="1909572" y="3455403"/>
                </a:lnTo>
                <a:lnTo>
                  <a:pt x="1938058" y="3490480"/>
                </a:lnTo>
                <a:lnTo>
                  <a:pt x="1972564" y="3519424"/>
                </a:lnTo>
                <a:lnTo>
                  <a:pt x="2012175" y="3541280"/>
                </a:lnTo>
                <a:lnTo>
                  <a:pt x="2055952" y="3555085"/>
                </a:lnTo>
                <a:lnTo>
                  <a:pt x="2102954" y="3559899"/>
                </a:lnTo>
                <a:lnTo>
                  <a:pt x="2149945" y="3555085"/>
                </a:lnTo>
                <a:lnTo>
                  <a:pt x="2193721" y="3541280"/>
                </a:lnTo>
                <a:lnTo>
                  <a:pt x="2233333" y="3519424"/>
                </a:lnTo>
                <a:lnTo>
                  <a:pt x="2267851" y="3490480"/>
                </a:lnTo>
                <a:lnTo>
                  <a:pt x="2296325" y="3455403"/>
                </a:lnTo>
                <a:lnTo>
                  <a:pt x="2317826" y="3415144"/>
                </a:lnTo>
                <a:lnTo>
                  <a:pt x="2331415" y="3370656"/>
                </a:lnTo>
                <a:lnTo>
                  <a:pt x="2336165" y="3322891"/>
                </a:lnTo>
                <a:close/>
              </a:path>
              <a:path w="4842509" h="4803140">
                <a:moveTo>
                  <a:pt x="2815031" y="1449959"/>
                </a:moveTo>
                <a:lnTo>
                  <a:pt x="2805074" y="1400657"/>
                </a:lnTo>
                <a:lnTo>
                  <a:pt x="2777921" y="1360385"/>
                </a:lnTo>
                <a:lnTo>
                  <a:pt x="2737650" y="1333233"/>
                </a:lnTo>
                <a:lnTo>
                  <a:pt x="2688348" y="1323276"/>
                </a:lnTo>
                <a:lnTo>
                  <a:pt x="1587842" y="1323276"/>
                </a:lnTo>
                <a:lnTo>
                  <a:pt x="1594739" y="1293037"/>
                </a:lnTo>
                <a:lnTo>
                  <a:pt x="1611210" y="1231938"/>
                </a:lnTo>
                <a:lnTo>
                  <a:pt x="1635810" y="1161021"/>
                </a:lnTo>
                <a:lnTo>
                  <a:pt x="1653717" y="1120343"/>
                </a:lnTo>
                <a:lnTo>
                  <a:pt x="1674545" y="1079030"/>
                </a:lnTo>
                <a:lnTo>
                  <a:pt x="1698117" y="1037107"/>
                </a:lnTo>
                <a:lnTo>
                  <a:pt x="1724279" y="994613"/>
                </a:lnTo>
                <a:lnTo>
                  <a:pt x="1724837" y="994613"/>
                </a:lnTo>
                <a:lnTo>
                  <a:pt x="1725358" y="994778"/>
                </a:lnTo>
                <a:lnTo>
                  <a:pt x="2587726" y="994778"/>
                </a:lnTo>
                <a:lnTo>
                  <a:pt x="2588539" y="994613"/>
                </a:lnTo>
                <a:lnTo>
                  <a:pt x="2637028" y="984821"/>
                </a:lnTo>
                <a:lnTo>
                  <a:pt x="2677299" y="957668"/>
                </a:lnTo>
                <a:lnTo>
                  <a:pt x="2704452" y="917409"/>
                </a:lnTo>
                <a:lnTo>
                  <a:pt x="2714409" y="868095"/>
                </a:lnTo>
                <a:lnTo>
                  <a:pt x="2704452" y="818794"/>
                </a:lnTo>
                <a:lnTo>
                  <a:pt x="2677299" y="778522"/>
                </a:lnTo>
                <a:lnTo>
                  <a:pt x="2637028" y="751370"/>
                </a:lnTo>
                <a:lnTo>
                  <a:pt x="2587726" y="741413"/>
                </a:lnTo>
                <a:lnTo>
                  <a:pt x="1918449" y="741413"/>
                </a:lnTo>
                <a:lnTo>
                  <a:pt x="1948662" y="707326"/>
                </a:lnTo>
                <a:lnTo>
                  <a:pt x="1979866" y="672985"/>
                </a:lnTo>
                <a:lnTo>
                  <a:pt x="2012010" y="638390"/>
                </a:lnTo>
                <a:lnTo>
                  <a:pt x="2045055" y="603554"/>
                </a:lnTo>
                <a:lnTo>
                  <a:pt x="2078926" y="568502"/>
                </a:lnTo>
                <a:lnTo>
                  <a:pt x="2113610" y="533209"/>
                </a:lnTo>
                <a:lnTo>
                  <a:pt x="2149030" y="497700"/>
                </a:lnTo>
                <a:lnTo>
                  <a:pt x="2185162" y="461987"/>
                </a:lnTo>
                <a:lnTo>
                  <a:pt x="2221954" y="426072"/>
                </a:lnTo>
                <a:lnTo>
                  <a:pt x="2297303" y="353644"/>
                </a:lnTo>
                <a:lnTo>
                  <a:pt x="2414079" y="243662"/>
                </a:lnTo>
                <a:lnTo>
                  <a:pt x="2677630" y="12"/>
                </a:lnTo>
                <a:lnTo>
                  <a:pt x="2136800" y="12"/>
                </a:lnTo>
                <a:lnTo>
                  <a:pt x="2069376" y="63487"/>
                </a:lnTo>
                <a:lnTo>
                  <a:pt x="1987892" y="141401"/>
                </a:lnTo>
                <a:lnTo>
                  <a:pt x="1947964" y="180200"/>
                </a:lnTo>
                <a:lnTo>
                  <a:pt x="1908632" y="218884"/>
                </a:lnTo>
                <a:lnTo>
                  <a:pt x="1869922" y="257467"/>
                </a:lnTo>
                <a:lnTo>
                  <a:pt x="1831911" y="295948"/>
                </a:lnTo>
                <a:lnTo>
                  <a:pt x="1794637" y="334327"/>
                </a:lnTo>
                <a:lnTo>
                  <a:pt x="1758124" y="372618"/>
                </a:lnTo>
                <a:lnTo>
                  <a:pt x="1722450" y="410806"/>
                </a:lnTo>
                <a:lnTo>
                  <a:pt x="1687626" y="448906"/>
                </a:lnTo>
                <a:lnTo>
                  <a:pt x="1653730" y="486918"/>
                </a:lnTo>
                <a:lnTo>
                  <a:pt x="1620786" y="524840"/>
                </a:lnTo>
                <a:lnTo>
                  <a:pt x="1588846" y="562686"/>
                </a:lnTo>
                <a:lnTo>
                  <a:pt x="1557959" y="600443"/>
                </a:lnTo>
                <a:lnTo>
                  <a:pt x="1528152" y="638124"/>
                </a:lnTo>
                <a:lnTo>
                  <a:pt x="1499501" y="675716"/>
                </a:lnTo>
                <a:lnTo>
                  <a:pt x="1472018" y="713244"/>
                </a:lnTo>
                <a:lnTo>
                  <a:pt x="1445780" y="750697"/>
                </a:lnTo>
                <a:lnTo>
                  <a:pt x="1420812" y="788073"/>
                </a:lnTo>
                <a:lnTo>
                  <a:pt x="1397165" y="825385"/>
                </a:lnTo>
                <a:lnTo>
                  <a:pt x="1374889" y="862634"/>
                </a:lnTo>
                <a:lnTo>
                  <a:pt x="1354023" y="899820"/>
                </a:lnTo>
                <a:lnTo>
                  <a:pt x="1334604" y="936955"/>
                </a:lnTo>
                <a:lnTo>
                  <a:pt x="1316697" y="974013"/>
                </a:lnTo>
                <a:lnTo>
                  <a:pt x="1300340" y="1011021"/>
                </a:lnTo>
                <a:lnTo>
                  <a:pt x="1285570" y="1047978"/>
                </a:lnTo>
                <a:lnTo>
                  <a:pt x="1272451" y="1084884"/>
                </a:lnTo>
                <a:lnTo>
                  <a:pt x="1251242" y="1153655"/>
                </a:lnTo>
                <a:lnTo>
                  <a:pt x="1233639" y="1221536"/>
                </a:lnTo>
                <a:lnTo>
                  <a:pt x="1219492" y="1288491"/>
                </a:lnTo>
                <a:lnTo>
                  <a:pt x="1208646" y="1354493"/>
                </a:lnTo>
                <a:lnTo>
                  <a:pt x="1200962" y="1419517"/>
                </a:lnTo>
                <a:lnTo>
                  <a:pt x="1196276" y="1483499"/>
                </a:lnTo>
                <a:lnTo>
                  <a:pt x="1194447" y="1546440"/>
                </a:lnTo>
                <a:lnTo>
                  <a:pt x="1195324" y="1608264"/>
                </a:lnTo>
                <a:lnTo>
                  <a:pt x="1198753" y="1668970"/>
                </a:lnTo>
                <a:lnTo>
                  <a:pt x="1204595" y="1728508"/>
                </a:lnTo>
                <a:lnTo>
                  <a:pt x="1212684" y="1786839"/>
                </a:lnTo>
                <a:lnTo>
                  <a:pt x="1222870" y="1843925"/>
                </a:lnTo>
                <a:lnTo>
                  <a:pt x="1235024" y="1899742"/>
                </a:lnTo>
                <a:lnTo>
                  <a:pt x="1248981" y="1954237"/>
                </a:lnTo>
                <a:lnTo>
                  <a:pt x="1264589" y="2007400"/>
                </a:lnTo>
                <a:lnTo>
                  <a:pt x="1281709" y="2059178"/>
                </a:lnTo>
                <a:lnTo>
                  <a:pt x="1300175" y="2109533"/>
                </a:lnTo>
                <a:lnTo>
                  <a:pt x="1319860" y="2158441"/>
                </a:lnTo>
                <a:lnTo>
                  <a:pt x="1340586" y="2205863"/>
                </a:lnTo>
                <a:lnTo>
                  <a:pt x="1362227" y="2251748"/>
                </a:lnTo>
                <a:lnTo>
                  <a:pt x="1384617" y="2296083"/>
                </a:lnTo>
                <a:lnTo>
                  <a:pt x="1407617" y="2338819"/>
                </a:lnTo>
                <a:lnTo>
                  <a:pt x="1431074" y="2379916"/>
                </a:lnTo>
                <a:lnTo>
                  <a:pt x="1454835" y="2419350"/>
                </a:lnTo>
                <a:lnTo>
                  <a:pt x="1478749" y="2457081"/>
                </a:lnTo>
                <a:lnTo>
                  <a:pt x="1502676" y="2493073"/>
                </a:lnTo>
                <a:lnTo>
                  <a:pt x="1526451" y="2527300"/>
                </a:lnTo>
                <a:lnTo>
                  <a:pt x="1549946" y="2559710"/>
                </a:lnTo>
                <a:lnTo>
                  <a:pt x="1572983" y="2590266"/>
                </a:lnTo>
                <a:lnTo>
                  <a:pt x="1617141" y="2645714"/>
                </a:lnTo>
                <a:lnTo>
                  <a:pt x="1657718" y="2693352"/>
                </a:lnTo>
                <a:lnTo>
                  <a:pt x="1693532" y="2732887"/>
                </a:lnTo>
                <a:lnTo>
                  <a:pt x="1723364" y="2764040"/>
                </a:lnTo>
                <a:lnTo>
                  <a:pt x="1754289" y="2794431"/>
                </a:lnTo>
                <a:lnTo>
                  <a:pt x="1791779" y="2824124"/>
                </a:lnTo>
                <a:lnTo>
                  <a:pt x="1853996" y="2847721"/>
                </a:lnTo>
                <a:lnTo>
                  <a:pt x="1886724" y="2850654"/>
                </a:lnTo>
                <a:lnTo>
                  <a:pt x="1923973" y="2846857"/>
                </a:lnTo>
                <a:lnTo>
                  <a:pt x="1993277" y="2816644"/>
                </a:lnTo>
                <a:lnTo>
                  <a:pt x="2022830" y="2790367"/>
                </a:lnTo>
                <a:lnTo>
                  <a:pt x="2050745" y="2749880"/>
                </a:lnTo>
                <a:lnTo>
                  <a:pt x="2066505" y="2705011"/>
                </a:lnTo>
                <a:lnTo>
                  <a:pt x="2070239" y="2658224"/>
                </a:lnTo>
                <a:lnTo>
                  <a:pt x="2062073" y="2611996"/>
                </a:lnTo>
                <a:lnTo>
                  <a:pt x="2042134" y="2568778"/>
                </a:lnTo>
                <a:lnTo>
                  <a:pt x="2010562" y="2531059"/>
                </a:lnTo>
                <a:lnTo>
                  <a:pt x="2002307" y="2523312"/>
                </a:lnTo>
                <a:lnTo>
                  <a:pt x="1986203" y="2507475"/>
                </a:lnTo>
                <a:lnTo>
                  <a:pt x="1934933" y="2452725"/>
                </a:lnTo>
                <a:lnTo>
                  <a:pt x="1902015" y="2414397"/>
                </a:lnTo>
                <a:lnTo>
                  <a:pt x="1865718" y="2369159"/>
                </a:lnTo>
                <a:lnTo>
                  <a:pt x="1827174" y="2317305"/>
                </a:lnTo>
                <a:lnTo>
                  <a:pt x="1787486" y="2259114"/>
                </a:lnTo>
                <a:lnTo>
                  <a:pt x="1747786" y="2194903"/>
                </a:lnTo>
                <a:lnTo>
                  <a:pt x="1709204" y="2124951"/>
                </a:lnTo>
                <a:lnTo>
                  <a:pt x="2085060" y="2124951"/>
                </a:lnTo>
                <a:lnTo>
                  <a:pt x="2134362" y="2114994"/>
                </a:lnTo>
                <a:lnTo>
                  <a:pt x="2174633" y="2087841"/>
                </a:lnTo>
                <a:lnTo>
                  <a:pt x="2201786" y="2047582"/>
                </a:lnTo>
                <a:lnTo>
                  <a:pt x="2211743" y="1998268"/>
                </a:lnTo>
                <a:lnTo>
                  <a:pt x="2201786" y="1948967"/>
                </a:lnTo>
                <a:lnTo>
                  <a:pt x="2174633" y="1908695"/>
                </a:lnTo>
                <a:lnTo>
                  <a:pt x="2134362" y="1881543"/>
                </a:lnTo>
                <a:lnTo>
                  <a:pt x="2085060" y="1871586"/>
                </a:lnTo>
                <a:lnTo>
                  <a:pt x="1607959" y="1871586"/>
                </a:lnTo>
                <a:lnTo>
                  <a:pt x="1595729" y="1825244"/>
                </a:lnTo>
                <a:lnTo>
                  <a:pt x="1585214" y="1777720"/>
                </a:lnTo>
                <a:lnTo>
                  <a:pt x="1576565" y="1729054"/>
                </a:lnTo>
                <a:lnTo>
                  <a:pt x="1569910" y="1679295"/>
                </a:lnTo>
                <a:lnTo>
                  <a:pt x="1565402" y="1628482"/>
                </a:lnTo>
                <a:lnTo>
                  <a:pt x="1563192" y="1576641"/>
                </a:lnTo>
                <a:lnTo>
                  <a:pt x="2688348" y="1576641"/>
                </a:lnTo>
                <a:lnTo>
                  <a:pt x="2737650" y="1566697"/>
                </a:lnTo>
                <a:lnTo>
                  <a:pt x="2777921" y="1539544"/>
                </a:lnTo>
                <a:lnTo>
                  <a:pt x="2805074" y="1499273"/>
                </a:lnTo>
                <a:lnTo>
                  <a:pt x="2815031" y="1449959"/>
                </a:lnTo>
                <a:close/>
              </a:path>
              <a:path w="4842509" h="4803140">
                <a:moveTo>
                  <a:pt x="3022498" y="1998268"/>
                </a:moveTo>
                <a:lnTo>
                  <a:pt x="3012541" y="1948967"/>
                </a:lnTo>
                <a:lnTo>
                  <a:pt x="2985389" y="1908695"/>
                </a:lnTo>
                <a:lnTo>
                  <a:pt x="2945130" y="1881543"/>
                </a:lnTo>
                <a:lnTo>
                  <a:pt x="2895816" y="1871586"/>
                </a:lnTo>
                <a:lnTo>
                  <a:pt x="2492959" y="1871586"/>
                </a:lnTo>
                <a:lnTo>
                  <a:pt x="2443645" y="1881543"/>
                </a:lnTo>
                <a:lnTo>
                  <a:pt x="2403373" y="1908695"/>
                </a:lnTo>
                <a:lnTo>
                  <a:pt x="2376220" y="1948967"/>
                </a:lnTo>
                <a:lnTo>
                  <a:pt x="2366264" y="1998268"/>
                </a:lnTo>
                <a:lnTo>
                  <a:pt x="2376220" y="2047582"/>
                </a:lnTo>
                <a:lnTo>
                  <a:pt x="2403373" y="2087854"/>
                </a:lnTo>
                <a:lnTo>
                  <a:pt x="2443645" y="2114994"/>
                </a:lnTo>
                <a:lnTo>
                  <a:pt x="2492959" y="2124951"/>
                </a:lnTo>
                <a:lnTo>
                  <a:pt x="2895816" y="2124951"/>
                </a:lnTo>
                <a:lnTo>
                  <a:pt x="2945130" y="2114994"/>
                </a:lnTo>
                <a:lnTo>
                  <a:pt x="2985389" y="2087854"/>
                </a:lnTo>
                <a:lnTo>
                  <a:pt x="3012541" y="2047582"/>
                </a:lnTo>
                <a:lnTo>
                  <a:pt x="3022498" y="1998268"/>
                </a:lnTo>
                <a:close/>
              </a:path>
              <a:path w="4842509" h="4803140">
                <a:moveTo>
                  <a:pt x="3290455" y="860463"/>
                </a:moveTo>
                <a:lnTo>
                  <a:pt x="3285413" y="815911"/>
                </a:lnTo>
                <a:lnTo>
                  <a:pt x="3271024" y="775017"/>
                </a:lnTo>
                <a:lnTo>
                  <a:pt x="3248456" y="738936"/>
                </a:lnTo>
                <a:lnTo>
                  <a:pt x="3218853" y="708850"/>
                </a:lnTo>
                <a:lnTo>
                  <a:pt x="3183344" y="685914"/>
                </a:lnTo>
                <a:lnTo>
                  <a:pt x="3143097" y="671296"/>
                </a:lnTo>
                <a:lnTo>
                  <a:pt x="3099257" y="666165"/>
                </a:lnTo>
                <a:lnTo>
                  <a:pt x="3055429" y="671296"/>
                </a:lnTo>
                <a:lnTo>
                  <a:pt x="3015183" y="685914"/>
                </a:lnTo>
                <a:lnTo>
                  <a:pt x="2979674" y="708850"/>
                </a:lnTo>
                <a:lnTo>
                  <a:pt x="2950070" y="738936"/>
                </a:lnTo>
                <a:lnTo>
                  <a:pt x="2927502" y="775017"/>
                </a:lnTo>
                <a:lnTo>
                  <a:pt x="2913113" y="815911"/>
                </a:lnTo>
                <a:lnTo>
                  <a:pt x="2908058" y="860463"/>
                </a:lnTo>
                <a:lnTo>
                  <a:pt x="2913113" y="905027"/>
                </a:lnTo>
                <a:lnTo>
                  <a:pt x="2927502" y="945921"/>
                </a:lnTo>
                <a:lnTo>
                  <a:pt x="2950070" y="982002"/>
                </a:lnTo>
                <a:lnTo>
                  <a:pt x="2979674" y="1012088"/>
                </a:lnTo>
                <a:lnTo>
                  <a:pt x="3015183" y="1035024"/>
                </a:lnTo>
                <a:lnTo>
                  <a:pt x="3055429" y="1049642"/>
                </a:lnTo>
                <a:lnTo>
                  <a:pt x="3099257" y="1054773"/>
                </a:lnTo>
                <a:lnTo>
                  <a:pt x="3143097" y="1049642"/>
                </a:lnTo>
                <a:lnTo>
                  <a:pt x="3183344" y="1035024"/>
                </a:lnTo>
                <a:lnTo>
                  <a:pt x="3218853" y="1012088"/>
                </a:lnTo>
                <a:lnTo>
                  <a:pt x="3248456" y="982002"/>
                </a:lnTo>
                <a:lnTo>
                  <a:pt x="3271024" y="945921"/>
                </a:lnTo>
                <a:lnTo>
                  <a:pt x="3285413" y="905027"/>
                </a:lnTo>
                <a:lnTo>
                  <a:pt x="3290455" y="860463"/>
                </a:lnTo>
                <a:close/>
              </a:path>
              <a:path w="4842509" h="4803140">
                <a:moveTo>
                  <a:pt x="3455378" y="1436839"/>
                </a:moveTo>
                <a:lnTo>
                  <a:pt x="3449624" y="1393291"/>
                </a:lnTo>
                <a:lnTo>
                  <a:pt x="3433368" y="1354150"/>
                </a:lnTo>
                <a:lnTo>
                  <a:pt x="3408159" y="1320990"/>
                </a:lnTo>
                <a:lnTo>
                  <a:pt x="3375533" y="1295374"/>
                </a:lnTo>
                <a:lnTo>
                  <a:pt x="3337026" y="1278864"/>
                </a:lnTo>
                <a:lnTo>
                  <a:pt x="3294164" y="1273009"/>
                </a:lnTo>
                <a:lnTo>
                  <a:pt x="3251314" y="1278864"/>
                </a:lnTo>
                <a:lnTo>
                  <a:pt x="3212795" y="1295374"/>
                </a:lnTo>
                <a:lnTo>
                  <a:pt x="3180169" y="1320990"/>
                </a:lnTo>
                <a:lnTo>
                  <a:pt x="3154959" y="1354150"/>
                </a:lnTo>
                <a:lnTo>
                  <a:pt x="3138716" y="1393291"/>
                </a:lnTo>
                <a:lnTo>
                  <a:pt x="3132950" y="1436839"/>
                </a:lnTo>
                <a:lnTo>
                  <a:pt x="3138716" y="1480388"/>
                </a:lnTo>
                <a:lnTo>
                  <a:pt x="3154959" y="1519529"/>
                </a:lnTo>
                <a:lnTo>
                  <a:pt x="3180169" y="1552689"/>
                </a:lnTo>
                <a:lnTo>
                  <a:pt x="3212795" y="1578305"/>
                </a:lnTo>
                <a:lnTo>
                  <a:pt x="3251314" y="1594815"/>
                </a:lnTo>
                <a:lnTo>
                  <a:pt x="3294164" y="1600669"/>
                </a:lnTo>
                <a:lnTo>
                  <a:pt x="3337026" y="1594815"/>
                </a:lnTo>
                <a:lnTo>
                  <a:pt x="3375533" y="1578305"/>
                </a:lnTo>
                <a:lnTo>
                  <a:pt x="3408159" y="1552689"/>
                </a:lnTo>
                <a:lnTo>
                  <a:pt x="3433368" y="1519529"/>
                </a:lnTo>
                <a:lnTo>
                  <a:pt x="3449624" y="1480388"/>
                </a:lnTo>
                <a:lnTo>
                  <a:pt x="3455378" y="1436839"/>
                </a:lnTo>
                <a:close/>
              </a:path>
              <a:path w="4842509" h="4803140">
                <a:moveTo>
                  <a:pt x="3677882" y="141617"/>
                </a:moveTo>
                <a:lnTo>
                  <a:pt x="3669868" y="91109"/>
                </a:lnTo>
                <a:lnTo>
                  <a:pt x="3647541" y="47244"/>
                </a:lnTo>
                <a:lnTo>
                  <a:pt x="3613505" y="12661"/>
                </a:lnTo>
                <a:lnTo>
                  <a:pt x="3589439" y="0"/>
                </a:lnTo>
                <a:lnTo>
                  <a:pt x="3451847" y="0"/>
                </a:lnTo>
                <a:lnTo>
                  <a:pt x="3427780" y="12661"/>
                </a:lnTo>
                <a:lnTo>
                  <a:pt x="3393744" y="47244"/>
                </a:lnTo>
                <a:lnTo>
                  <a:pt x="3371418" y="91109"/>
                </a:lnTo>
                <a:lnTo>
                  <a:pt x="3363404" y="141617"/>
                </a:lnTo>
                <a:lnTo>
                  <a:pt x="3371418" y="192125"/>
                </a:lnTo>
                <a:lnTo>
                  <a:pt x="3393744" y="235991"/>
                </a:lnTo>
                <a:lnTo>
                  <a:pt x="3427780" y="270573"/>
                </a:lnTo>
                <a:lnTo>
                  <a:pt x="3470935" y="293268"/>
                </a:lnTo>
                <a:lnTo>
                  <a:pt x="3520643" y="301409"/>
                </a:lnTo>
                <a:lnTo>
                  <a:pt x="3570338" y="293268"/>
                </a:lnTo>
                <a:lnTo>
                  <a:pt x="3613505" y="270573"/>
                </a:lnTo>
                <a:lnTo>
                  <a:pt x="3647541" y="235991"/>
                </a:lnTo>
                <a:lnTo>
                  <a:pt x="3669868" y="192125"/>
                </a:lnTo>
                <a:lnTo>
                  <a:pt x="3677882" y="141617"/>
                </a:lnTo>
                <a:close/>
              </a:path>
              <a:path w="4842509" h="4803140">
                <a:moveTo>
                  <a:pt x="3887127" y="709460"/>
                </a:moveTo>
                <a:lnTo>
                  <a:pt x="3882085" y="664908"/>
                </a:lnTo>
                <a:lnTo>
                  <a:pt x="3867696" y="624001"/>
                </a:lnTo>
                <a:lnTo>
                  <a:pt x="3845128" y="587933"/>
                </a:lnTo>
                <a:lnTo>
                  <a:pt x="3815524" y="557834"/>
                </a:lnTo>
                <a:lnTo>
                  <a:pt x="3780015" y="534898"/>
                </a:lnTo>
                <a:lnTo>
                  <a:pt x="3739769" y="520280"/>
                </a:lnTo>
                <a:lnTo>
                  <a:pt x="3695928" y="515150"/>
                </a:lnTo>
                <a:lnTo>
                  <a:pt x="3652101" y="520280"/>
                </a:lnTo>
                <a:lnTo>
                  <a:pt x="3611854" y="534898"/>
                </a:lnTo>
                <a:lnTo>
                  <a:pt x="3576345" y="557834"/>
                </a:lnTo>
                <a:lnTo>
                  <a:pt x="3546741" y="587933"/>
                </a:lnTo>
                <a:lnTo>
                  <a:pt x="3524173" y="624001"/>
                </a:lnTo>
                <a:lnTo>
                  <a:pt x="3509784" y="664908"/>
                </a:lnTo>
                <a:lnTo>
                  <a:pt x="3504730" y="709460"/>
                </a:lnTo>
                <a:lnTo>
                  <a:pt x="3509784" y="754011"/>
                </a:lnTo>
                <a:lnTo>
                  <a:pt x="3524173" y="794918"/>
                </a:lnTo>
                <a:lnTo>
                  <a:pt x="3546741" y="830986"/>
                </a:lnTo>
                <a:lnTo>
                  <a:pt x="3576345" y="861085"/>
                </a:lnTo>
                <a:lnTo>
                  <a:pt x="3611854" y="884021"/>
                </a:lnTo>
                <a:lnTo>
                  <a:pt x="3652101" y="898639"/>
                </a:lnTo>
                <a:lnTo>
                  <a:pt x="3695928" y="903770"/>
                </a:lnTo>
                <a:lnTo>
                  <a:pt x="3739769" y="898639"/>
                </a:lnTo>
                <a:lnTo>
                  <a:pt x="3780015" y="884021"/>
                </a:lnTo>
                <a:lnTo>
                  <a:pt x="3815524" y="861085"/>
                </a:lnTo>
                <a:lnTo>
                  <a:pt x="3845128" y="830986"/>
                </a:lnTo>
                <a:lnTo>
                  <a:pt x="3867696" y="794918"/>
                </a:lnTo>
                <a:lnTo>
                  <a:pt x="3882085" y="754011"/>
                </a:lnTo>
                <a:lnTo>
                  <a:pt x="3887127" y="709460"/>
                </a:lnTo>
                <a:close/>
              </a:path>
              <a:path w="4842509" h="4803140">
                <a:moveTo>
                  <a:pt x="4802949" y="2817431"/>
                </a:moveTo>
                <a:lnTo>
                  <a:pt x="4797895" y="2772880"/>
                </a:lnTo>
                <a:lnTo>
                  <a:pt x="4783518" y="2731973"/>
                </a:lnTo>
                <a:lnTo>
                  <a:pt x="4760950" y="2695892"/>
                </a:lnTo>
                <a:lnTo>
                  <a:pt x="4731334" y="2665806"/>
                </a:lnTo>
                <a:lnTo>
                  <a:pt x="4695837" y="2642870"/>
                </a:lnTo>
                <a:lnTo>
                  <a:pt x="4655591" y="2628252"/>
                </a:lnTo>
                <a:lnTo>
                  <a:pt x="4611751" y="2623121"/>
                </a:lnTo>
                <a:lnTo>
                  <a:pt x="4567910" y="2628252"/>
                </a:lnTo>
                <a:lnTo>
                  <a:pt x="4527664" y="2642870"/>
                </a:lnTo>
                <a:lnTo>
                  <a:pt x="4492168" y="2665806"/>
                </a:lnTo>
                <a:lnTo>
                  <a:pt x="4462551" y="2695892"/>
                </a:lnTo>
                <a:lnTo>
                  <a:pt x="4439983" y="2731973"/>
                </a:lnTo>
                <a:lnTo>
                  <a:pt x="4425607" y="2772880"/>
                </a:lnTo>
                <a:lnTo>
                  <a:pt x="4420552" y="2817431"/>
                </a:lnTo>
                <a:lnTo>
                  <a:pt x="4425607" y="2861983"/>
                </a:lnTo>
                <a:lnTo>
                  <a:pt x="4439983" y="2902877"/>
                </a:lnTo>
                <a:lnTo>
                  <a:pt x="4462551" y="2938957"/>
                </a:lnTo>
                <a:lnTo>
                  <a:pt x="4492168" y="2969056"/>
                </a:lnTo>
                <a:lnTo>
                  <a:pt x="4527664" y="2991993"/>
                </a:lnTo>
                <a:lnTo>
                  <a:pt x="4567910" y="3006610"/>
                </a:lnTo>
                <a:lnTo>
                  <a:pt x="4611751" y="3011741"/>
                </a:lnTo>
                <a:lnTo>
                  <a:pt x="4655591" y="3006610"/>
                </a:lnTo>
                <a:lnTo>
                  <a:pt x="4695837" y="2991993"/>
                </a:lnTo>
                <a:lnTo>
                  <a:pt x="4731334" y="2969056"/>
                </a:lnTo>
                <a:lnTo>
                  <a:pt x="4760950" y="2938957"/>
                </a:lnTo>
                <a:lnTo>
                  <a:pt x="4783518" y="2902877"/>
                </a:lnTo>
                <a:lnTo>
                  <a:pt x="4797895" y="2861983"/>
                </a:lnTo>
                <a:lnTo>
                  <a:pt x="4802949" y="2817431"/>
                </a:lnTo>
                <a:close/>
              </a:path>
              <a:path w="4842509" h="4803140">
                <a:moveTo>
                  <a:pt x="4841951" y="3202800"/>
                </a:moveTo>
                <a:lnTo>
                  <a:pt x="4773104" y="3204997"/>
                </a:lnTo>
                <a:lnTo>
                  <a:pt x="4732858" y="3219615"/>
                </a:lnTo>
                <a:lnTo>
                  <a:pt x="4697349" y="3242551"/>
                </a:lnTo>
                <a:lnTo>
                  <a:pt x="4667745" y="3272650"/>
                </a:lnTo>
                <a:lnTo>
                  <a:pt x="4645177" y="3308718"/>
                </a:lnTo>
                <a:lnTo>
                  <a:pt x="4630788" y="3349625"/>
                </a:lnTo>
                <a:lnTo>
                  <a:pt x="4625746" y="3394176"/>
                </a:lnTo>
                <a:lnTo>
                  <a:pt x="4630788" y="3438728"/>
                </a:lnTo>
                <a:lnTo>
                  <a:pt x="4645177" y="3479635"/>
                </a:lnTo>
                <a:lnTo>
                  <a:pt x="4667745" y="3515703"/>
                </a:lnTo>
                <a:lnTo>
                  <a:pt x="4697349" y="3545802"/>
                </a:lnTo>
                <a:lnTo>
                  <a:pt x="4732858" y="3568738"/>
                </a:lnTo>
                <a:lnTo>
                  <a:pt x="4773104" y="3583355"/>
                </a:lnTo>
                <a:lnTo>
                  <a:pt x="4816945" y="3588486"/>
                </a:lnTo>
                <a:lnTo>
                  <a:pt x="4841951" y="3585553"/>
                </a:lnTo>
                <a:lnTo>
                  <a:pt x="4841951" y="3202800"/>
                </a:lnTo>
                <a:close/>
              </a:path>
              <a:path w="4842509" h="4803140">
                <a:moveTo>
                  <a:pt x="4841951" y="1842350"/>
                </a:moveTo>
                <a:lnTo>
                  <a:pt x="4807712" y="1875828"/>
                </a:lnTo>
                <a:lnTo>
                  <a:pt x="4783315" y="1910905"/>
                </a:lnTo>
                <a:lnTo>
                  <a:pt x="4765014" y="1950059"/>
                </a:lnTo>
                <a:lnTo>
                  <a:pt x="4753534" y="1992579"/>
                </a:lnTo>
                <a:lnTo>
                  <a:pt x="4749546" y="2037765"/>
                </a:lnTo>
                <a:lnTo>
                  <a:pt x="4753534" y="2082939"/>
                </a:lnTo>
                <a:lnTo>
                  <a:pt x="4765014" y="2125459"/>
                </a:lnTo>
                <a:lnTo>
                  <a:pt x="4783315" y="2164626"/>
                </a:lnTo>
                <a:lnTo>
                  <a:pt x="4807712" y="2199703"/>
                </a:lnTo>
                <a:lnTo>
                  <a:pt x="4837519" y="2229993"/>
                </a:lnTo>
                <a:lnTo>
                  <a:pt x="4841951" y="2233180"/>
                </a:lnTo>
                <a:lnTo>
                  <a:pt x="4841951" y="1842350"/>
                </a:lnTo>
                <a:close/>
              </a:path>
              <a:path w="4842509" h="4803140">
                <a:moveTo>
                  <a:pt x="4841951" y="573493"/>
                </a:moveTo>
                <a:lnTo>
                  <a:pt x="4189387" y="573493"/>
                </a:lnTo>
                <a:lnTo>
                  <a:pt x="4140073" y="583450"/>
                </a:lnTo>
                <a:lnTo>
                  <a:pt x="4099814" y="610603"/>
                </a:lnTo>
                <a:lnTo>
                  <a:pt x="4072674" y="650875"/>
                </a:lnTo>
                <a:lnTo>
                  <a:pt x="4062730" y="700176"/>
                </a:lnTo>
                <a:lnTo>
                  <a:pt x="4072674" y="749490"/>
                </a:lnTo>
                <a:lnTo>
                  <a:pt x="4099814" y="789749"/>
                </a:lnTo>
                <a:lnTo>
                  <a:pt x="4140073" y="816902"/>
                </a:lnTo>
                <a:lnTo>
                  <a:pt x="4189387" y="826858"/>
                </a:lnTo>
                <a:lnTo>
                  <a:pt x="4767542" y="826858"/>
                </a:lnTo>
                <a:lnTo>
                  <a:pt x="4736668" y="864552"/>
                </a:lnTo>
                <a:lnTo>
                  <a:pt x="4705045" y="902195"/>
                </a:lnTo>
                <a:lnTo>
                  <a:pt x="4672723" y="939787"/>
                </a:lnTo>
                <a:lnTo>
                  <a:pt x="4639742" y="977303"/>
                </a:lnTo>
                <a:lnTo>
                  <a:pt x="4606137" y="1014742"/>
                </a:lnTo>
                <a:lnTo>
                  <a:pt x="4571949" y="1052106"/>
                </a:lnTo>
                <a:lnTo>
                  <a:pt x="4537214" y="1089380"/>
                </a:lnTo>
                <a:lnTo>
                  <a:pt x="4501985" y="1126578"/>
                </a:lnTo>
                <a:lnTo>
                  <a:pt x="4466285" y="1163675"/>
                </a:lnTo>
                <a:lnTo>
                  <a:pt x="4430166" y="1200658"/>
                </a:lnTo>
                <a:lnTo>
                  <a:pt x="4393654" y="1237538"/>
                </a:lnTo>
                <a:lnTo>
                  <a:pt x="4356811" y="1274305"/>
                </a:lnTo>
                <a:lnTo>
                  <a:pt x="4319663" y="1310957"/>
                </a:lnTo>
                <a:lnTo>
                  <a:pt x="4282249" y="1347470"/>
                </a:lnTo>
                <a:lnTo>
                  <a:pt x="4206786" y="1420114"/>
                </a:lnTo>
                <a:lnTo>
                  <a:pt x="4092625" y="1527962"/>
                </a:lnTo>
                <a:lnTo>
                  <a:pt x="3735552" y="1858314"/>
                </a:lnTo>
                <a:lnTo>
                  <a:pt x="3567468" y="2015528"/>
                </a:lnTo>
                <a:lnTo>
                  <a:pt x="3485985" y="2093442"/>
                </a:lnTo>
                <a:lnTo>
                  <a:pt x="3446056" y="2132241"/>
                </a:lnTo>
                <a:lnTo>
                  <a:pt x="3406711" y="2170925"/>
                </a:lnTo>
                <a:lnTo>
                  <a:pt x="3368014" y="2209508"/>
                </a:lnTo>
                <a:lnTo>
                  <a:pt x="3330003" y="2247989"/>
                </a:lnTo>
                <a:lnTo>
                  <a:pt x="3292716" y="2286381"/>
                </a:lnTo>
                <a:lnTo>
                  <a:pt x="3256216" y="2324658"/>
                </a:lnTo>
                <a:lnTo>
                  <a:pt x="3220529" y="2362860"/>
                </a:lnTo>
                <a:lnTo>
                  <a:pt x="3185718" y="2400960"/>
                </a:lnTo>
                <a:lnTo>
                  <a:pt x="3151809" y="2438971"/>
                </a:lnTo>
                <a:lnTo>
                  <a:pt x="3118866" y="2476893"/>
                </a:lnTo>
                <a:lnTo>
                  <a:pt x="3086925" y="2514727"/>
                </a:lnTo>
                <a:lnTo>
                  <a:pt x="3056039" y="2552484"/>
                </a:lnTo>
                <a:lnTo>
                  <a:pt x="3026245" y="2590165"/>
                </a:lnTo>
                <a:lnTo>
                  <a:pt x="2997581" y="2627757"/>
                </a:lnTo>
                <a:lnTo>
                  <a:pt x="2970111" y="2665285"/>
                </a:lnTo>
                <a:lnTo>
                  <a:pt x="2943860" y="2702737"/>
                </a:lnTo>
                <a:lnTo>
                  <a:pt x="2918904" y="2740126"/>
                </a:lnTo>
                <a:lnTo>
                  <a:pt x="2895257" y="2777439"/>
                </a:lnTo>
                <a:lnTo>
                  <a:pt x="2872981" y="2814688"/>
                </a:lnTo>
                <a:lnTo>
                  <a:pt x="2852102" y="2851874"/>
                </a:lnTo>
                <a:lnTo>
                  <a:pt x="2832697" y="2888996"/>
                </a:lnTo>
                <a:lnTo>
                  <a:pt x="2814790" y="2926054"/>
                </a:lnTo>
                <a:lnTo>
                  <a:pt x="2798432" y="2963075"/>
                </a:lnTo>
                <a:lnTo>
                  <a:pt x="2783662" y="3000032"/>
                </a:lnTo>
                <a:lnTo>
                  <a:pt x="2770543" y="3036938"/>
                </a:lnTo>
                <a:lnTo>
                  <a:pt x="2749334" y="3105696"/>
                </a:lnTo>
                <a:lnTo>
                  <a:pt x="2731732" y="3173577"/>
                </a:lnTo>
                <a:lnTo>
                  <a:pt x="2717584" y="3240532"/>
                </a:lnTo>
                <a:lnTo>
                  <a:pt x="2706751" y="3306546"/>
                </a:lnTo>
                <a:lnTo>
                  <a:pt x="2699054" y="3371558"/>
                </a:lnTo>
                <a:lnTo>
                  <a:pt x="2694368" y="3435553"/>
                </a:lnTo>
                <a:lnTo>
                  <a:pt x="2692539" y="3498481"/>
                </a:lnTo>
                <a:lnTo>
                  <a:pt x="2693416" y="3560318"/>
                </a:lnTo>
                <a:lnTo>
                  <a:pt x="2696845" y="3621024"/>
                </a:lnTo>
                <a:lnTo>
                  <a:pt x="2702687" y="3680549"/>
                </a:lnTo>
                <a:lnTo>
                  <a:pt x="2710777" y="3738880"/>
                </a:lnTo>
                <a:lnTo>
                  <a:pt x="2720975" y="3795979"/>
                </a:lnTo>
                <a:lnTo>
                  <a:pt x="2733116" y="3851795"/>
                </a:lnTo>
                <a:lnTo>
                  <a:pt x="2747073" y="3906291"/>
                </a:lnTo>
                <a:lnTo>
                  <a:pt x="2762681" y="3959453"/>
                </a:lnTo>
                <a:lnTo>
                  <a:pt x="2779801" y="4011231"/>
                </a:lnTo>
                <a:lnTo>
                  <a:pt x="2798267" y="4061587"/>
                </a:lnTo>
                <a:lnTo>
                  <a:pt x="2817952" y="4110494"/>
                </a:lnTo>
                <a:lnTo>
                  <a:pt x="2838678" y="4157903"/>
                </a:lnTo>
                <a:lnTo>
                  <a:pt x="2860319" y="4203801"/>
                </a:lnTo>
                <a:lnTo>
                  <a:pt x="2882709" y="4248137"/>
                </a:lnTo>
                <a:lnTo>
                  <a:pt x="2905709" y="4290860"/>
                </a:lnTo>
                <a:lnTo>
                  <a:pt x="2929166" y="4331970"/>
                </a:lnTo>
                <a:lnTo>
                  <a:pt x="2952927" y="4371403"/>
                </a:lnTo>
                <a:lnTo>
                  <a:pt x="2976854" y="4409135"/>
                </a:lnTo>
                <a:lnTo>
                  <a:pt x="3000768" y="4445127"/>
                </a:lnTo>
                <a:lnTo>
                  <a:pt x="3024555" y="4479353"/>
                </a:lnTo>
                <a:lnTo>
                  <a:pt x="3048038" y="4511764"/>
                </a:lnTo>
                <a:lnTo>
                  <a:pt x="3071076" y="4542320"/>
                </a:lnTo>
                <a:lnTo>
                  <a:pt x="3115233" y="4597768"/>
                </a:lnTo>
                <a:lnTo>
                  <a:pt x="3155810" y="4645406"/>
                </a:lnTo>
                <a:lnTo>
                  <a:pt x="3191624" y="4684941"/>
                </a:lnTo>
                <a:lnTo>
                  <a:pt x="3221456" y="4716094"/>
                </a:lnTo>
                <a:lnTo>
                  <a:pt x="3252393" y="4746498"/>
                </a:lnTo>
                <a:lnTo>
                  <a:pt x="3289871" y="4776190"/>
                </a:lnTo>
                <a:lnTo>
                  <a:pt x="3352101" y="4799800"/>
                </a:lnTo>
                <a:lnTo>
                  <a:pt x="3384816" y="4802733"/>
                </a:lnTo>
                <a:lnTo>
                  <a:pt x="3422065" y="4798923"/>
                </a:lnTo>
                <a:lnTo>
                  <a:pt x="3491369" y="4768710"/>
                </a:lnTo>
                <a:lnTo>
                  <a:pt x="3520922" y="4742446"/>
                </a:lnTo>
                <a:lnTo>
                  <a:pt x="3548837" y="4701959"/>
                </a:lnTo>
                <a:lnTo>
                  <a:pt x="3564598" y="4657090"/>
                </a:lnTo>
                <a:lnTo>
                  <a:pt x="3568331" y="4610303"/>
                </a:lnTo>
                <a:lnTo>
                  <a:pt x="3560165" y="4564062"/>
                </a:lnTo>
                <a:lnTo>
                  <a:pt x="3540239" y="4520857"/>
                </a:lnTo>
                <a:lnTo>
                  <a:pt x="3508654" y="4483138"/>
                </a:lnTo>
                <a:lnTo>
                  <a:pt x="3500399" y="4475378"/>
                </a:lnTo>
                <a:lnTo>
                  <a:pt x="3484295" y="4459541"/>
                </a:lnTo>
                <a:lnTo>
                  <a:pt x="3433026" y="4404792"/>
                </a:lnTo>
                <a:lnTo>
                  <a:pt x="3400107" y="4366463"/>
                </a:lnTo>
                <a:lnTo>
                  <a:pt x="3363798" y="4321213"/>
                </a:lnTo>
                <a:lnTo>
                  <a:pt x="3325253" y="4269359"/>
                </a:lnTo>
                <a:lnTo>
                  <a:pt x="3285566" y="4211167"/>
                </a:lnTo>
                <a:lnTo>
                  <a:pt x="3245878" y="4146956"/>
                </a:lnTo>
                <a:lnTo>
                  <a:pt x="3207283" y="4077004"/>
                </a:lnTo>
                <a:lnTo>
                  <a:pt x="3803065" y="4077004"/>
                </a:lnTo>
                <a:lnTo>
                  <a:pt x="3852380" y="4067048"/>
                </a:lnTo>
                <a:lnTo>
                  <a:pt x="3892639" y="4039895"/>
                </a:lnTo>
                <a:lnTo>
                  <a:pt x="3919766" y="3999623"/>
                </a:lnTo>
                <a:lnTo>
                  <a:pt x="3929723" y="3950322"/>
                </a:lnTo>
                <a:lnTo>
                  <a:pt x="3919766" y="3901008"/>
                </a:lnTo>
                <a:lnTo>
                  <a:pt x="3892639" y="3860736"/>
                </a:lnTo>
                <a:lnTo>
                  <a:pt x="3852380" y="3833596"/>
                </a:lnTo>
                <a:lnTo>
                  <a:pt x="3803065" y="3823639"/>
                </a:lnTo>
                <a:lnTo>
                  <a:pt x="3106051" y="3823639"/>
                </a:lnTo>
                <a:lnTo>
                  <a:pt x="3093821" y="3777284"/>
                </a:lnTo>
                <a:lnTo>
                  <a:pt x="3083318" y="3729761"/>
                </a:lnTo>
                <a:lnTo>
                  <a:pt x="3074657" y="3681095"/>
                </a:lnTo>
                <a:lnTo>
                  <a:pt x="3068002" y="3631336"/>
                </a:lnTo>
                <a:lnTo>
                  <a:pt x="3063494" y="3580523"/>
                </a:lnTo>
                <a:lnTo>
                  <a:pt x="3061284" y="3528695"/>
                </a:lnTo>
                <a:lnTo>
                  <a:pt x="4186415" y="3528695"/>
                </a:lnTo>
                <a:lnTo>
                  <a:pt x="4235729" y="3518738"/>
                </a:lnTo>
                <a:lnTo>
                  <a:pt x="4275988" y="3491585"/>
                </a:lnTo>
                <a:lnTo>
                  <a:pt x="4303128" y="3451326"/>
                </a:lnTo>
                <a:lnTo>
                  <a:pt x="4313072" y="3402012"/>
                </a:lnTo>
                <a:lnTo>
                  <a:pt x="4303128" y="3352711"/>
                </a:lnTo>
                <a:lnTo>
                  <a:pt x="4275988" y="3312439"/>
                </a:lnTo>
                <a:lnTo>
                  <a:pt x="4235729" y="3285286"/>
                </a:lnTo>
                <a:lnTo>
                  <a:pt x="4186415" y="3275330"/>
                </a:lnTo>
                <a:lnTo>
                  <a:pt x="3085935" y="3275330"/>
                </a:lnTo>
                <a:lnTo>
                  <a:pt x="3092831" y="3245078"/>
                </a:lnTo>
                <a:lnTo>
                  <a:pt x="3109315" y="3183979"/>
                </a:lnTo>
                <a:lnTo>
                  <a:pt x="3133902" y="3113087"/>
                </a:lnTo>
                <a:lnTo>
                  <a:pt x="3151809" y="3072396"/>
                </a:lnTo>
                <a:lnTo>
                  <a:pt x="3172637" y="3031083"/>
                </a:lnTo>
                <a:lnTo>
                  <a:pt x="3196209" y="2989161"/>
                </a:lnTo>
                <a:lnTo>
                  <a:pt x="3222371" y="2946666"/>
                </a:lnTo>
                <a:lnTo>
                  <a:pt x="3222929" y="2946666"/>
                </a:lnTo>
                <a:lnTo>
                  <a:pt x="3223450" y="2946831"/>
                </a:lnTo>
                <a:lnTo>
                  <a:pt x="4085818" y="2946831"/>
                </a:lnTo>
                <a:lnTo>
                  <a:pt x="4086631" y="2946666"/>
                </a:lnTo>
                <a:lnTo>
                  <a:pt x="4135132" y="2936875"/>
                </a:lnTo>
                <a:lnTo>
                  <a:pt x="4175391" y="2909722"/>
                </a:lnTo>
                <a:lnTo>
                  <a:pt x="4202519" y="2869450"/>
                </a:lnTo>
                <a:lnTo>
                  <a:pt x="4212475" y="2820149"/>
                </a:lnTo>
                <a:lnTo>
                  <a:pt x="4202519" y="2770835"/>
                </a:lnTo>
                <a:lnTo>
                  <a:pt x="4175391" y="2730563"/>
                </a:lnTo>
                <a:lnTo>
                  <a:pt x="4135132" y="2703423"/>
                </a:lnTo>
                <a:lnTo>
                  <a:pt x="4085818" y="2693466"/>
                </a:lnTo>
                <a:lnTo>
                  <a:pt x="3416541" y="2693466"/>
                </a:lnTo>
                <a:lnTo>
                  <a:pt x="3446754" y="2659380"/>
                </a:lnTo>
                <a:lnTo>
                  <a:pt x="3477958" y="2625026"/>
                </a:lnTo>
                <a:lnTo>
                  <a:pt x="3510102" y="2590444"/>
                </a:lnTo>
                <a:lnTo>
                  <a:pt x="3543135" y="2555608"/>
                </a:lnTo>
                <a:lnTo>
                  <a:pt x="3577018" y="2520543"/>
                </a:lnTo>
                <a:lnTo>
                  <a:pt x="3611702" y="2485263"/>
                </a:lnTo>
                <a:lnTo>
                  <a:pt x="3647122" y="2449753"/>
                </a:lnTo>
                <a:lnTo>
                  <a:pt x="3683254" y="2414041"/>
                </a:lnTo>
                <a:lnTo>
                  <a:pt x="3720046" y="2378125"/>
                </a:lnTo>
                <a:lnTo>
                  <a:pt x="3795395" y="2305697"/>
                </a:lnTo>
                <a:lnTo>
                  <a:pt x="3912184" y="2195715"/>
                </a:lnTo>
                <a:lnTo>
                  <a:pt x="4351325" y="1789176"/>
                </a:lnTo>
                <a:lnTo>
                  <a:pt x="4468863" y="1678254"/>
                </a:lnTo>
                <a:lnTo>
                  <a:pt x="4546206" y="1603908"/>
                </a:lnTo>
                <a:lnTo>
                  <a:pt x="4584484" y="1566621"/>
                </a:lnTo>
                <a:lnTo>
                  <a:pt x="4622444" y="1529245"/>
                </a:lnTo>
                <a:lnTo>
                  <a:pt x="4660087" y="1491767"/>
                </a:lnTo>
                <a:lnTo>
                  <a:pt x="4697361" y="1454213"/>
                </a:lnTo>
                <a:lnTo>
                  <a:pt x="4734242" y="1416545"/>
                </a:lnTo>
                <a:lnTo>
                  <a:pt x="4770691" y="1378788"/>
                </a:lnTo>
                <a:lnTo>
                  <a:pt x="4806696" y="1340929"/>
                </a:lnTo>
                <a:lnTo>
                  <a:pt x="4841951" y="1303248"/>
                </a:lnTo>
                <a:lnTo>
                  <a:pt x="4841951" y="573493"/>
                </a:lnTo>
                <a:close/>
              </a:path>
              <a:path w="4842509" h="4803140">
                <a:moveTo>
                  <a:pt x="4841951" y="12"/>
                </a:moveTo>
                <a:lnTo>
                  <a:pt x="4128516" y="12"/>
                </a:lnTo>
                <a:lnTo>
                  <a:pt x="4084472" y="8902"/>
                </a:lnTo>
                <a:lnTo>
                  <a:pt x="4044213" y="36055"/>
                </a:lnTo>
                <a:lnTo>
                  <a:pt x="4017073" y="76327"/>
                </a:lnTo>
                <a:lnTo>
                  <a:pt x="4007129" y="125628"/>
                </a:lnTo>
                <a:lnTo>
                  <a:pt x="4017073" y="174942"/>
                </a:lnTo>
                <a:lnTo>
                  <a:pt x="4044213" y="215214"/>
                </a:lnTo>
                <a:lnTo>
                  <a:pt x="4084472" y="242366"/>
                </a:lnTo>
                <a:lnTo>
                  <a:pt x="4133786" y="252323"/>
                </a:lnTo>
                <a:lnTo>
                  <a:pt x="4841951" y="252323"/>
                </a:lnTo>
                <a:lnTo>
                  <a:pt x="4841951" y="12"/>
                </a:lnTo>
                <a:close/>
              </a:path>
            </a:pathLst>
          </a:custGeom>
          <a:solidFill>
            <a:srgbClr val="00AFFF"/>
          </a:solidFill>
        </p:spPr>
        <p:txBody>
          <a:bodyPr wrap="square" lIns="0" tIns="0" rIns="0" bIns="0" rtlCol="0"/>
          <a:lstStyle/>
          <a:p>
            <a:endParaRPr/>
          </a:p>
        </p:txBody>
      </p:sp>
    </p:spTree>
    <p:extLst>
      <p:ext uri="{BB962C8B-B14F-4D97-AF65-F5344CB8AC3E}">
        <p14:creationId xmlns:p14="http://schemas.microsoft.com/office/powerpoint/2010/main" val="4273696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Quotation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4446D-3EC5-A487-67B6-AFE74A9C4781}"/>
              </a:ext>
            </a:extLst>
          </p:cNvPr>
          <p:cNvSpPr>
            <a:spLocks noGrp="1"/>
          </p:cNvSpPr>
          <p:nvPr>
            <p:ph type="title"/>
          </p:nvPr>
        </p:nvSpPr>
        <p:spPr>
          <a:xfrm>
            <a:off x="4301835" y="365125"/>
            <a:ext cx="7232073" cy="4355493"/>
          </a:xfrm>
        </p:spPr>
        <p:txBody>
          <a:bodyPr anchor="t" anchorCtr="0">
            <a:normAutofit/>
          </a:bodyPr>
          <a:lstStyle>
            <a:lvl1pPr algn="r">
              <a:defRPr sz="4000">
                <a:solidFill>
                  <a:schemeClr val="accent3"/>
                </a:solidFill>
              </a:defRPr>
            </a:lvl1p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A5CA96E9-5766-B813-ED3A-78756E2A6A61}"/>
              </a:ext>
            </a:extLst>
          </p:cNvPr>
          <p:cNvSpPr>
            <a:spLocks noGrp="1"/>
          </p:cNvSpPr>
          <p:nvPr>
            <p:ph type="body" idx="1"/>
          </p:nvPr>
        </p:nvSpPr>
        <p:spPr>
          <a:xfrm>
            <a:off x="4301836" y="4862945"/>
            <a:ext cx="7232072" cy="440575"/>
          </a:xfrm>
        </p:spPr>
        <p:txBody>
          <a:bodyPr anchor="t" anchorCtr="0">
            <a:normAutofit/>
          </a:bodyPr>
          <a:lstStyle>
            <a:lvl1pPr marL="0" indent="0" algn="r">
              <a:buNone/>
              <a:defRPr sz="20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8" name="Footer Placeholder 7">
            <a:extLst>
              <a:ext uri="{FF2B5EF4-FFF2-40B4-BE49-F238E27FC236}">
                <a16:creationId xmlns:a16="http://schemas.microsoft.com/office/drawing/2014/main" id="{49A034B4-D92B-161B-41A1-3DE14A2FB743}"/>
              </a:ext>
            </a:extLst>
          </p:cNvPr>
          <p:cNvSpPr>
            <a:spLocks noGrp="1"/>
          </p:cNvSpPr>
          <p:nvPr>
            <p:ph type="ftr" sz="quarter" idx="11"/>
          </p:nvPr>
        </p:nvSpPr>
        <p:spPr>
          <a:xfrm>
            <a:off x="751840" y="6127750"/>
            <a:ext cx="8890000" cy="365125"/>
          </a:xfrm>
          <a:prstGeom prst="rect">
            <a:avLst/>
          </a:prstGeom>
        </p:spPr>
        <p:txBody>
          <a:bodyPr/>
          <a:lstStyle>
            <a:lvl1pPr>
              <a:defRPr>
                <a:solidFill>
                  <a:schemeClr val="bg2"/>
                </a:solidFill>
              </a:defRPr>
            </a:lvl1pPr>
          </a:lstStyle>
          <a:p>
            <a:endParaRPr lang="en-GB" dirty="0"/>
          </a:p>
        </p:txBody>
      </p:sp>
      <p:sp>
        <p:nvSpPr>
          <p:cNvPr id="4" name="object 2">
            <a:extLst>
              <a:ext uri="{FF2B5EF4-FFF2-40B4-BE49-F238E27FC236}">
                <a16:creationId xmlns:a16="http://schemas.microsoft.com/office/drawing/2014/main" id="{FB453B0D-C8DF-80FC-EEDE-35EBA33A3EB9}"/>
              </a:ext>
            </a:extLst>
          </p:cNvPr>
          <p:cNvSpPr/>
          <p:nvPr userDrawn="1"/>
        </p:nvSpPr>
        <p:spPr>
          <a:xfrm>
            <a:off x="108938" y="-20309"/>
            <a:ext cx="3349537" cy="4281787"/>
          </a:xfrm>
          <a:custGeom>
            <a:avLst/>
            <a:gdLst/>
            <a:ahLst/>
            <a:cxnLst/>
            <a:rect l="l" t="t" r="r" b="b"/>
            <a:pathLst>
              <a:path w="3693795" h="4721860">
                <a:moveTo>
                  <a:pt x="985329" y="60604"/>
                </a:moveTo>
                <a:lnTo>
                  <a:pt x="977315" y="10096"/>
                </a:lnTo>
                <a:lnTo>
                  <a:pt x="972172" y="0"/>
                </a:lnTo>
                <a:lnTo>
                  <a:pt x="684009" y="0"/>
                </a:lnTo>
                <a:lnTo>
                  <a:pt x="678865" y="10096"/>
                </a:lnTo>
                <a:lnTo>
                  <a:pt x="670852" y="60604"/>
                </a:lnTo>
                <a:lnTo>
                  <a:pt x="678865" y="111112"/>
                </a:lnTo>
                <a:lnTo>
                  <a:pt x="701192" y="154978"/>
                </a:lnTo>
                <a:lnTo>
                  <a:pt x="735228" y="189572"/>
                </a:lnTo>
                <a:lnTo>
                  <a:pt x="778395" y="212255"/>
                </a:lnTo>
                <a:lnTo>
                  <a:pt x="828090" y="220395"/>
                </a:lnTo>
                <a:lnTo>
                  <a:pt x="877785" y="212255"/>
                </a:lnTo>
                <a:lnTo>
                  <a:pt x="920953" y="189572"/>
                </a:lnTo>
                <a:lnTo>
                  <a:pt x="954989" y="154978"/>
                </a:lnTo>
                <a:lnTo>
                  <a:pt x="977315" y="111112"/>
                </a:lnTo>
                <a:lnTo>
                  <a:pt x="985329" y="60604"/>
                </a:lnTo>
                <a:close/>
              </a:path>
              <a:path w="3693795" h="4721860">
                <a:moveTo>
                  <a:pt x="1194587" y="628446"/>
                </a:moveTo>
                <a:lnTo>
                  <a:pt x="1189532" y="583895"/>
                </a:lnTo>
                <a:lnTo>
                  <a:pt x="1175143" y="543001"/>
                </a:lnTo>
                <a:lnTo>
                  <a:pt x="1152575" y="506920"/>
                </a:lnTo>
                <a:lnTo>
                  <a:pt x="1122972" y="476821"/>
                </a:lnTo>
                <a:lnTo>
                  <a:pt x="1087462" y="453885"/>
                </a:lnTo>
                <a:lnTo>
                  <a:pt x="1047229" y="439267"/>
                </a:lnTo>
                <a:lnTo>
                  <a:pt x="1003388" y="434136"/>
                </a:lnTo>
                <a:lnTo>
                  <a:pt x="959548" y="439267"/>
                </a:lnTo>
                <a:lnTo>
                  <a:pt x="919302" y="453885"/>
                </a:lnTo>
                <a:lnTo>
                  <a:pt x="883805" y="476821"/>
                </a:lnTo>
                <a:lnTo>
                  <a:pt x="854189" y="506920"/>
                </a:lnTo>
                <a:lnTo>
                  <a:pt x="831621" y="543001"/>
                </a:lnTo>
                <a:lnTo>
                  <a:pt x="817232" y="583895"/>
                </a:lnTo>
                <a:lnTo>
                  <a:pt x="812190" y="628446"/>
                </a:lnTo>
                <a:lnTo>
                  <a:pt x="817232" y="672998"/>
                </a:lnTo>
                <a:lnTo>
                  <a:pt x="831621" y="713905"/>
                </a:lnTo>
                <a:lnTo>
                  <a:pt x="854189" y="749973"/>
                </a:lnTo>
                <a:lnTo>
                  <a:pt x="883805" y="780072"/>
                </a:lnTo>
                <a:lnTo>
                  <a:pt x="919302" y="803008"/>
                </a:lnTo>
                <a:lnTo>
                  <a:pt x="959548" y="817626"/>
                </a:lnTo>
                <a:lnTo>
                  <a:pt x="1003388" y="822756"/>
                </a:lnTo>
                <a:lnTo>
                  <a:pt x="1047229" y="817626"/>
                </a:lnTo>
                <a:lnTo>
                  <a:pt x="1087462" y="803008"/>
                </a:lnTo>
                <a:lnTo>
                  <a:pt x="1122972" y="780072"/>
                </a:lnTo>
                <a:lnTo>
                  <a:pt x="1152575" y="749973"/>
                </a:lnTo>
                <a:lnTo>
                  <a:pt x="1175143" y="713905"/>
                </a:lnTo>
                <a:lnTo>
                  <a:pt x="1189532" y="672998"/>
                </a:lnTo>
                <a:lnTo>
                  <a:pt x="1194587" y="628446"/>
                </a:lnTo>
                <a:close/>
              </a:path>
              <a:path w="3693795" h="4721860">
                <a:moveTo>
                  <a:pt x="2110397" y="2736418"/>
                </a:moveTo>
                <a:lnTo>
                  <a:pt x="2105355" y="2691866"/>
                </a:lnTo>
                <a:lnTo>
                  <a:pt x="2090966" y="2650960"/>
                </a:lnTo>
                <a:lnTo>
                  <a:pt x="2068398" y="2614892"/>
                </a:lnTo>
                <a:lnTo>
                  <a:pt x="2038781" y="2584793"/>
                </a:lnTo>
                <a:lnTo>
                  <a:pt x="2003285" y="2561856"/>
                </a:lnTo>
                <a:lnTo>
                  <a:pt x="1963039" y="2547239"/>
                </a:lnTo>
                <a:lnTo>
                  <a:pt x="1919198" y="2542108"/>
                </a:lnTo>
                <a:lnTo>
                  <a:pt x="1875358" y="2547239"/>
                </a:lnTo>
                <a:lnTo>
                  <a:pt x="1835111" y="2561856"/>
                </a:lnTo>
                <a:lnTo>
                  <a:pt x="1799615" y="2584793"/>
                </a:lnTo>
                <a:lnTo>
                  <a:pt x="1770011" y="2614892"/>
                </a:lnTo>
                <a:lnTo>
                  <a:pt x="1747431" y="2650960"/>
                </a:lnTo>
                <a:lnTo>
                  <a:pt x="1733054" y="2691866"/>
                </a:lnTo>
                <a:lnTo>
                  <a:pt x="1728000" y="2736418"/>
                </a:lnTo>
                <a:lnTo>
                  <a:pt x="1733054" y="2780969"/>
                </a:lnTo>
                <a:lnTo>
                  <a:pt x="1747431" y="2821863"/>
                </a:lnTo>
                <a:lnTo>
                  <a:pt x="1770011" y="2857944"/>
                </a:lnTo>
                <a:lnTo>
                  <a:pt x="1799615" y="2888043"/>
                </a:lnTo>
                <a:lnTo>
                  <a:pt x="1835111" y="2910979"/>
                </a:lnTo>
                <a:lnTo>
                  <a:pt x="1875358" y="2925597"/>
                </a:lnTo>
                <a:lnTo>
                  <a:pt x="1919198" y="2930728"/>
                </a:lnTo>
                <a:lnTo>
                  <a:pt x="1963039" y="2925597"/>
                </a:lnTo>
                <a:lnTo>
                  <a:pt x="2003285" y="2910979"/>
                </a:lnTo>
                <a:lnTo>
                  <a:pt x="2038781" y="2888043"/>
                </a:lnTo>
                <a:lnTo>
                  <a:pt x="2068398" y="2857944"/>
                </a:lnTo>
                <a:lnTo>
                  <a:pt x="2090966" y="2821863"/>
                </a:lnTo>
                <a:lnTo>
                  <a:pt x="2105355" y="2780969"/>
                </a:lnTo>
                <a:lnTo>
                  <a:pt x="2110397" y="2736418"/>
                </a:lnTo>
                <a:close/>
              </a:path>
              <a:path w="3693795" h="4721860">
                <a:moveTo>
                  <a:pt x="2315591" y="3313163"/>
                </a:moveTo>
                <a:lnTo>
                  <a:pt x="2310536" y="3268611"/>
                </a:lnTo>
                <a:lnTo>
                  <a:pt x="2296160" y="3227717"/>
                </a:lnTo>
                <a:lnTo>
                  <a:pt x="2273592" y="3191637"/>
                </a:lnTo>
                <a:lnTo>
                  <a:pt x="2243975" y="3161538"/>
                </a:lnTo>
                <a:lnTo>
                  <a:pt x="2208479" y="3138601"/>
                </a:lnTo>
                <a:lnTo>
                  <a:pt x="2168233" y="3123984"/>
                </a:lnTo>
                <a:lnTo>
                  <a:pt x="2124392" y="3118853"/>
                </a:lnTo>
                <a:lnTo>
                  <a:pt x="2080552" y="3123984"/>
                </a:lnTo>
                <a:lnTo>
                  <a:pt x="2040305" y="3138601"/>
                </a:lnTo>
                <a:lnTo>
                  <a:pt x="2004809" y="3161538"/>
                </a:lnTo>
                <a:lnTo>
                  <a:pt x="1975192" y="3191637"/>
                </a:lnTo>
                <a:lnTo>
                  <a:pt x="1952625" y="3227717"/>
                </a:lnTo>
                <a:lnTo>
                  <a:pt x="1938235" y="3268611"/>
                </a:lnTo>
                <a:lnTo>
                  <a:pt x="1933194" y="3313163"/>
                </a:lnTo>
                <a:lnTo>
                  <a:pt x="1938235" y="3357715"/>
                </a:lnTo>
                <a:lnTo>
                  <a:pt x="1952625" y="3398621"/>
                </a:lnTo>
                <a:lnTo>
                  <a:pt x="1975192" y="3434689"/>
                </a:lnTo>
                <a:lnTo>
                  <a:pt x="2004809" y="3464788"/>
                </a:lnTo>
                <a:lnTo>
                  <a:pt x="2040305" y="3487724"/>
                </a:lnTo>
                <a:lnTo>
                  <a:pt x="2080552" y="3502342"/>
                </a:lnTo>
                <a:lnTo>
                  <a:pt x="2124392" y="3507473"/>
                </a:lnTo>
                <a:lnTo>
                  <a:pt x="2168233" y="3502342"/>
                </a:lnTo>
                <a:lnTo>
                  <a:pt x="2208479" y="3487724"/>
                </a:lnTo>
                <a:lnTo>
                  <a:pt x="2243975" y="3464788"/>
                </a:lnTo>
                <a:lnTo>
                  <a:pt x="2273592" y="3434689"/>
                </a:lnTo>
                <a:lnTo>
                  <a:pt x="2296160" y="3398621"/>
                </a:lnTo>
                <a:lnTo>
                  <a:pt x="2310536" y="3357715"/>
                </a:lnTo>
                <a:lnTo>
                  <a:pt x="2315591" y="3313163"/>
                </a:lnTo>
                <a:close/>
              </a:path>
              <a:path w="3693795" h="4721860">
                <a:moveTo>
                  <a:pt x="2551633" y="1956752"/>
                </a:moveTo>
                <a:lnTo>
                  <a:pt x="2547645" y="1911578"/>
                </a:lnTo>
                <a:lnTo>
                  <a:pt x="2536164" y="1869046"/>
                </a:lnTo>
                <a:lnTo>
                  <a:pt x="2517864" y="1829892"/>
                </a:lnTo>
                <a:lnTo>
                  <a:pt x="2493467" y="1794814"/>
                </a:lnTo>
                <a:lnTo>
                  <a:pt x="2463660" y="1764525"/>
                </a:lnTo>
                <a:lnTo>
                  <a:pt x="2429141" y="1739722"/>
                </a:lnTo>
                <a:lnTo>
                  <a:pt x="2390610" y="1721129"/>
                </a:lnTo>
                <a:lnTo>
                  <a:pt x="2348776" y="1709458"/>
                </a:lnTo>
                <a:lnTo>
                  <a:pt x="2304313" y="1705406"/>
                </a:lnTo>
                <a:lnTo>
                  <a:pt x="2259863" y="1709458"/>
                </a:lnTo>
                <a:lnTo>
                  <a:pt x="2218017" y="1721129"/>
                </a:lnTo>
                <a:lnTo>
                  <a:pt x="2179485" y="1739722"/>
                </a:lnTo>
                <a:lnTo>
                  <a:pt x="2144966" y="1764525"/>
                </a:lnTo>
                <a:lnTo>
                  <a:pt x="2115159" y="1794814"/>
                </a:lnTo>
                <a:lnTo>
                  <a:pt x="2090762" y="1829892"/>
                </a:lnTo>
                <a:lnTo>
                  <a:pt x="2072474" y="1869046"/>
                </a:lnTo>
                <a:lnTo>
                  <a:pt x="2060981" y="1911578"/>
                </a:lnTo>
                <a:lnTo>
                  <a:pt x="2056993" y="1956752"/>
                </a:lnTo>
                <a:lnTo>
                  <a:pt x="2060981" y="2001926"/>
                </a:lnTo>
                <a:lnTo>
                  <a:pt x="2072474" y="2044458"/>
                </a:lnTo>
                <a:lnTo>
                  <a:pt x="2090762" y="2083612"/>
                </a:lnTo>
                <a:lnTo>
                  <a:pt x="2115159" y="2118690"/>
                </a:lnTo>
                <a:lnTo>
                  <a:pt x="2144966" y="2148979"/>
                </a:lnTo>
                <a:lnTo>
                  <a:pt x="2179485" y="2173782"/>
                </a:lnTo>
                <a:lnTo>
                  <a:pt x="2218017" y="2192375"/>
                </a:lnTo>
                <a:lnTo>
                  <a:pt x="2259863" y="2204047"/>
                </a:lnTo>
                <a:lnTo>
                  <a:pt x="2304313" y="2208098"/>
                </a:lnTo>
                <a:lnTo>
                  <a:pt x="2348776" y="2204047"/>
                </a:lnTo>
                <a:lnTo>
                  <a:pt x="2390610" y="2192375"/>
                </a:lnTo>
                <a:lnTo>
                  <a:pt x="2429141" y="2173782"/>
                </a:lnTo>
                <a:lnTo>
                  <a:pt x="2463660" y="2148979"/>
                </a:lnTo>
                <a:lnTo>
                  <a:pt x="2493467" y="2118690"/>
                </a:lnTo>
                <a:lnTo>
                  <a:pt x="2517864" y="2083612"/>
                </a:lnTo>
                <a:lnTo>
                  <a:pt x="2536164" y="2044458"/>
                </a:lnTo>
                <a:lnTo>
                  <a:pt x="2547645" y="2001926"/>
                </a:lnTo>
                <a:lnTo>
                  <a:pt x="2551633" y="1956752"/>
                </a:lnTo>
                <a:close/>
              </a:path>
              <a:path w="3693795" h="4721860">
                <a:moveTo>
                  <a:pt x="2845346" y="10020"/>
                </a:moveTo>
                <a:lnTo>
                  <a:pt x="1323581" y="10020"/>
                </a:lnTo>
                <a:lnTo>
                  <a:pt x="1314577" y="48120"/>
                </a:lnTo>
                <a:lnTo>
                  <a:pt x="1324521" y="98920"/>
                </a:lnTo>
                <a:lnTo>
                  <a:pt x="1351661" y="137020"/>
                </a:lnTo>
                <a:lnTo>
                  <a:pt x="1391920" y="162420"/>
                </a:lnTo>
                <a:lnTo>
                  <a:pt x="1441234" y="175120"/>
                </a:lnTo>
                <a:lnTo>
                  <a:pt x="2424163" y="175120"/>
                </a:lnTo>
                <a:lnTo>
                  <a:pt x="2406192" y="225920"/>
                </a:lnTo>
                <a:lnTo>
                  <a:pt x="2386253" y="264020"/>
                </a:lnTo>
                <a:lnTo>
                  <a:pt x="2364435" y="314820"/>
                </a:lnTo>
                <a:lnTo>
                  <a:pt x="2340800" y="365620"/>
                </a:lnTo>
                <a:lnTo>
                  <a:pt x="2315400" y="403720"/>
                </a:lnTo>
                <a:lnTo>
                  <a:pt x="2288298" y="454520"/>
                </a:lnTo>
                <a:lnTo>
                  <a:pt x="2259584" y="492620"/>
                </a:lnTo>
                <a:lnTo>
                  <a:pt x="1496834" y="492620"/>
                </a:lnTo>
                <a:lnTo>
                  <a:pt x="1447520" y="505320"/>
                </a:lnTo>
                <a:lnTo>
                  <a:pt x="1407261" y="530720"/>
                </a:lnTo>
                <a:lnTo>
                  <a:pt x="1380121" y="581520"/>
                </a:lnTo>
                <a:lnTo>
                  <a:pt x="1370177" y="619620"/>
                </a:lnTo>
                <a:lnTo>
                  <a:pt x="1380121" y="670420"/>
                </a:lnTo>
                <a:lnTo>
                  <a:pt x="1407261" y="721220"/>
                </a:lnTo>
                <a:lnTo>
                  <a:pt x="1447520" y="746620"/>
                </a:lnTo>
                <a:lnTo>
                  <a:pt x="2074989" y="746620"/>
                </a:lnTo>
                <a:lnTo>
                  <a:pt x="2044115" y="784720"/>
                </a:lnTo>
                <a:lnTo>
                  <a:pt x="2012492" y="822820"/>
                </a:lnTo>
                <a:lnTo>
                  <a:pt x="1980171" y="860920"/>
                </a:lnTo>
                <a:lnTo>
                  <a:pt x="1947189" y="899020"/>
                </a:lnTo>
                <a:lnTo>
                  <a:pt x="1913585" y="937120"/>
                </a:lnTo>
                <a:lnTo>
                  <a:pt x="1879396" y="975220"/>
                </a:lnTo>
                <a:lnTo>
                  <a:pt x="1844662" y="1013320"/>
                </a:lnTo>
                <a:lnTo>
                  <a:pt x="1809432" y="1051420"/>
                </a:lnTo>
                <a:lnTo>
                  <a:pt x="1773732" y="1089520"/>
                </a:lnTo>
                <a:lnTo>
                  <a:pt x="1737614" y="1127620"/>
                </a:lnTo>
                <a:lnTo>
                  <a:pt x="1701114" y="1165720"/>
                </a:lnTo>
                <a:lnTo>
                  <a:pt x="1627111" y="1241920"/>
                </a:lnTo>
                <a:lnTo>
                  <a:pt x="1589697" y="1267320"/>
                </a:lnTo>
                <a:lnTo>
                  <a:pt x="1400073" y="1457820"/>
                </a:lnTo>
                <a:lnTo>
                  <a:pt x="1361909" y="1483220"/>
                </a:lnTo>
                <a:lnTo>
                  <a:pt x="1247686" y="1597520"/>
                </a:lnTo>
                <a:lnTo>
                  <a:pt x="1128903" y="1699120"/>
                </a:lnTo>
                <a:lnTo>
                  <a:pt x="1085837" y="1749920"/>
                </a:lnTo>
                <a:lnTo>
                  <a:pt x="958227" y="1864220"/>
                </a:lnTo>
                <a:lnTo>
                  <a:pt x="874915" y="1940420"/>
                </a:lnTo>
                <a:lnTo>
                  <a:pt x="833920" y="1978520"/>
                </a:lnTo>
                <a:lnTo>
                  <a:pt x="793445" y="2016620"/>
                </a:lnTo>
                <a:lnTo>
                  <a:pt x="753503" y="2054720"/>
                </a:lnTo>
                <a:lnTo>
                  <a:pt x="714159" y="2092820"/>
                </a:lnTo>
                <a:lnTo>
                  <a:pt x="675462" y="2130920"/>
                </a:lnTo>
                <a:lnTo>
                  <a:pt x="637451" y="2169020"/>
                </a:lnTo>
                <a:lnTo>
                  <a:pt x="600176" y="2207120"/>
                </a:lnTo>
                <a:lnTo>
                  <a:pt x="563664" y="2245220"/>
                </a:lnTo>
                <a:lnTo>
                  <a:pt x="527977" y="2283320"/>
                </a:lnTo>
                <a:lnTo>
                  <a:pt x="493166" y="2321420"/>
                </a:lnTo>
                <a:lnTo>
                  <a:pt x="459270" y="2359520"/>
                </a:lnTo>
                <a:lnTo>
                  <a:pt x="426326" y="2397620"/>
                </a:lnTo>
                <a:lnTo>
                  <a:pt x="394373" y="2435720"/>
                </a:lnTo>
                <a:lnTo>
                  <a:pt x="363486" y="2473820"/>
                </a:lnTo>
                <a:lnTo>
                  <a:pt x="333692" y="2511920"/>
                </a:lnTo>
                <a:lnTo>
                  <a:pt x="305028" y="2550020"/>
                </a:lnTo>
                <a:lnTo>
                  <a:pt x="277558" y="2588120"/>
                </a:lnTo>
                <a:lnTo>
                  <a:pt x="251320" y="2626220"/>
                </a:lnTo>
                <a:lnTo>
                  <a:pt x="226352" y="2664320"/>
                </a:lnTo>
                <a:lnTo>
                  <a:pt x="202704" y="2702420"/>
                </a:lnTo>
                <a:lnTo>
                  <a:pt x="180428" y="2740520"/>
                </a:lnTo>
                <a:lnTo>
                  <a:pt x="159562" y="2778620"/>
                </a:lnTo>
                <a:lnTo>
                  <a:pt x="140144" y="2816720"/>
                </a:lnTo>
                <a:lnTo>
                  <a:pt x="122237" y="2854820"/>
                </a:lnTo>
                <a:lnTo>
                  <a:pt x="105879" y="2892920"/>
                </a:lnTo>
                <a:lnTo>
                  <a:pt x="91122" y="2931020"/>
                </a:lnTo>
                <a:lnTo>
                  <a:pt x="77990" y="2956420"/>
                </a:lnTo>
                <a:lnTo>
                  <a:pt x="56781" y="3032620"/>
                </a:lnTo>
                <a:lnTo>
                  <a:pt x="39179" y="3096120"/>
                </a:lnTo>
                <a:lnTo>
                  <a:pt x="25031" y="3159620"/>
                </a:lnTo>
                <a:lnTo>
                  <a:pt x="14198" y="3235820"/>
                </a:lnTo>
                <a:lnTo>
                  <a:pt x="6502" y="3299320"/>
                </a:lnTo>
                <a:lnTo>
                  <a:pt x="1828" y="3362820"/>
                </a:lnTo>
                <a:lnTo>
                  <a:pt x="0" y="3426320"/>
                </a:lnTo>
                <a:lnTo>
                  <a:pt x="863" y="3489820"/>
                </a:lnTo>
                <a:lnTo>
                  <a:pt x="4305" y="3540620"/>
                </a:lnTo>
                <a:lnTo>
                  <a:pt x="10134" y="3604120"/>
                </a:lnTo>
                <a:lnTo>
                  <a:pt x="18224" y="3667620"/>
                </a:lnTo>
                <a:lnTo>
                  <a:pt x="28422" y="3718420"/>
                </a:lnTo>
                <a:lnTo>
                  <a:pt x="40576" y="3781920"/>
                </a:lnTo>
                <a:lnTo>
                  <a:pt x="54521" y="3832720"/>
                </a:lnTo>
                <a:lnTo>
                  <a:pt x="70142" y="3883520"/>
                </a:lnTo>
                <a:lnTo>
                  <a:pt x="87249" y="3934320"/>
                </a:lnTo>
                <a:lnTo>
                  <a:pt x="105727" y="3985120"/>
                </a:lnTo>
                <a:lnTo>
                  <a:pt x="125399" y="4035920"/>
                </a:lnTo>
                <a:lnTo>
                  <a:pt x="146138" y="4086720"/>
                </a:lnTo>
                <a:lnTo>
                  <a:pt x="167767" y="4124820"/>
                </a:lnTo>
                <a:lnTo>
                  <a:pt x="190169" y="4175620"/>
                </a:lnTo>
                <a:lnTo>
                  <a:pt x="213169" y="4213720"/>
                </a:lnTo>
                <a:lnTo>
                  <a:pt x="236613" y="4251820"/>
                </a:lnTo>
                <a:lnTo>
                  <a:pt x="260375" y="4302620"/>
                </a:lnTo>
                <a:lnTo>
                  <a:pt x="284302" y="4340720"/>
                </a:lnTo>
                <a:lnTo>
                  <a:pt x="308216" y="4366120"/>
                </a:lnTo>
                <a:lnTo>
                  <a:pt x="332003" y="4404220"/>
                </a:lnTo>
                <a:lnTo>
                  <a:pt x="355485" y="4442320"/>
                </a:lnTo>
                <a:lnTo>
                  <a:pt x="378536" y="4467720"/>
                </a:lnTo>
                <a:lnTo>
                  <a:pt x="400977" y="4493120"/>
                </a:lnTo>
                <a:lnTo>
                  <a:pt x="422681" y="4518520"/>
                </a:lnTo>
                <a:lnTo>
                  <a:pt x="443496" y="4543920"/>
                </a:lnTo>
                <a:lnTo>
                  <a:pt x="463270" y="4569320"/>
                </a:lnTo>
                <a:lnTo>
                  <a:pt x="481838" y="4594720"/>
                </a:lnTo>
                <a:lnTo>
                  <a:pt x="499071" y="4607420"/>
                </a:lnTo>
                <a:lnTo>
                  <a:pt x="514807" y="4632820"/>
                </a:lnTo>
                <a:lnTo>
                  <a:pt x="528904" y="4645520"/>
                </a:lnTo>
                <a:lnTo>
                  <a:pt x="541210" y="4658220"/>
                </a:lnTo>
                <a:lnTo>
                  <a:pt x="551573" y="4658220"/>
                </a:lnTo>
                <a:lnTo>
                  <a:pt x="559841" y="4670920"/>
                </a:lnTo>
                <a:lnTo>
                  <a:pt x="565861" y="4683620"/>
                </a:lnTo>
                <a:lnTo>
                  <a:pt x="569493" y="4683620"/>
                </a:lnTo>
                <a:lnTo>
                  <a:pt x="597319" y="4696320"/>
                </a:lnTo>
                <a:lnTo>
                  <a:pt x="627621" y="4721720"/>
                </a:lnTo>
                <a:lnTo>
                  <a:pt x="729513" y="4721720"/>
                </a:lnTo>
                <a:lnTo>
                  <a:pt x="765454" y="4709020"/>
                </a:lnTo>
                <a:lnTo>
                  <a:pt x="828370" y="4670920"/>
                </a:lnTo>
                <a:lnTo>
                  <a:pt x="856284" y="4632820"/>
                </a:lnTo>
                <a:lnTo>
                  <a:pt x="872045" y="4582020"/>
                </a:lnTo>
                <a:lnTo>
                  <a:pt x="875779" y="4531220"/>
                </a:lnTo>
                <a:lnTo>
                  <a:pt x="867625" y="4493120"/>
                </a:lnTo>
                <a:lnTo>
                  <a:pt x="847686" y="4442320"/>
                </a:lnTo>
                <a:lnTo>
                  <a:pt x="816102" y="4404220"/>
                </a:lnTo>
                <a:lnTo>
                  <a:pt x="807847" y="4404220"/>
                </a:lnTo>
                <a:lnTo>
                  <a:pt x="791743" y="4378820"/>
                </a:lnTo>
                <a:lnTo>
                  <a:pt x="768921" y="4366120"/>
                </a:lnTo>
                <a:lnTo>
                  <a:pt x="740473" y="4328020"/>
                </a:lnTo>
                <a:lnTo>
                  <a:pt x="707555" y="4289920"/>
                </a:lnTo>
                <a:lnTo>
                  <a:pt x="671258" y="4251820"/>
                </a:lnTo>
                <a:lnTo>
                  <a:pt x="632701" y="4201020"/>
                </a:lnTo>
                <a:lnTo>
                  <a:pt x="553326" y="4074020"/>
                </a:lnTo>
                <a:lnTo>
                  <a:pt x="514731" y="3997820"/>
                </a:lnTo>
                <a:lnTo>
                  <a:pt x="1159827" y="3997820"/>
                </a:lnTo>
                <a:lnTo>
                  <a:pt x="1200086" y="3959720"/>
                </a:lnTo>
                <a:lnTo>
                  <a:pt x="1227226" y="3921620"/>
                </a:lnTo>
                <a:lnTo>
                  <a:pt x="1237170" y="3870820"/>
                </a:lnTo>
                <a:lnTo>
                  <a:pt x="1227226" y="3820020"/>
                </a:lnTo>
                <a:lnTo>
                  <a:pt x="1200086" y="3781920"/>
                </a:lnTo>
                <a:lnTo>
                  <a:pt x="1159827" y="3756520"/>
                </a:lnTo>
                <a:lnTo>
                  <a:pt x="1110513" y="3743820"/>
                </a:lnTo>
                <a:lnTo>
                  <a:pt x="413499" y="3743820"/>
                </a:lnTo>
                <a:lnTo>
                  <a:pt x="401281" y="3705720"/>
                </a:lnTo>
                <a:lnTo>
                  <a:pt x="390766" y="3654920"/>
                </a:lnTo>
                <a:lnTo>
                  <a:pt x="382104" y="3604120"/>
                </a:lnTo>
                <a:lnTo>
                  <a:pt x="375450" y="3553320"/>
                </a:lnTo>
                <a:lnTo>
                  <a:pt x="370941" y="3502520"/>
                </a:lnTo>
                <a:lnTo>
                  <a:pt x="368731" y="3451720"/>
                </a:lnTo>
                <a:lnTo>
                  <a:pt x="1493862" y="3451720"/>
                </a:lnTo>
                <a:lnTo>
                  <a:pt x="1543177" y="3439020"/>
                </a:lnTo>
                <a:lnTo>
                  <a:pt x="1583436" y="3413620"/>
                </a:lnTo>
                <a:lnTo>
                  <a:pt x="1610575" y="3375520"/>
                </a:lnTo>
                <a:lnTo>
                  <a:pt x="1620520" y="3324720"/>
                </a:lnTo>
                <a:lnTo>
                  <a:pt x="1610575" y="3273920"/>
                </a:lnTo>
                <a:lnTo>
                  <a:pt x="1583436" y="3235820"/>
                </a:lnTo>
                <a:lnTo>
                  <a:pt x="1543177" y="3210420"/>
                </a:lnTo>
                <a:lnTo>
                  <a:pt x="1493862" y="3197720"/>
                </a:lnTo>
                <a:lnTo>
                  <a:pt x="393382" y="3197720"/>
                </a:lnTo>
                <a:lnTo>
                  <a:pt x="400278" y="3172320"/>
                </a:lnTo>
                <a:lnTo>
                  <a:pt x="408038" y="3134220"/>
                </a:lnTo>
                <a:lnTo>
                  <a:pt x="416763" y="3108820"/>
                </a:lnTo>
                <a:lnTo>
                  <a:pt x="426529" y="3083420"/>
                </a:lnTo>
                <a:lnTo>
                  <a:pt x="441350" y="3032620"/>
                </a:lnTo>
                <a:lnTo>
                  <a:pt x="459257" y="2994520"/>
                </a:lnTo>
                <a:lnTo>
                  <a:pt x="480085" y="2956420"/>
                </a:lnTo>
                <a:lnTo>
                  <a:pt x="503656" y="2918320"/>
                </a:lnTo>
                <a:lnTo>
                  <a:pt x="529818" y="2867520"/>
                </a:lnTo>
                <a:lnTo>
                  <a:pt x="1442580" y="2867520"/>
                </a:lnTo>
                <a:lnTo>
                  <a:pt x="1482839" y="2829420"/>
                </a:lnTo>
                <a:lnTo>
                  <a:pt x="1509979" y="2791320"/>
                </a:lnTo>
                <a:lnTo>
                  <a:pt x="1519923" y="2740520"/>
                </a:lnTo>
                <a:lnTo>
                  <a:pt x="1509979" y="2702420"/>
                </a:lnTo>
                <a:lnTo>
                  <a:pt x="1482839" y="2651620"/>
                </a:lnTo>
                <a:lnTo>
                  <a:pt x="1442580" y="2626220"/>
                </a:lnTo>
                <a:lnTo>
                  <a:pt x="1393266" y="2613520"/>
                </a:lnTo>
                <a:lnTo>
                  <a:pt x="723988" y="2613520"/>
                </a:lnTo>
                <a:lnTo>
                  <a:pt x="754214" y="2588120"/>
                </a:lnTo>
                <a:lnTo>
                  <a:pt x="785418" y="2550020"/>
                </a:lnTo>
                <a:lnTo>
                  <a:pt x="817549" y="2511920"/>
                </a:lnTo>
                <a:lnTo>
                  <a:pt x="850595" y="2486520"/>
                </a:lnTo>
                <a:lnTo>
                  <a:pt x="884466" y="2448420"/>
                </a:lnTo>
                <a:lnTo>
                  <a:pt x="919149" y="2410320"/>
                </a:lnTo>
                <a:lnTo>
                  <a:pt x="954570" y="2372220"/>
                </a:lnTo>
                <a:lnTo>
                  <a:pt x="990701" y="2334120"/>
                </a:lnTo>
                <a:lnTo>
                  <a:pt x="1027493" y="2308720"/>
                </a:lnTo>
                <a:lnTo>
                  <a:pt x="1064895" y="2270620"/>
                </a:lnTo>
                <a:lnTo>
                  <a:pt x="1102842" y="2232520"/>
                </a:lnTo>
                <a:lnTo>
                  <a:pt x="1141323" y="2194420"/>
                </a:lnTo>
                <a:lnTo>
                  <a:pt x="1180261" y="2156320"/>
                </a:lnTo>
                <a:lnTo>
                  <a:pt x="1259370" y="2080120"/>
                </a:lnTo>
                <a:lnTo>
                  <a:pt x="1339773" y="2003920"/>
                </a:lnTo>
                <a:lnTo>
                  <a:pt x="1380350" y="1978520"/>
                </a:lnTo>
                <a:lnTo>
                  <a:pt x="1460766" y="1902320"/>
                </a:lnTo>
                <a:lnTo>
                  <a:pt x="1737309" y="1635620"/>
                </a:lnTo>
                <a:lnTo>
                  <a:pt x="1776310" y="1597520"/>
                </a:lnTo>
                <a:lnTo>
                  <a:pt x="1815109" y="1572120"/>
                </a:lnTo>
                <a:lnTo>
                  <a:pt x="1891931" y="1495920"/>
                </a:lnTo>
                <a:lnTo>
                  <a:pt x="1967534" y="1419720"/>
                </a:lnTo>
                <a:lnTo>
                  <a:pt x="2004809" y="1381620"/>
                </a:lnTo>
                <a:lnTo>
                  <a:pt x="2041690" y="1343520"/>
                </a:lnTo>
                <a:lnTo>
                  <a:pt x="2078139" y="1305420"/>
                </a:lnTo>
                <a:lnTo>
                  <a:pt x="2114143" y="1267320"/>
                </a:lnTo>
                <a:lnTo>
                  <a:pt x="2149665" y="1229220"/>
                </a:lnTo>
                <a:lnTo>
                  <a:pt x="2184679" y="1191120"/>
                </a:lnTo>
                <a:lnTo>
                  <a:pt x="2219147" y="1153020"/>
                </a:lnTo>
                <a:lnTo>
                  <a:pt x="2253030" y="1114920"/>
                </a:lnTo>
                <a:lnTo>
                  <a:pt x="2286330" y="1076820"/>
                </a:lnTo>
                <a:lnTo>
                  <a:pt x="2318982" y="1038720"/>
                </a:lnTo>
                <a:lnTo>
                  <a:pt x="2350986" y="1000620"/>
                </a:lnTo>
                <a:lnTo>
                  <a:pt x="2382291" y="962520"/>
                </a:lnTo>
                <a:lnTo>
                  <a:pt x="2412873" y="924420"/>
                </a:lnTo>
                <a:lnTo>
                  <a:pt x="2442705" y="886320"/>
                </a:lnTo>
                <a:lnTo>
                  <a:pt x="2471763" y="848220"/>
                </a:lnTo>
                <a:lnTo>
                  <a:pt x="2499995" y="797420"/>
                </a:lnTo>
                <a:lnTo>
                  <a:pt x="2527401" y="759320"/>
                </a:lnTo>
                <a:lnTo>
                  <a:pt x="2553932" y="721220"/>
                </a:lnTo>
                <a:lnTo>
                  <a:pt x="2579560" y="683120"/>
                </a:lnTo>
                <a:lnTo>
                  <a:pt x="2604262" y="645020"/>
                </a:lnTo>
                <a:lnTo>
                  <a:pt x="2627998" y="606920"/>
                </a:lnTo>
                <a:lnTo>
                  <a:pt x="2650744" y="568820"/>
                </a:lnTo>
                <a:lnTo>
                  <a:pt x="2672473" y="518020"/>
                </a:lnTo>
                <a:lnTo>
                  <a:pt x="2693162" y="479920"/>
                </a:lnTo>
                <a:lnTo>
                  <a:pt x="2712758" y="441820"/>
                </a:lnTo>
                <a:lnTo>
                  <a:pt x="2731249" y="403720"/>
                </a:lnTo>
                <a:lnTo>
                  <a:pt x="2748610" y="365620"/>
                </a:lnTo>
                <a:lnTo>
                  <a:pt x="2764790" y="314820"/>
                </a:lnTo>
                <a:lnTo>
                  <a:pt x="2779776" y="276720"/>
                </a:lnTo>
                <a:lnTo>
                  <a:pt x="2793530" y="238620"/>
                </a:lnTo>
                <a:lnTo>
                  <a:pt x="2806039" y="187820"/>
                </a:lnTo>
                <a:lnTo>
                  <a:pt x="2817241" y="149720"/>
                </a:lnTo>
                <a:lnTo>
                  <a:pt x="2827134" y="111620"/>
                </a:lnTo>
                <a:lnTo>
                  <a:pt x="2835681" y="73520"/>
                </a:lnTo>
                <a:lnTo>
                  <a:pt x="2842857" y="22720"/>
                </a:lnTo>
                <a:lnTo>
                  <a:pt x="2845346" y="10020"/>
                </a:lnTo>
                <a:close/>
              </a:path>
              <a:path w="3693795" h="4721860">
                <a:moveTo>
                  <a:pt x="3506774" y="1344333"/>
                </a:moveTo>
                <a:lnTo>
                  <a:pt x="3503396" y="1297622"/>
                </a:lnTo>
                <a:lnTo>
                  <a:pt x="3493605" y="1253045"/>
                </a:lnTo>
                <a:lnTo>
                  <a:pt x="3477857" y="1211084"/>
                </a:lnTo>
                <a:lnTo>
                  <a:pt x="3456660" y="1172222"/>
                </a:lnTo>
                <a:lnTo>
                  <a:pt x="3430473" y="1136954"/>
                </a:lnTo>
                <a:lnTo>
                  <a:pt x="3399790" y="1105776"/>
                </a:lnTo>
                <a:lnTo>
                  <a:pt x="3365093" y="1079169"/>
                </a:lnTo>
                <a:lnTo>
                  <a:pt x="3326854" y="1057630"/>
                </a:lnTo>
                <a:lnTo>
                  <a:pt x="3285566" y="1041628"/>
                </a:lnTo>
                <a:lnTo>
                  <a:pt x="3241700" y="1031671"/>
                </a:lnTo>
                <a:lnTo>
                  <a:pt x="3195739" y="1028242"/>
                </a:lnTo>
                <a:lnTo>
                  <a:pt x="3149777" y="1031671"/>
                </a:lnTo>
                <a:lnTo>
                  <a:pt x="3105899" y="1041628"/>
                </a:lnTo>
                <a:lnTo>
                  <a:pt x="3064611" y="1057630"/>
                </a:lnTo>
                <a:lnTo>
                  <a:pt x="3026372" y="1079169"/>
                </a:lnTo>
                <a:lnTo>
                  <a:pt x="2991675" y="1105776"/>
                </a:lnTo>
                <a:lnTo>
                  <a:pt x="2960992" y="1136954"/>
                </a:lnTo>
                <a:lnTo>
                  <a:pt x="2934805" y="1172222"/>
                </a:lnTo>
                <a:lnTo>
                  <a:pt x="2913608" y="1211084"/>
                </a:lnTo>
                <a:lnTo>
                  <a:pt x="2897873" y="1253045"/>
                </a:lnTo>
                <a:lnTo>
                  <a:pt x="2888069" y="1297622"/>
                </a:lnTo>
                <a:lnTo>
                  <a:pt x="2884703" y="1344333"/>
                </a:lnTo>
                <a:lnTo>
                  <a:pt x="2888069" y="1391043"/>
                </a:lnTo>
                <a:lnTo>
                  <a:pt x="2897873" y="1435633"/>
                </a:lnTo>
                <a:lnTo>
                  <a:pt x="2913608" y="1477594"/>
                </a:lnTo>
                <a:lnTo>
                  <a:pt x="2934805" y="1516456"/>
                </a:lnTo>
                <a:lnTo>
                  <a:pt x="2960992" y="1551711"/>
                </a:lnTo>
                <a:lnTo>
                  <a:pt x="2991675" y="1582902"/>
                </a:lnTo>
                <a:lnTo>
                  <a:pt x="3026372" y="1609509"/>
                </a:lnTo>
                <a:lnTo>
                  <a:pt x="3064611" y="1631048"/>
                </a:lnTo>
                <a:lnTo>
                  <a:pt x="3105899" y="1647050"/>
                </a:lnTo>
                <a:lnTo>
                  <a:pt x="3149777" y="1657007"/>
                </a:lnTo>
                <a:lnTo>
                  <a:pt x="3195739" y="1660423"/>
                </a:lnTo>
                <a:lnTo>
                  <a:pt x="3241700" y="1657007"/>
                </a:lnTo>
                <a:lnTo>
                  <a:pt x="3285566" y="1647050"/>
                </a:lnTo>
                <a:lnTo>
                  <a:pt x="3326854" y="1631048"/>
                </a:lnTo>
                <a:lnTo>
                  <a:pt x="3365093" y="1609509"/>
                </a:lnTo>
                <a:lnTo>
                  <a:pt x="3399790" y="1582902"/>
                </a:lnTo>
                <a:lnTo>
                  <a:pt x="3430473" y="1551711"/>
                </a:lnTo>
                <a:lnTo>
                  <a:pt x="3456660" y="1516456"/>
                </a:lnTo>
                <a:lnTo>
                  <a:pt x="3477857" y="1477594"/>
                </a:lnTo>
                <a:lnTo>
                  <a:pt x="3493605" y="1435633"/>
                </a:lnTo>
                <a:lnTo>
                  <a:pt x="3503396" y="1391043"/>
                </a:lnTo>
                <a:lnTo>
                  <a:pt x="3506774" y="1344333"/>
                </a:lnTo>
                <a:close/>
              </a:path>
              <a:path w="3693795" h="4721860">
                <a:moveTo>
                  <a:pt x="3508527" y="2550566"/>
                </a:moveTo>
                <a:lnTo>
                  <a:pt x="3505873" y="2503855"/>
                </a:lnTo>
                <a:lnTo>
                  <a:pt x="3498113" y="2458732"/>
                </a:lnTo>
                <a:lnTo>
                  <a:pt x="3485540" y="2415476"/>
                </a:lnTo>
                <a:lnTo>
                  <a:pt x="3468459" y="2374417"/>
                </a:lnTo>
                <a:lnTo>
                  <a:pt x="3447161" y="2335834"/>
                </a:lnTo>
                <a:lnTo>
                  <a:pt x="3421938" y="2300046"/>
                </a:lnTo>
                <a:lnTo>
                  <a:pt x="3393084" y="2267331"/>
                </a:lnTo>
                <a:lnTo>
                  <a:pt x="3360890" y="2238006"/>
                </a:lnTo>
                <a:lnTo>
                  <a:pt x="3325672" y="2212378"/>
                </a:lnTo>
                <a:lnTo>
                  <a:pt x="3287712" y="2190724"/>
                </a:lnTo>
                <a:lnTo>
                  <a:pt x="3247301" y="2173363"/>
                </a:lnTo>
                <a:lnTo>
                  <a:pt x="3204756" y="2160587"/>
                </a:lnTo>
                <a:lnTo>
                  <a:pt x="3160344" y="2152713"/>
                </a:lnTo>
                <a:lnTo>
                  <a:pt x="3114383" y="2150008"/>
                </a:lnTo>
                <a:lnTo>
                  <a:pt x="3068409" y="2152713"/>
                </a:lnTo>
                <a:lnTo>
                  <a:pt x="3024009" y="2160587"/>
                </a:lnTo>
                <a:lnTo>
                  <a:pt x="2981452" y="2173363"/>
                </a:lnTo>
                <a:lnTo>
                  <a:pt x="2941040" y="2190724"/>
                </a:lnTo>
                <a:lnTo>
                  <a:pt x="2903080" y="2212378"/>
                </a:lnTo>
                <a:lnTo>
                  <a:pt x="2867863" y="2238006"/>
                </a:lnTo>
                <a:lnTo>
                  <a:pt x="2835681" y="2267331"/>
                </a:lnTo>
                <a:lnTo>
                  <a:pt x="2806827" y="2300046"/>
                </a:lnTo>
                <a:lnTo>
                  <a:pt x="2781604" y="2335834"/>
                </a:lnTo>
                <a:lnTo>
                  <a:pt x="2760294" y="2374417"/>
                </a:lnTo>
                <a:lnTo>
                  <a:pt x="2743212" y="2415476"/>
                </a:lnTo>
                <a:lnTo>
                  <a:pt x="2730639" y="2458732"/>
                </a:lnTo>
                <a:lnTo>
                  <a:pt x="2722880" y="2503855"/>
                </a:lnTo>
                <a:lnTo>
                  <a:pt x="2720238" y="2550566"/>
                </a:lnTo>
                <a:lnTo>
                  <a:pt x="2722880" y="2597289"/>
                </a:lnTo>
                <a:lnTo>
                  <a:pt x="2730639" y="2642412"/>
                </a:lnTo>
                <a:lnTo>
                  <a:pt x="2743212" y="2685669"/>
                </a:lnTo>
                <a:lnTo>
                  <a:pt x="2760294" y="2726728"/>
                </a:lnTo>
                <a:lnTo>
                  <a:pt x="2781604" y="2765310"/>
                </a:lnTo>
                <a:lnTo>
                  <a:pt x="2806827" y="2801099"/>
                </a:lnTo>
                <a:lnTo>
                  <a:pt x="2835681" y="2833814"/>
                </a:lnTo>
                <a:lnTo>
                  <a:pt x="2867863" y="2863126"/>
                </a:lnTo>
                <a:lnTo>
                  <a:pt x="2903080" y="2888767"/>
                </a:lnTo>
                <a:lnTo>
                  <a:pt x="2941040" y="2910421"/>
                </a:lnTo>
                <a:lnTo>
                  <a:pt x="2981452" y="2927781"/>
                </a:lnTo>
                <a:lnTo>
                  <a:pt x="3024009" y="2940545"/>
                </a:lnTo>
                <a:lnTo>
                  <a:pt x="3068409" y="2948432"/>
                </a:lnTo>
                <a:lnTo>
                  <a:pt x="3114383" y="2951124"/>
                </a:lnTo>
                <a:lnTo>
                  <a:pt x="3160344" y="2948432"/>
                </a:lnTo>
                <a:lnTo>
                  <a:pt x="3204756" y="2940545"/>
                </a:lnTo>
                <a:lnTo>
                  <a:pt x="3247301" y="2927781"/>
                </a:lnTo>
                <a:lnTo>
                  <a:pt x="3287712" y="2910421"/>
                </a:lnTo>
                <a:lnTo>
                  <a:pt x="3325672" y="2888767"/>
                </a:lnTo>
                <a:lnTo>
                  <a:pt x="3360890" y="2863126"/>
                </a:lnTo>
                <a:lnTo>
                  <a:pt x="3393084" y="2833814"/>
                </a:lnTo>
                <a:lnTo>
                  <a:pt x="3421938" y="2801099"/>
                </a:lnTo>
                <a:lnTo>
                  <a:pt x="3447161" y="2765310"/>
                </a:lnTo>
                <a:lnTo>
                  <a:pt x="3468459" y="2726728"/>
                </a:lnTo>
                <a:lnTo>
                  <a:pt x="3485540" y="2685669"/>
                </a:lnTo>
                <a:lnTo>
                  <a:pt x="3498113" y="2642412"/>
                </a:lnTo>
                <a:lnTo>
                  <a:pt x="3505873" y="2597289"/>
                </a:lnTo>
                <a:lnTo>
                  <a:pt x="3508527" y="2550566"/>
                </a:lnTo>
                <a:close/>
              </a:path>
              <a:path w="3693795" h="4721860">
                <a:moveTo>
                  <a:pt x="3693350" y="317944"/>
                </a:moveTo>
                <a:lnTo>
                  <a:pt x="3689007" y="268770"/>
                </a:lnTo>
                <a:lnTo>
                  <a:pt x="3676510" y="222491"/>
                </a:lnTo>
                <a:lnTo>
                  <a:pt x="3656596" y="179870"/>
                </a:lnTo>
                <a:lnTo>
                  <a:pt x="3630041" y="141693"/>
                </a:lnTo>
                <a:lnTo>
                  <a:pt x="3597592" y="108724"/>
                </a:lnTo>
                <a:lnTo>
                  <a:pt x="3560026" y="81737"/>
                </a:lnTo>
                <a:lnTo>
                  <a:pt x="3518090" y="61506"/>
                </a:lnTo>
                <a:lnTo>
                  <a:pt x="3472548" y="48793"/>
                </a:lnTo>
                <a:lnTo>
                  <a:pt x="3424161" y="44386"/>
                </a:lnTo>
                <a:lnTo>
                  <a:pt x="3375774" y="48793"/>
                </a:lnTo>
                <a:lnTo>
                  <a:pt x="3330232" y="61506"/>
                </a:lnTo>
                <a:lnTo>
                  <a:pt x="3288296" y="81737"/>
                </a:lnTo>
                <a:lnTo>
                  <a:pt x="3250730" y="108724"/>
                </a:lnTo>
                <a:lnTo>
                  <a:pt x="3218281" y="141693"/>
                </a:lnTo>
                <a:lnTo>
                  <a:pt x="3191726" y="179870"/>
                </a:lnTo>
                <a:lnTo>
                  <a:pt x="3171812" y="222491"/>
                </a:lnTo>
                <a:lnTo>
                  <a:pt x="3159315" y="268770"/>
                </a:lnTo>
                <a:lnTo>
                  <a:pt x="3154972" y="317944"/>
                </a:lnTo>
                <a:lnTo>
                  <a:pt x="3159315" y="367118"/>
                </a:lnTo>
                <a:lnTo>
                  <a:pt x="3171812" y="413397"/>
                </a:lnTo>
                <a:lnTo>
                  <a:pt x="3191726" y="456018"/>
                </a:lnTo>
                <a:lnTo>
                  <a:pt x="3218281" y="494207"/>
                </a:lnTo>
                <a:lnTo>
                  <a:pt x="3250730" y="527177"/>
                </a:lnTo>
                <a:lnTo>
                  <a:pt x="3288296" y="554164"/>
                </a:lnTo>
                <a:lnTo>
                  <a:pt x="3330232" y="574395"/>
                </a:lnTo>
                <a:lnTo>
                  <a:pt x="3375774" y="587108"/>
                </a:lnTo>
                <a:lnTo>
                  <a:pt x="3424161" y="591515"/>
                </a:lnTo>
                <a:lnTo>
                  <a:pt x="3472548" y="587108"/>
                </a:lnTo>
                <a:lnTo>
                  <a:pt x="3518090" y="574395"/>
                </a:lnTo>
                <a:lnTo>
                  <a:pt x="3560026" y="554164"/>
                </a:lnTo>
                <a:lnTo>
                  <a:pt x="3597592" y="527177"/>
                </a:lnTo>
                <a:lnTo>
                  <a:pt x="3630041" y="494207"/>
                </a:lnTo>
                <a:lnTo>
                  <a:pt x="3656596" y="456018"/>
                </a:lnTo>
                <a:lnTo>
                  <a:pt x="3676510" y="413397"/>
                </a:lnTo>
                <a:lnTo>
                  <a:pt x="3689007" y="367118"/>
                </a:lnTo>
                <a:lnTo>
                  <a:pt x="3693350" y="317944"/>
                </a:lnTo>
                <a:close/>
              </a:path>
            </a:pathLst>
          </a:custGeom>
          <a:solidFill>
            <a:srgbClr val="00A79D"/>
          </a:solidFill>
        </p:spPr>
        <p:txBody>
          <a:bodyPr wrap="square" lIns="0" tIns="0" rIns="0" bIns="0" rtlCol="0"/>
          <a:lstStyle/>
          <a:p>
            <a:endParaRPr/>
          </a:p>
        </p:txBody>
      </p:sp>
    </p:spTree>
    <p:extLst>
      <p:ext uri="{BB962C8B-B14F-4D97-AF65-F5344CB8AC3E}">
        <p14:creationId xmlns:p14="http://schemas.microsoft.com/office/powerpoint/2010/main" val="32875860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Quotation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4446D-3EC5-A487-67B6-AFE74A9C4781}"/>
              </a:ext>
            </a:extLst>
          </p:cNvPr>
          <p:cNvSpPr>
            <a:spLocks noGrp="1"/>
          </p:cNvSpPr>
          <p:nvPr>
            <p:ph type="title"/>
          </p:nvPr>
        </p:nvSpPr>
        <p:spPr>
          <a:xfrm>
            <a:off x="711200" y="365125"/>
            <a:ext cx="6479308" cy="4355493"/>
          </a:xfrm>
        </p:spPr>
        <p:txBody>
          <a:bodyPr anchor="t" anchorCtr="0">
            <a:normAutofit/>
          </a:bodyPr>
          <a:lstStyle>
            <a:lvl1pPr>
              <a:defRPr sz="4000">
                <a:solidFill>
                  <a:schemeClr val="accent3"/>
                </a:solidFill>
              </a:defRPr>
            </a:lvl1p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A5CA96E9-5766-B813-ED3A-78756E2A6A61}"/>
              </a:ext>
            </a:extLst>
          </p:cNvPr>
          <p:cNvSpPr>
            <a:spLocks noGrp="1"/>
          </p:cNvSpPr>
          <p:nvPr>
            <p:ph type="body" idx="1"/>
          </p:nvPr>
        </p:nvSpPr>
        <p:spPr>
          <a:xfrm>
            <a:off x="711200" y="4862945"/>
            <a:ext cx="6479307" cy="501535"/>
          </a:xfrm>
        </p:spPr>
        <p:txBody>
          <a:bodyPr anchor="t" anchorCtr="0">
            <a:normAutofit/>
          </a:bodyPr>
          <a:lstStyle>
            <a:lvl1pPr marL="0" indent="0">
              <a:buNone/>
              <a:defRPr sz="20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8" name="Footer Placeholder 7">
            <a:extLst>
              <a:ext uri="{FF2B5EF4-FFF2-40B4-BE49-F238E27FC236}">
                <a16:creationId xmlns:a16="http://schemas.microsoft.com/office/drawing/2014/main" id="{49A034B4-D92B-161B-41A1-3DE14A2FB743}"/>
              </a:ext>
            </a:extLst>
          </p:cNvPr>
          <p:cNvSpPr>
            <a:spLocks noGrp="1"/>
          </p:cNvSpPr>
          <p:nvPr>
            <p:ph type="ftr" sz="quarter" idx="11"/>
          </p:nvPr>
        </p:nvSpPr>
        <p:spPr>
          <a:xfrm>
            <a:off x="741680" y="6127750"/>
            <a:ext cx="8930639" cy="365125"/>
          </a:xfrm>
          <a:prstGeom prst="rect">
            <a:avLst/>
          </a:prstGeom>
        </p:spPr>
        <p:txBody>
          <a:bodyPr/>
          <a:lstStyle>
            <a:lvl1pPr>
              <a:defRPr>
                <a:solidFill>
                  <a:schemeClr val="accent2"/>
                </a:solidFill>
              </a:defRPr>
            </a:lvl1pPr>
          </a:lstStyle>
          <a:p>
            <a:endParaRPr lang="en-GB" dirty="0"/>
          </a:p>
        </p:txBody>
      </p:sp>
      <p:sp>
        <p:nvSpPr>
          <p:cNvPr id="4" name="object 2">
            <a:extLst>
              <a:ext uri="{FF2B5EF4-FFF2-40B4-BE49-F238E27FC236}">
                <a16:creationId xmlns:a16="http://schemas.microsoft.com/office/drawing/2014/main" id="{BACCD77F-6A9E-76FD-8A3A-2FBB9E8A1FB5}"/>
              </a:ext>
            </a:extLst>
          </p:cNvPr>
          <p:cNvSpPr/>
          <p:nvPr userDrawn="1"/>
        </p:nvSpPr>
        <p:spPr>
          <a:xfrm>
            <a:off x="7805550" y="0"/>
            <a:ext cx="4391193" cy="4355492"/>
          </a:xfrm>
          <a:custGeom>
            <a:avLst/>
            <a:gdLst/>
            <a:ahLst/>
            <a:cxnLst/>
            <a:rect l="l" t="t" r="r" b="b"/>
            <a:pathLst>
              <a:path w="4842509" h="4803140">
                <a:moveTo>
                  <a:pt x="747268" y="1282877"/>
                </a:moveTo>
                <a:lnTo>
                  <a:pt x="744347" y="1235252"/>
                </a:lnTo>
                <a:lnTo>
                  <a:pt x="735850" y="1189393"/>
                </a:lnTo>
                <a:lnTo>
                  <a:pt x="722109" y="1145654"/>
                </a:lnTo>
                <a:lnTo>
                  <a:pt x="703478" y="1104379"/>
                </a:lnTo>
                <a:lnTo>
                  <a:pt x="680313" y="1065949"/>
                </a:lnTo>
                <a:lnTo>
                  <a:pt x="652957" y="1030706"/>
                </a:lnTo>
                <a:lnTo>
                  <a:pt x="621766" y="999007"/>
                </a:lnTo>
                <a:lnTo>
                  <a:pt x="587095" y="971207"/>
                </a:lnTo>
                <a:lnTo>
                  <a:pt x="549275" y="947661"/>
                </a:lnTo>
                <a:lnTo>
                  <a:pt x="508673" y="928738"/>
                </a:lnTo>
                <a:lnTo>
                  <a:pt x="465620" y="914781"/>
                </a:lnTo>
                <a:lnTo>
                  <a:pt x="420497" y="906132"/>
                </a:lnTo>
                <a:lnTo>
                  <a:pt x="373634" y="903173"/>
                </a:lnTo>
                <a:lnTo>
                  <a:pt x="326758" y="906132"/>
                </a:lnTo>
                <a:lnTo>
                  <a:pt x="281635" y="914781"/>
                </a:lnTo>
                <a:lnTo>
                  <a:pt x="238582" y="928738"/>
                </a:lnTo>
                <a:lnTo>
                  <a:pt x="197980" y="947661"/>
                </a:lnTo>
                <a:lnTo>
                  <a:pt x="160159" y="971207"/>
                </a:lnTo>
                <a:lnTo>
                  <a:pt x="125488" y="999007"/>
                </a:lnTo>
                <a:lnTo>
                  <a:pt x="94297" y="1030706"/>
                </a:lnTo>
                <a:lnTo>
                  <a:pt x="66941" y="1065949"/>
                </a:lnTo>
                <a:lnTo>
                  <a:pt x="43776" y="1104379"/>
                </a:lnTo>
                <a:lnTo>
                  <a:pt x="25146" y="1145654"/>
                </a:lnTo>
                <a:lnTo>
                  <a:pt x="11404" y="1189393"/>
                </a:lnTo>
                <a:lnTo>
                  <a:pt x="2908" y="1235252"/>
                </a:lnTo>
                <a:lnTo>
                  <a:pt x="0" y="1282877"/>
                </a:lnTo>
                <a:lnTo>
                  <a:pt x="2908" y="1330515"/>
                </a:lnTo>
                <a:lnTo>
                  <a:pt x="11404" y="1376375"/>
                </a:lnTo>
                <a:lnTo>
                  <a:pt x="25146" y="1420126"/>
                </a:lnTo>
                <a:lnTo>
                  <a:pt x="43776" y="1461389"/>
                </a:lnTo>
                <a:lnTo>
                  <a:pt x="66941" y="1499819"/>
                </a:lnTo>
                <a:lnTo>
                  <a:pt x="94297" y="1535074"/>
                </a:lnTo>
                <a:lnTo>
                  <a:pt x="125488" y="1566773"/>
                </a:lnTo>
                <a:lnTo>
                  <a:pt x="160159" y="1594573"/>
                </a:lnTo>
                <a:lnTo>
                  <a:pt x="197980" y="1618107"/>
                </a:lnTo>
                <a:lnTo>
                  <a:pt x="238582" y="1637042"/>
                </a:lnTo>
                <a:lnTo>
                  <a:pt x="281635" y="1651000"/>
                </a:lnTo>
                <a:lnTo>
                  <a:pt x="326758" y="1659636"/>
                </a:lnTo>
                <a:lnTo>
                  <a:pt x="373634" y="1662595"/>
                </a:lnTo>
                <a:lnTo>
                  <a:pt x="420497" y="1659636"/>
                </a:lnTo>
                <a:lnTo>
                  <a:pt x="465620" y="1651000"/>
                </a:lnTo>
                <a:lnTo>
                  <a:pt x="508673" y="1637042"/>
                </a:lnTo>
                <a:lnTo>
                  <a:pt x="549275" y="1618107"/>
                </a:lnTo>
                <a:lnTo>
                  <a:pt x="587095" y="1594573"/>
                </a:lnTo>
                <a:lnTo>
                  <a:pt x="621766" y="1566773"/>
                </a:lnTo>
                <a:lnTo>
                  <a:pt x="652957" y="1535074"/>
                </a:lnTo>
                <a:lnTo>
                  <a:pt x="680313" y="1499819"/>
                </a:lnTo>
                <a:lnTo>
                  <a:pt x="703478" y="1461389"/>
                </a:lnTo>
                <a:lnTo>
                  <a:pt x="722109" y="1420126"/>
                </a:lnTo>
                <a:lnTo>
                  <a:pt x="735850" y="1376375"/>
                </a:lnTo>
                <a:lnTo>
                  <a:pt x="744347" y="1330515"/>
                </a:lnTo>
                <a:lnTo>
                  <a:pt x="747268" y="1282877"/>
                </a:lnTo>
                <a:close/>
              </a:path>
              <a:path w="4842509" h="4803140">
                <a:moveTo>
                  <a:pt x="1038237" y="2266010"/>
                </a:moveTo>
                <a:lnTo>
                  <a:pt x="1033195" y="2221458"/>
                </a:lnTo>
                <a:lnTo>
                  <a:pt x="1018806" y="2180552"/>
                </a:lnTo>
                <a:lnTo>
                  <a:pt x="996238" y="2144471"/>
                </a:lnTo>
                <a:lnTo>
                  <a:pt x="966635" y="2114385"/>
                </a:lnTo>
                <a:lnTo>
                  <a:pt x="931125" y="2091448"/>
                </a:lnTo>
                <a:lnTo>
                  <a:pt x="890879" y="2076831"/>
                </a:lnTo>
                <a:lnTo>
                  <a:pt x="847039" y="2071700"/>
                </a:lnTo>
                <a:lnTo>
                  <a:pt x="803198" y="2076831"/>
                </a:lnTo>
                <a:lnTo>
                  <a:pt x="762952" y="2091448"/>
                </a:lnTo>
                <a:lnTo>
                  <a:pt x="727456" y="2114385"/>
                </a:lnTo>
                <a:lnTo>
                  <a:pt x="697852" y="2144471"/>
                </a:lnTo>
                <a:lnTo>
                  <a:pt x="675284" y="2180552"/>
                </a:lnTo>
                <a:lnTo>
                  <a:pt x="660895" y="2221458"/>
                </a:lnTo>
                <a:lnTo>
                  <a:pt x="655840" y="2266010"/>
                </a:lnTo>
                <a:lnTo>
                  <a:pt x="660895" y="2310561"/>
                </a:lnTo>
                <a:lnTo>
                  <a:pt x="675284" y="2351455"/>
                </a:lnTo>
                <a:lnTo>
                  <a:pt x="697852" y="2387536"/>
                </a:lnTo>
                <a:lnTo>
                  <a:pt x="727456" y="2417635"/>
                </a:lnTo>
                <a:lnTo>
                  <a:pt x="762952" y="2440571"/>
                </a:lnTo>
                <a:lnTo>
                  <a:pt x="803198" y="2455189"/>
                </a:lnTo>
                <a:lnTo>
                  <a:pt x="847039" y="2460320"/>
                </a:lnTo>
                <a:lnTo>
                  <a:pt x="890879" y="2455189"/>
                </a:lnTo>
                <a:lnTo>
                  <a:pt x="931125" y="2440571"/>
                </a:lnTo>
                <a:lnTo>
                  <a:pt x="966635" y="2417635"/>
                </a:lnTo>
                <a:lnTo>
                  <a:pt x="996238" y="2387536"/>
                </a:lnTo>
                <a:lnTo>
                  <a:pt x="1018806" y="2351455"/>
                </a:lnTo>
                <a:lnTo>
                  <a:pt x="1033195" y="2310561"/>
                </a:lnTo>
                <a:lnTo>
                  <a:pt x="1038237" y="2266010"/>
                </a:lnTo>
                <a:close/>
              </a:path>
              <a:path w="4842509" h="4803140">
                <a:moveTo>
                  <a:pt x="1353693" y="196011"/>
                </a:moveTo>
                <a:lnTo>
                  <a:pt x="1349044" y="149148"/>
                </a:lnTo>
                <a:lnTo>
                  <a:pt x="1335709" y="105486"/>
                </a:lnTo>
                <a:lnTo>
                  <a:pt x="1314615" y="65989"/>
                </a:lnTo>
                <a:lnTo>
                  <a:pt x="1286675" y="31572"/>
                </a:lnTo>
                <a:lnTo>
                  <a:pt x="1252804" y="3175"/>
                </a:lnTo>
                <a:lnTo>
                  <a:pt x="1247063" y="0"/>
                </a:lnTo>
                <a:lnTo>
                  <a:pt x="1002677" y="0"/>
                </a:lnTo>
                <a:lnTo>
                  <a:pt x="963053" y="31572"/>
                </a:lnTo>
                <a:lnTo>
                  <a:pt x="935113" y="65989"/>
                </a:lnTo>
                <a:lnTo>
                  <a:pt x="914019" y="105486"/>
                </a:lnTo>
                <a:lnTo>
                  <a:pt x="900684" y="149148"/>
                </a:lnTo>
                <a:lnTo>
                  <a:pt x="896035" y="196011"/>
                </a:lnTo>
                <a:lnTo>
                  <a:pt x="900684" y="242874"/>
                </a:lnTo>
                <a:lnTo>
                  <a:pt x="914019" y="286524"/>
                </a:lnTo>
                <a:lnTo>
                  <a:pt x="935113" y="326034"/>
                </a:lnTo>
                <a:lnTo>
                  <a:pt x="963053" y="360451"/>
                </a:lnTo>
                <a:lnTo>
                  <a:pt x="996924" y="388848"/>
                </a:lnTo>
                <a:lnTo>
                  <a:pt x="1035799" y="410286"/>
                </a:lnTo>
                <a:lnTo>
                  <a:pt x="1078750" y="423837"/>
                </a:lnTo>
                <a:lnTo>
                  <a:pt x="1124864" y="428561"/>
                </a:lnTo>
                <a:lnTo>
                  <a:pt x="1170978" y="423837"/>
                </a:lnTo>
                <a:lnTo>
                  <a:pt x="1213929" y="410286"/>
                </a:lnTo>
                <a:lnTo>
                  <a:pt x="1252804" y="388848"/>
                </a:lnTo>
                <a:lnTo>
                  <a:pt x="1286675" y="360451"/>
                </a:lnTo>
                <a:lnTo>
                  <a:pt x="1314615" y="326034"/>
                </a:lnTo>
                <a:lnTo>
                  <a:pt x="1335709" y="286524"/>
                </a:lnTo>
                <a:lnTo>
                  <a:pt x="1349044" y="242874"/>
                </a:lnTo>
                <a:lnTo>
                  <a:pt x="1353693" y="196011"/>
                </a:lnTo>
                <a:close/>
              </a:path>
              <a:path w="4842509" h="4803140">
                <a:moveTo>
                  <a:pt x="2336165" y="3322891"/>
                </a:moveTo>
                <a:lnTo>
                  <a:pt x="2331415" y="3275126"/>
                </a:lnTo>
                <a:lnTo>
                  <a:pt x="2317826" y="3230638"/>
                </a:lnTo>
                <a:lnTo>
                  <a:pt x="2296325" y="3190392"/>
                </a:lnTo>
                <a:lnTo>
                  <a:pt x="2267851" y="3155315"/>
                </a:lnTo>
                <a:lnTo>
                  <a:pt x="2233333" y="3126371"/>
                </a:lnTo>
                <a:lnTo>
                  <a:pt x="2193721" y="3104527"/>
                </a:lnTo>
                <a:lnTo>
                  <a:pt x="2149945" y="3090710"/>
                </a:lnTo>
                <a:lnTo>
                  <a:pt x="2102954" y="3085896"/>
                </a:lnTo>
                <a:lnTo>
                  <a:pt x="2055952" y="3090710"/>
                </a:lnTo>
                <a:lnTo>
                  <a:pt x="2012175" y="3104527"/>
                </a:lnTo>
                <a:lnTo>
                  <a:pt x="1972564" y="3126371"/>
                </a:lnTo>
                <a:lnTo>
                  <a:pt x="1938058" y="3155315"/>
                </a:lnTo>
                <a:lnTo>
                  <a:pt x="1909572" y="3190392"/>
                </a:lnTo>
                <a:lnTo>
                  <a:pt x="1888070" y="3230638"/>
                </a:lnTo>
                <a:lnTo>
                  <a:pt x="1874494" y="3275126"/>
                </a:lnTo>
                <a:lnTo>
                  <a:pt x="1869757" y="3322891"/>
                </a:lnTo>
                <a:lnTo>
                  <a:pt x="1874494" y="3370656"/>
                </a:lnTo>
                <a:lnTo>
                  <a:pt x="1888070" y="3415144"/>
                </a:lnTo>
                <a:lnTo>
                  <a:pt x="1909572" y="3455403"/>
                </a:lnTo>
                <a:lnTo>
                  <a:pt x="1938058" y="3490480"/>
                </a:lnTo>
                <a:lnTo>
                  <a:pt x="1972564" y="3519424"/>
                </a:lnTo>
                <a:lnTo>
                  <a:pt x="2012175" y="3541280"/>
                </a:lnTo>
                <a:lnTo>
                  <a:pt x="2055952" y="3555085"/>
                </a:lnTo>
                <a:lnTo>
                  <a:pt x="2102954" y="3559899"/>
                </a:lnTo>
                <a:lnTo>
                  <a:pt x="2149945" y="3555085"/>
                </a:lnTo>
                <a:lnTo>
                  <a:pt x="2193721" y="3541280"/>
                </a:lnTo>
                <a:lnTo>
                  <a:pt x="2233333" y="3519424"/>
                </a:lnTo>
                <a:lnTo>
                  <a:pt x="2267851" y="3490480"/>
                </a:lnTo>
                <a:lnTo>
                  <a:pt x="2296325" y="3455403"/>
                </a:lnTo>
                <a:lnTo>
                  <a:pt x="2317826" y="3415144"/>
                </a:lnTo>
                <a:lnTo>
                  <a:pt x="2331415" y="3370656"/>
                </a:lnTo>
                <a:lnTo>
                  <a:pt x="2336165" y="3322891"/>
                </a:lnTo>
                <a:close/>
              </a:path>
              <a:path w="4842509" h="4803140">
                <a:moveTo>
                  <a:pt x="2815031" y="1449959"/>
                </a:moveTo>
                <a:lnTo>
                  <a:pt x="2805074" y="1400657"/>
                </a:lnTo>
                <a:lnTo>
                  <a:pt x="2777921" y="1360385"/>
                </a:lnTo>
                <a:lnTo>
                  <a:pt x="2737650" y="1333233"/>
                </a:lnTo>
                <a:lnTo>
                  <a:pt x="2688348" y="1323276"/>
                </a:lnTo>
                <a:lnTo>
                  <a:pt x="1587842" y="1323276"/>
                </a:lnTo>
                <a:lnTo>
                  <a:pt x="1594739" y="1293037"/>
                </a:lnTo>
                <a:lnTo>
                  <a:pt x="1611210" y="1231938"/>
                </a:lnTo>
                <a:lnTo>
                  <a:pt x="1635810" y="1161021"/>
                </a:lnTo>
                <a:lnTo>
                  <a:pt x="1653717" y="1120343"/>
                </a:lnTo>
                <a:lnTo>
                  <a:pt x="1674545" y="1079030"/>
                </a:lnTo>
                <a:lnTo>
                  <a:pt x="1698117" y="1037107"/>
                </a:lnTo>
                <a:lnTo>
                  <a:pt x="1724279" y="994613"/>
                </a:lnTo>
                <a:lnTo>
                  <a:pt x="1724837" y="994613"/>
                </a:lnTo>
                <a:lnTo>
                  <a:pt x="1725358" y="994778"/>
                </a:lnTo>
                <a:lnTo>
                  <a:pt x="2587726" y="994778"/>
                </a:lnTo>
                <a:lnTo>
                  <a:pt x="2588539" y="994613"/>
                </a:lnTo>
                <a:lnTo>
                  <a:pt x="2637028" y="984821"/>
                </a:lnTo>
                <a:lnTo>
                  <a:pt x="2677299" y="957668"/>
                </a:lnTo>
                <a:lnTo>
                  <a:pt x="2704452" y="917409"/>
                </a:lnTo>
                <a:lnTo>
                  <a:pt x="2714409" y="868095"/>
                </a:lnTo>
                <a:lnTo>
                  <a:pt x="2704452" y="818794"/>
                </a:lnTo>
                <a:lnTo>
                  <a:pt x="2677299" y="778522"/>
                </a:lnTo>
                <a:lnTo>
                  <a:pt x="2637028" y="751370"/>
                </a:lnTo>
                <a:lnTo>
                  <a:pt x="2587726" y="741413"/>
                </a:lnTo>
                <a:lnTo>
                  <a:pt x="1918449" y="741413"/>
                </a:lnTo>
                <a:lnTo>
                  <a:pt x="1948662" y="707326"/>
                </a:lnTo>
                <a:lnTo>
                  <a:pt x="1979866" y="672985"/>
                </a:lnTo>
                <a:lnTo>
                  <a:pt x="2012010" y="638390"/>
                </a:lnTo>
                <a:lnTo>
                  <a:pt x="2045055" y="603554"/>
                </a:lnTo>
                <a:lnTo>
                  <a:pt x="2078926" y="568502"/>
                </a:lnTo>
                <a:lnTo>
                  <a:pt x="2113610" y="533209"/>
                </a:lnTo>
                <a:lnTo>
                  <a:pt x="2149030" y="497700"/>
                </a:lnTo>
                <a:lnTo>
                  <a:pt x="2185162" y="461987"/>
                </a:lnTo>
                <a:lnTo>
                  <a:pt x="2221954" y="426072"/>
                </a:lnTo>
                <a:lnTo>
                  <a:pt x="2297303" y="353644"/>
                </a:lnTo>
                <a:lnTo>
                  <a:pt x="2414079" y="243662"/>
                </a:lnTo>
                <a:lnTo>
                  <a:pt x="2677630" y="12"/>
                </a:lnTo>
                <a:lnTo>
                  <a:pt x="2136800" y="12"/>
                </a:lnTo>
                <a:lnTo>
                  <a:pt x="2069376" y="63487"/>
                </a:lnTo>
                <a:lnTo>
                  <a:pt x="1987892" y="141401"/>
                </a:lnTo>
                <a:lnTo>
                  <a:pt x="1947964" y="180200"/>
                </a:lnTo>
                <a:lnTo>
                  <a:pt x="1908632" y="218884"/>
                </a:lnTo>
                <a:lnTo>
                  <a:pt x="1869922" y="257467"/>
                </a:lnTo>
                <a:lnTo>
                  <a:pt x="1831911" y="295948"/>
                </a:lnTo>
                <a:lnTo>
                  <a:pt x="1794637" y="334327"/>
                </a:lnTo>
                <a:lnTo>
                  <a:pt x="1758124" y="372618"/>
                </a:lnTo>
                <a:lnTo>
                  <a:pt x="1722450" y="410806"/>
                </a:lnTo>
                <a:lnTo>
                  <a:pt x="1687626" y="448906"/>
                </a:lnTo>
                <a:lnTo>
                  <a:pt x="1653730" y="486918"/>
                </a:lnTo>
                <a:lnTo>
                  <a:pt x="1620786" y="524840"/>
                </a:lnTo>
                <a:lnTo>
                  <a:pt x="1588846" y="562686"/>
                </a:lnTo>
                <a:lnTo>
                  <a:pt x="1557959" y="600443"/>
                </a:lnTo>
                <a:lnTo>
                  <a:pt x="1528152" y="638124"/>
                </a:lnTo>
                <a:lnTo>
                  <a:pt x="1499501" y="675716"/>
                </a:lnTo>
                <a:lnTo>
                  <a:pt x="1472018" y="713244"/>
                </a:lnTo>
                <a:lnTo>
                  <a:pt x="1445780" y="750697"/>
                </a:lnTo>
                <a:lnTo>
                  <a:pt x="1420812" y="788073"/>
                </a:lnTo>
                <a:lnTo>
                  <a:pt x="1397165" y="825385"/>
                </a:lnTo>
                <a:lnTo>
                  <a:pt x="1374889" y="862634"/>
                </a:lnTo>
                <a:lnTo>
                  <a:pt x="1354023" y="899820"/>
                </a:lnTo>
                <a:lnTo>
                  <a:pt x="1334604" y="936955"/>
                </a:lnTo>
                <a:lnTo>
                  <a:pt x="1316697" y="974013"/>
                </a:lnTo>
                <a:lnTo>
                  <a:pt x="1300340" y="1011021"/>
                </a:lnTo>
                <a:lnTo>
                  <a:pt x="1285570" y="1047978"/>
                </a:lnTo>
                <a:lnTo>
                  <a:pt x="1272451" y="1084884"/>
                </a:lnTo>
                <a:lnTo>
                  <a:pt x="1251242" y="1153655"/>
                </a:lnTo>
                <a:lnTo>
                  <a:pt x="1233639" y="1221536"/>
                </a:lnTo>
                <a:lnTo>
                  <a:pt x="1219492" y="1288491"/>
                </a:lnTo>
                <a:lnTo>
                  <a:pt x="1208646" y="1354493"/>
                </a:lnTo>
                <a:lnTo>
                  <a:pt x="1200962" y="1419517"/>
                </a:lnTo>
                <a:lnTo>
                  <a:pt x="1196276" y="1483499"/>
                </a:lnTo>
                <a:lnTo>
                  <a:pt x="1194447" y="1546440"/>
                </a:lnTo>
                <a:lnTo>
                  <a:pt x="1195324" y="1608264"/>
                </a:lnTo>
                <a:lnTo>
                  <a:pt x="1198753" y="1668970"/>
                </a:lnTo>
                <a:lnTo>
                  <a:pt x="1204595" y="1728508"/>
                </a:lnTo>
                <a:lnTo>
                  <a:pt x="1212684" y="1786839"/>
                </a:lnTo>
                <a:lnTo>
                  <a:pt x="1222870" y="1843925"/>
                </a:lnTo>
                <a:lnTo>
                  <a:pt x="1235024" y="1899742"/>
                </a:lnTo>
                <a:lnTo>
                  <a:pt x="1248981" y="1954237"/>
                </a:lnTo>
                <a:lnTo>
                  <a:pt x="1264589" y="2007400"/>
                </a:lnTo>
                <a:lnTo>
                  <a:pt x="1281709" y="2059178"/>
                </a:lnTo>
                <a:lnTo>
                  <a:pt x="1300175" y="2109533"/>
                </a:lnTo>
                <a:lnTo>
                  <a:pt x="1319860" y="2158441"/>
                </a:lnTo>
                <a:lnTo>
                  <a:pt x="1340586" y="2205863"/>
                </a:lnTo>
                <a:lnTo>
                  <a:pt x="1362227" y="2251748"/>
                </a:lnTo>
                <a:lnTo>
                  <a:pt x="1384617" y="2296083"/>
                </a:lnTo>
                <a:lnTo>
                  <a:pt x="1407617" y="2338819"/>
                </a:lnTo>
                <a:lnTo>
                  <a:pt x="1431074" y="2379916"/>
                </a:lnTo>
                <a:lnTo>
                  <a:pt x="1454835" y="2419350"/>
                </a:lnTo>
                <a:lnTo>
                  <a:pt x="1478749" y="2457081"/>
                </a:lnTo>
                <a:lnTo>
                  <a:pt x="1502676" y="2493073"/>
                </a:lnTo>
                <a:lnTo>
                  <a:pt x="1526451" y="2527300"/>
                </a:lnTo>
                <a:lnTo>
                  <a:pt x="1549946" y="2559710"/>
                </a:lnTo>
                <a:lnTo>
                  <a:pt x="1572983" y="2590266"/>
                </a:lnTo>
                <a:lnTo>
                  <a:pt x="1617141" y="2645714"/>
                </a:lnTo>
                <a:lnTo>
                  <a:pt x="1657718" y="2693352"/>
                </a:lnTo>
                <a:lnTo>
                  <a:pt x="1693532" y="2732887"/>
                </a:lnTo>
                <a:lnTo>
                  <a:pt x="1723364" y="2764040"/>
                </a:lnTo>
                <a:lnTo>
                  <a:pt x="1754289" y="2794431"/>
                </a:lnTo>
                <a:lnTo>
                  <a:pt x="1791779" y="2824124"/>
                </a:lnTo>
                <a:lnTo>
                  <a:pt x="1853996" y="2847721"/>
                </a:lnTo>
                <a:lnTo>
                  <a:pt x="1886724" y="2850654"/>
                </a:lnTo>
                <a:lnTo>
                  <a:pt x="1923973" y="2846857"/>
                </a:lnTo>
                <a:lnTo>
                  <a:pt x="1993277" y="2816644"/>
                </a:lnTo>
                <a:lnTo>
                  <a:pt x="2022830" y="2790367"/>
                </a:lnTo>
                <a:lnTo>
                  <a:pt x="2050745" y="2749880"/>
                </a:lnTo>
                <a:lnTo>
                  <a:pt x="2066505" y="2705011"/>
                </a:lnTo>
                <a:lnTo>
                  <a:pt x="2070239" y="2658224"/>
                </a:lnTo>
                <a:lnTo>
                  <a:pt x="2062073" y="2611996"/>
                </a:lnTo>
                <a:lnTo>
                  <a:pt x="2042134" y="2568778"/>
                </a:lnTo>
                <a:lnTo>
                  <a:pt x="2010562" y="2531059"/>
                </a:lnTo>
                <a:lnTo>
                  <a:pt x="2002307" y="2523312"/>
                </a:lnTo>
                <a:lnTo>
                  <a:pt x="1986203" y="2507475"/>
                </a:lnTo>
                <a:lnTo>
                  <a:pt x="1934933" y="2452725"/>
                </a:lnTo>
                <a:lnTo>
                  <a:pt x="1902015" y="2414397"/>
                </a:lnTo>
                <a:lnTo>
                  <a:pt x="1865718" y="2369159"/>
                </a:lnTo>
                <a:lnTo>
                  <a:pt x="1827174" y="2317305"/>
                </a:lnTo>
                <a:lnTo>
                  <a:pt x="1787486" y="2259114"/>
                </a:lnTo>
                <a:lnTo>
                  <a:pt x="1747786" y="2194903"/>
                </a:lnTo>
                <a:lnTo>
                  <a:pt x="1709204" y="2124951"/>
                </a:lnTo>
                <a:lnTo>
                  <a:pt x="2085060" y="2124951"/>
                </a:lnTo>
                <a:lnTo>
                  <a:pt x="2134362" y="2114994"/>
                </a:lnTo>
                <a:lnTo>
                  <a:pt x="2174633" y="2087841"/>
                </a:lnTo>
                <a:lnTo>
                  <a:pt x="2201786" y="2047582"/>
                </a:lnTo>
                <a:lnTo>
                  <a:pt x="2211743" y="1998268"/>
                </a:lnTo>
                <a:lnTo>
                  <a:pt x="2201786" y="1948967"/>
                </a:lnTo>
                <a:lnTo>
                  <a:pt x="2174633" y="1908695"/>
                </a:lnTo>
                <a:lnTo>
                  <a:pt x="2134362" y="1881543"/>
                </a:lnTo>
                <a:lnTo>
                  <a:pt x="2085060" y="1871586"/>
                </a:lnTo>
                <a:lnTo>
                  <a:pt x="1607959" y="1871586"/>
                </a:lnTo>
                <a:lnTo>
                  <a:pt x="1595729" y="1825244"/>
                </a:lnTo>
                <a:lnTo>
                  <a:pt x="1585214" y="1777720"/>
                </a:lnTo>
                <a:lnTo>
                  <a:pt x="1576565" y="1729054"/>
                </a:lnTo>
                <a:lnTo>
                  <a:pt x="1569910" y="1679295"/>
                </a:lnTo>
                <a:lnTo>
                  <a:pt x="1565402" y="1628482"/>
                </a:lnTo>
                <a:lnTo>
                  <a:pt x="1563192" y="1576641"/>
                </a:lnTo>
                <a:lnTo>
                  <a:pt x="2688348" y="1576641"/>
                </a:lnTo>
                <a:lnTo>
                  <a:pt x="2737650" y="1566697"/>
                </a:lnTo>
                <a:lnTo>
                  <a:pt x="2777921" y="1539544"/>
                </a:lnTo>
                <a:lnTo>
                  <a:pt x="2805074" y="1499273"/>
                </a:lnTo>
                <a:lnTo>
                  <a:pt x="2815031" y="1449959"/>
                </a:lnTo>
                <a:close/>
              </a:path>
              <a:path w="4842509" h="4803140">
                <a:moveTo>
                  <a:pt x="3022498" y="1998268"/>
                </a:moveTo>
                <a:lnTo>
                  <a:pt x="3012541" y="1948967"/>
                </a:lnTo>
                <a:lnTo>
                  <a:pt x="2985389" y="1908695"/>
                </a:lnTo>
                <a:lnTo>
                  <a:pt x="2945130" y="1881543"/>
                </a:lnTo>
                <a:lnTo>
                  <a:pt x="2895816" y="1871586"/>
                </a:lnTo>
                <a:lnTo>
                  <a:pt x="2492959" y="1871586"/>
                </a:lnTo>
                <a:lnTo>
                  <a:pt x="2443645" y="1881543"/>
                </a:lnTo>
                <a:lnTo>
                  <a:pt x="2403373" y="1908695"/>
                </a:lnTo>
                <a:lnTo>
                  <a:pt x="2376220" y="1948967"/>
                </a:lnTo>
                <a:lnTo>
                  <a:pt x="2366264" y="1998268"/>
                </a:lnTo>
                <a:lnTo>
                  <a:pt x="2376220" y="2047582"/>
                </a:lnTo>
                <a:lnTo>
                  <a:pt x="2403373" y="2087854"/>
                </a:lnTo>
                <a:lnTo>
                  <a:pt x="2443645" y="2114994"/>
                </a:lnTo>
                <a:lnTo>
                  <a:pt x="2492959" y="2124951"/>
                </a:lnTo>
                <a:lnTo>
                  <a:pt x="2895816" y="2124951"/>
                </a:lnTo>
                <a:lnTo>
                  <a:pt x="2945130" y="2114994"/>
                </a:lnTo>
                <a:lnTo>
                  <a:pt x="2985389" y="2087854"/>
                </a:lnTo>
                <a:lnTo>
                  <a:pt x="3012541" y="2047582"/>
                </a:lnTo>
                <a:lnTo>
                  <a:pt x="3022498" y="1998268"/>
                </a:lnTo>
                <a:close/>
              </a:path>
              <a:path w="4842509" h="4803140">
                <a:moveTo>
                  <a:pt x="3290455" y="860463"/>
                </a:moveTo>
                <a:lnTo>
                  <a:pt x="3285413" y="815911"/>
                </a:lnTo>
                <a:lnTo>
                  <a:pt x="3271024" y="775017"/>
                </a:lnTo>
                <a:lnTo>
                  <a:pt x="3248456" y="738936"/>
                </a:lnTo>
                <a:lnTo>
                  <a:pt x="3218853" y="708850"/>
                </a:lnTo>
                <a:lnTo>
                  <a:pt x="3183344" y="685914"/>
                </a:lnTo>
                <a:lnTo>
                  <a:pt x="3143097" y="671296"/>
                </a:lnTo>
                <a:lnTo>
                  <a:pt x="3099257" y="666165"/>
                </a:lnTo>
                <a:lnTo>
                  <a:pt x="3055429" y="671296"/>
                </a:lnTo>
                <a:lnTo>
                  <a:pt x="3015183" y="685914"/>
                </a:lnTo>
                <a:lnTo>
                  <a:pt x="2979674" y="708850"/>
                </a:lnTo>
                <a:lnTo>
                  <a:pt x="2950070" y="738936"/>
                </a:lnTo>
                <a:lnTo>
                  <a:pt x="2927502" y="775017"/>
                </a:lnTo>
                <a:lnTo>
                  <a:pt x="2913113" y="815911"/>
                </a:lnTo>
                <a:lnTo>
                  <a:pt x="2908058" y="860463"/>
                </a:lnTo>
                <a:lnTo>
                  <a:pt x="2913113" y="905027"/>
                </a:lnTo>
                <a:lnTo>
                  <a:pt x="2927502" y="945921"/>
                </a:lnTo>
                <a:lnTo>
                  <a:pt x="2950070" y="982002"/>
                </a:lnTo>
                <a:lnTo>
                  <a:pt x="2979674" y="1012088"/>
                </a:lnTo>
                <a:lnTo>
                  <a:pt x="3015183" y="1035024"/>
                </a:lnTo>
                <a:lnTo>
                  <a:pt x="3055429" y="1049642"/>
                </a:lnTo>
                <a:lnTo>
                  <a:pt x="3099257" y="1054773"/>
                </a:lnTo>
                <a:lnTo>
                  <a:pt x="3143097" y="1049642"/>
                </a:lnTo>
                <a:lnTo>
                  <a:pt x="3183344" y="1035024"/>
                </a:lnTo>
                <a:lnTo>
                  <a:pt x="3218853" y="1012088"/>
                </a:lnTo>
                <a:lnTo>
                  <a:pt x="3248456" y="982002"/>
                </a:lnTo>
                <a:lnTo>
                  <a:pt x="3271024" y="945921"/>
                </a:lnTo>
                <a:lnTo>
                  <a:pt x="3285413" y="905027"/>
                </a:lnTo>
                <a:lnTo>
                  <a:pt x="3290455" y="860463"/>
                </a:lnTo>
                <a:close/>
              </a:path>
              <a:path w="4842509" h="4803140">
                <a:moveTo>
                  <a:pt x="3455378" y="1436839"/>
                </a:moveTo>
                <a:lnTo>
                  <a:pt x="3449624" y="1393291"/>
                </a:lnTo>
                <a:lnTo>
                  <a:pt x="3433368" y="1354150"/>
                </a:lnTo>
                <a:lnTo>
                  <a:pt x="3408159" y="1320990"/>
                </a:lnTo>
                <a:lnTo>
                  <a:pt x="3375533" y="1295374"/>
                </a:lnTo>
                <a:lnTo>
                  <a:pt x="3337026" y="1278864"/>
                </a:lnTo>
                <a:lnTo>
                  <a:pt x="3294164" y="1273009"/>
                </a:lnTo>
                <a:lnTo>
                  <a:pt x="3251314" y="1278864"/>
                </a:lnTo>
                <a:lnTo>
                  <a:pt x="3212795" y="1295374"/>
                </a:lnTo>
                <a:lnTo>
                  <a:pt x="3180169" y="1320990"/>
                </a:lnTo>
                <a:lnTo>
                  <a:pt x="3154959" y="1354150"/>
                </a:lnTo>
                <a:lnTo>
                  <a:pt x="3138716" y="1393291"/>
                </a:lnTo>
                <a:lnTo>
                  <a:pt x="3132950" y="1436839"/>
                </a:lnTo>
                <a:lnTo>
                  <a:pt x="3138716" y="1480388"/>
                </a:lnTo>
                <a:lnTo>
                  <a:pt x="3154959" y="1519529"/>
                </a:lnTo>
                <a:lnTo>
                  <a:pt x="3180169" y="1552689"/>
                </a:lnTo>
                <a:lnTo>
                  <a:pt x="3212795" y="1578305"/>
                </a:lnTo>
                <a:lnTo>
                  <a:pt x="3251314" y="1594815"/>
                </a:lnTo>
                <a:lnTo>
                  <a:pt x="3294164" y="1600669"/>
                </a:lnTo>
                <a:lnTo>
                  <a:pt x="3337026" y="1594815"/>
                </a:lnTo>
                <a:lnTo>
                  <a:pt x="3375533" y="1578305"/>
                </a:lnTo>
                <a:lnTo>
                  <a:pt x="3408159" y="1552689"/>
                </a:lnTo>
                <a:lnTo>
                  <a:pt x="3433368" y="1519529"/>
                </a:lnTo>
                <a:lnTo>
                  <a:pt x="3449624" y="1480388"/>
                </a:lnTo>
                <a:lnTo>
                  <a:pt x="3455378" y="1436839"/>
                </a:lnTo>
                <a:close/>
              </a:path>
              <a:path w="4842509" h="4803140">
                <a:moveTo>
                  <a:pt x="3677882" y="141617"/>
                </a:moveTo>
                <a:lnTo>
                  <a:pt x="3669868" y="91109"/>
                </a:lnTo>
                <a:lnTo>
                  <a:pt x="3647541" y="47244"/>
                </a:lnTo>
                <a:lnTo>
                  <a:pt x="3613505" y="12661"/>
                </a:lnTo>
                <a:lnTo>
                  <a:pt x="3589439" y="0"/>
                </a:lnTo>
                <a:lnTo>
                  <a:pt x="3451847" y="0"/>
                </a:lnTo>
                <a:lnTo>
                  <a:pt x="3427780" y="12661"/>
                </a:lnTo>
                <a:lnTo>
                  <a:pt x="3393744" y="47244"/>
                </a:lnTo>
                <a:lnTo>
                  <a:pt x="3371418" y="91109"/>
                </a:lnTo>
                <a:lnTo>
                  <a:pt x="3363404" y="141617"/>
                </a:lnTo>
                <a:lnTo>
                  <a:pt x="3371418" y="192125"/>
                </a:lnTo>
                <a:lnTo>
                  <a:pt x="3393744" y="235991"/>
                </a:lnTo>
                <a:lnTo>
                  <a:pt x="3427780" y="270573"/>
                </a:lnTo>
                <a:lnTo>
                  <a:pt x="3470935" y="293268"/>
                </a:lnTo>
                <a:lnTo>
                  <a:pt x="3520643" y="301409"/>
                </a:lnTo>
                <a:lnTo>
                  <a:pt x="3570338" y="293268"/>
                </a:lnTo>
                <a:lnTo>
                  <a:pt x="3613505" y="270573"/>
                </a:lnTo>
                <a:lnTo>
                  <a:pt x="3647541" y="235991"/>
                </a:lnTo>
                <a:lnTo>
                  <a:pt x="3669868" y="192125"/>
                </a:lnTo>
                <a:lnTo>
                  <a:pt x="3677882" y="141617"/>
                </a:lnTo>
                <a:close/>
              </a:path>
              <a:path w="4842509" h="4803140">
                <a:moveTo>
                  <a:pt x="3887127" y="709460"/>
                </a:moveTo>
                <a:lnTo>
                  <a:pt x="3882085" y="664908"/>
                </a:lnTo>
                <a:lnTo>
                  <a:pt x="3867696" y="624001"/>
                </a:lnTo>
                <a:lnTo>
                  <a:pt x="3845128" y="587933"/>
                </a:lnTo>
                <a:lnTo>
                  <a:pt x="3815524" y="557834"/>
                </a:lnTo>
                <a:lnTo>
                  <a:pt x="3780015" y="534898"/>
                </a:lnTo>
                <a:lnTo>
                  <a:pt x="3739769" y="520280"/>
                </a:lnTo>
                <a:lnTo>
                  <a:pt x="3695928" y="515150"/>
                </a:lnTo>
                <a:lnTo>
                  <a:pt x="3652101" y="520280"/>
                </a:lnTo>
                <a:lnTo>
                  <a:pt x="3611854" y="534898"/>
                </a:lnTo>
                <a:lnTo>
                  <a:pt x="3576345" y="557834"/>
                </a:lnTo>
                <a:lnTo>
                  <a:pt x="3546741" y="587933"/>
                </a:lnTo>
                <a:lnTo>
                  <a:pt x="3524173" y="624001"/>
                </a:lnTo>
                <a:lnTo>
                  <a:pt x="3509784" y="664908"/>
                </a:lnTo>
                <a:lnTo>
                  <a:pt x="3504730" y="709460"/>
                </a:lnTo>
                <a:lnTo>
                  <a:pt x="3509784" y="754011"/>
                </a:lnTo>
                <a:lnTo>
                  <a:pt x="3524173" y="794918"/>
                </a:lnTo>
                <a:lnTo>
                  <a:pt x="3546741" y="830986"/>
                </a:lnTo>
                <a:lnTo>
                  <a:pt x="3576345" y="861085"/>
                </a:lnTo>
                <a:lnTo>
                  <a:pt x="3611854" y="884021"/>
                </a:lnTo>
                <a:lnTo>
                  <a:pt x="3652101" y="898639"/>
                </a:lnTo>
                <a:lnTo>
                  <a:pt x="3695928" y="903770"/>
                </a:lnTo>
                <a:lnTo>
                  <a:pt x="3739769" y="898639"/>
                </a:lnTo>
                <a:lnTo>
                  <a:pt x="3780015" y="884021"/>
                </a:lnTo>
                <a:lnTo>
                  <a:pt x="3815524" y="861085"/>
                </a:lnTo>
                <a:lnTo>
                  <a:pt x="3845128" y="830986"/>
                </a:lnTo>
                <a:lnTo>
                  <a:pt x="3867696" y="794918"/>
                </a:lnTo>
                <a:lnTo>
                  <a:pt x="3882085" y="754011"/>
                </a:lnTo>
                <a:lnTo>
                  <a:pt x="3887127" y="709460"/>
                </a:lnTo>
                <a:close/>
              </a:path>
              <a:path w="4842509" h="4803140">
                <a:moveTo>
                  <a:pt x="4802949" y="2817431"/>
                </a:moveTo>
                <a:lnTo>
                  <a:pt x="4797895" y="2772880"/>
                </a:lnTo>
                <a:lnTo>
                  <a:pt x="4783518" y="2731973"/>
                </a:lnTo>
                <a:lnTo>
                  <a:pt x="4760950" y="2695892"/>
                </a:lnTo>
                <a:lnTo>
                  <a:pt x="4731334" y="2665806"/>
                </a:lnTo>
                <a:lnTo>
                  <a:pt x="4695837" y="2642870"/>
                </a:lnTo>
                <a:lnTo>
                  <a:pt x="4655591" y="2628252"/>
                </a:lnTo>
                <a:lnTo>
                  <a:pt x="4611751" y="2623121"/>
                </a:lnTo>
                <a:lnTo>
                  <a:pt x="4567910" y="2628252"/>
                </a:lnTo>
                <a:lnTo>
                  <a:pt x="4527664" y="2642870"/>
                </a:lnTo>
                <a:lnTo>
                  <a:pt x="4492168" y="2665806"/>
                </a:lnTo>
                <a:lnTo>
                  <a:pt x="4462551" y="2695892"/>
                </a:lnTo>
                <a:lnTo>
                  <a:pt x="4439983" y="2731973"/>
                </a:lnTo>
                <a:lnTo>
                  <a:pt x="4425607" y="2772880"/>
                </a:lnTo>
                <a:lnTo>
                  <a:pt x="4420552" y="2817431"/>
                </a:lnTo>
                <a:lnTo>
                  <a:pt x="4425607" y="2861983"/>
                </a:lnTo>
                <a:lnTo>
                  <a:pt x="4439983" y="2902877"/>
                </a:lnTo>
                <a:lnTo>
                  <a:pt x="4462551" y="2938957"/>
                </a:lnTo>
                <a:lnTo>
                  <a:pt x="4492168" y="2969056"/>
                </a:lnTo>
                <a:lnTo>
                  <a:pt x="4527664" y="2991993"/>
                </a:lnTo>
                <a:lnTo>
                  <a:pt x="4567910" y="3006610"/>
                </a:lnTo>
                <a:lnTo>
                  <a:pt x="4611751" y="3011741"/>
                </a:lnTo>
                <a:lnTo>
                  <a:pt x="4655591" y="3006610"/>
                </a:lnTo>
                <a:lnTo>
                  <a:pt x="4695837" y="2991993"/>
                </a:lnTo>
                <a:lnTo>
                  <a:pt x="4731334" y="2969056"/>
                </a:lnTo>
                <a:lnTo>
                  <a:pt x="4760950" y="2938957"/>
                </a:lnTo>
                <a:lnTo>
                  <a:pt x="4783518" y="2902877"/>
                </a:lnTo>
                <a:lnTo>
                  <a:pt x="4797895" y="2861983"/>
                </a:lnTo>
                <a:lnTo>
                  <a:pt x="4802949" y="2817431"/>
                </a:lnTo>
                <a:close/>
              </a:path>
              <a:path w="4842509" h="4803140">
                <a:moveTo>
                  <a:pt x="4841951" y="3202800"/>
                </a:moveTo>
                <a:lnTo>
                  <a:pt x="4773104" y="3204997"/>
                </a:lnTo>
                <a:lnTo>
                  <a:pt x="4732858" y="3219615"/>
                </a:lnTo>
                <a:lnTo>
                  <a:pt x="4697349" y="3242551"/>
                </a:lnTo>
                <a:lnTo>
                  <a:pt x="4667745" y="3272650"/>
                </a:lnTo>
                <a:lnTo>
                  <a:pt x="4645177" y="3308718"/>
                </a:lnTo>
                <a:lnTo>
                  <a:pt x="4630788" y="3349625"/>
                </a:lnTo>
                <a:lnTo>
                  <a:pt x="4625746" y="3394176"/>
                </a:lnTo>
                <a:lnTo>
                  <a:pt x="4630788" y="3438728"/>
                </a:lnTo>
                <a:lnTo>
                  <a:pt x="4645177" y="3479635"/>
                </a:lnTo>
                <a:lnTo>
                  <a:pt x="4667745" y="3515703"/>
                </a:lnTo>
                <a:lnTo>
                  <a:pt x="4697349" y="3545802"/>
                </a:lnTo>
                <a:lnTo>
                  <a:pt x="4732858" y="3568738"/>
                </a:lnTo>
                <a:lnTo>
                  <a:pt x="4773104" y="3583355"/>
                </a:lnTo>
                <a:lnTo>
                  <a:pt x="4816945" y="3588486"/>
                </a:lnTo>
                <a:lnTo>
                  <a:pt x="4841951" y="3585553"/>
                </a:lnTo>
                <a:lnTo>
                  <a:pt x="4841951" y="3202800"/>
                </a:lnTo>
                <a:close/>
              </a:path>
              <a:path w="4842509" h="4803140">
                <a:moveTo>
                  <a:pt x="4841951" y="1842350"/>
                </a:moveTo>
                <a:lnTo>
                  <a:pt x="4807712" y="1875828"/>
                </a:lnTo>
                <a:lnTo>
                  <a:pt x="4783315" y="1910905"/>
                </a:lnTo>
                <a:lnTo>
                  <a:pt x="4765014" y="1950059"/>
                </a:lnTo>
                <a:lnTo>
                  <a:pt x="4753534" y="1992579"/>
                </a:lnTo>
                <a:lnTo>
                  <a:pt x="4749546" y="2037765"/>
                </a:lnTo>
                <a:lnTo>
                  <a:pt x="4753534" y="2082939"/>
                </a:lnTo>
                <a:lnTo>
                  <a:pt x="4765014" y="2125459"/>
                </a:lnTo>
                <a:lnTo>
                  <a:pt x="4783315" y="2164626"/>
                </a:lnTo>
                <a:lnTo>
                  <a:pt x="4807712" y="2199703"/>
                </a:lnTo>
                <a:lnTo>
                  <a:pt x="4837519" y="2229993"/>
                </a:lnTo>
                <a:lnTo>
                  <a:pt x="4841951" y="2233180"/>
                </a:lnTo>
                <a:lnTo>
                  <a:pt x="4841951" y="1842350"/>
                </a:lnTo>
                <a:close/>
              </a:path>
              <a:path w="4842509" h="4803140">
                <a:moveTo>
                  <a:pt x="4841951" y="573493"/>
                </a:moveTo>
                <a:lnTo>
                  <a:pt x="4189387" y="573493"/>
                </a:lnTo>
                <a:lnTo>
                  <a:pt x="4140073" y="583450"/>
                </a:lnTo>
                <a:lnTo>
                  <a:pt x="4099814" y="610603"/>
                </a:lnTo>
                <a:lnTo>
                  <a:pt x="4072674" y="650875"/>
                </a:lnTo>
                <a:lnTo>
                  <a:pt x="4062730" y="700176"/>
                </a:lnTo>
                <a:lnTo>
                  <a:pt x="4072674" y="749490"/>
                </a:lnTo>
                <a:lnTo>
                  <a:pt x="4099814" y="789749"/>
                </a:lnTo>
                <a:lnTo>
                  <a:pt x="4140073" y="816902"/>
                </a:lnTo>
                <a:lnTo>
                  <a:pt x="4189387" y="826858"/>
                </a:lnTo>
                <a:lnTo>
                  <a:pt x="4767542" y="826858"/>
                </a:lnTo>
                <a:lnTo>
                  <a:pt x="4736668" y="864552"/>
                </a:lnTo>
                <a:lnTo>
                  <a:pt x="4705045" y="902195"/>
                </a:lnTo>
                <a:lnTo>
                  <a:pt x="4672723" y="939787"/>
                </a:lnTo>
                <a:lnTo>
                  <a:pt x="4639742" y="977303"/>
                </a:lnTo>
                <a:lnTo>
                  <a:pt x="4606137" y="1014742"/>
                </a:lnTo>
                <a:lnTo>
                  <a:pt x="4571949" y="1052106"/>
                </a:lnTo>
                <a:lnTo>
                  <a:pt x="4537214" y="1089380"/>
                </a:lnTo>
                <a:lnTo>
                  <a:pt x="4501985" y="1126578"/>
                </a:lnTo>
                <a:lnTo>
                  <a:pt x="4466285" y="1163675"/>
                </a:lnTo>
                <a:lnTo>
                  <a:pt x="4430166" y="1200658"/>
                </a:lnTo>
                <a:lnTo>
                  <a:pt x="4393654" y="1237538"/>
                </a:lnTo>
                <a:lnTo>
                  <a:pt x="4356811" y="1274305"/>
                </a:lnTo>
                <a:lnTo>
                  <a:pt x="4319663" y="1310957"/>
                </a:lnTo>
                <a:lnTo>
                  <a:pt x="4282249" y="1347470"/>
                </a:lnTo>
                <a:lnTo>
                  <a:pt x="4206786" y="1420114"/>
                </a:lnTo>
                <a:lnTo>
                  <a:pt x="4092625" y="1527962"/>
                </a:lnTo>
                <a:lnTo>
                  <a:pt x="3735552" y="1858314"/>
                </a:lnTo>
                <a:lnTo>
                  <a:pt x="3567468" y="2015528"/>
                </a:lnTo>
                <a:lnTo>
                  <a:pt x="3485985" y="2093442"/>
                </a:lnTo>
                <a:lnTo>
                  <a:pt x="3446056" y="2132241"/>
                </a:lnTo>
                <a:lnTo>
                  <a:pt x="3406711" y="2170925"/>
                </a:lnTo>
                <a:lnTo>
                  <a:pt x="3368014" y="2209508"/>
                </a:lnTo>
                <a:lnTo>
                  <a:pt x="3330003" y="2247989"/>
                </a:lnTo>
                <a:lnTo>
                  <a:pt x="3292716" y="2286381"/>
                </a:lnTo>
                <a:lnTo>
                  <a:pt x="3256216" y="2324658"/>
                </a:lnTo>
                <a:lnTo>
                  <a:pt x="3220529" y="2362860"/>
                </a:lnTo>
                <a:lnTo>
                  <a:pt x="3185718" y="2400960"/>
                </a:lnTo>
                <a:lnTo>
                  <a:pt x="3151809" y="2438971"/>
                </a:lnTo>
                <a:lnTo>
                  <a:pt x="3118866" y="2476893"/>
                </a:lnTo>
                <a:lnTo>
                  <a:pt x="3086925" y="2514727"/>
                </a:lnTo>
                <a:lnTo>
                  <a:pt x="3056039" y="2552484"/>
                </a:lnTo>
                <a:lnTo>
                  <a:pt x="3026245" y="2590165"/>
                </a:lnTo>
                <a:lnTo>
                  <a:pt x="2997581" y="2627757"/>
                </a:lnTo>
                <a:lnTo>
                  <a:pt x="2970111" y="2665285"/>
                </a:lnTo>
                <a:lnTo>
                  <a:pt x="2943860" y="2702737"/>
                </a:lnTo>
                <a:lnTo>
                  <a:pt x="2918904" y="2740126"/>
                </a:lnTo>
                <a:lnTo>
                  <a:pt x="2895257" y="2777439"/>
                </a:lnTo>
                <a:lnTo>
                  <a:pt x="2872981" y="2814688"/>
                </a:lnTo>
                <a:lnTo>
                  <a:pt x="2852102" y="2851874"/>
                </a:lnTo>
                <a:lnTo>
                  <a:pt x="2832697" y="2888996"/>
                </a:lnTo>
                <a:lnTo>
                  <a:pt x="2814790" y="2926054"/>
                </a:lnTo>
                <a:lnTo>
                  <a:pt x="2798432" y="2963075"/>
                </a:lnTo>
                <a:lnTo>
                  <a:pt x="2783662" y="3000032"/>
                </a:lnTo>
                <a:lnTo>
                  <a:pt x="2770543" y="3036938"/>
                </a:lnTo>
                <a:lnTo>
                  <a:pt x="2749334" y="3105696"/>
                </a:lnTo>
                <a:lnTo>
                  <a:pt x="2731732" y="3173577"/>
                </a:lnTo>
                <a:lnTo>
                  <a:pt x="2717584" y="3240532"/>
                </a:lnTo>
                <a:lnTo>
                  <a:pt x="2706751" y="3306546"/>
                </a:lnTo>
                <a:lnTo>
                  <a:pt x="2699054" y="3371558"/>
                </a:lnTo>
                <a:lnTo>
                  <a:pt x="2694368" y="3435553"/>
                </a:lnTo>
                <a:lnTo>
                  <a:pt x="2692539" y="3498481"/>
                </a:lnTo>
                <a:lnTo>
                  <a:pt x="2693416" y="3560318"/>
                </a:lnTo>
                <a:lnTo>
                  <a:pt x="2696845" y="3621024"/>
                </a:lnTo>
                <a:lnTo>
                  <a:pt x="2702687" y="3680549"/>
                </a:lnTo>
                <a:lnTo>
                  <a:pt x="2710777" y="3738880"/>
                </a:lnTo>
                <a:lnTo>
                  <a:pt x="2720975" y="3795979"/>
                </a:lnTo>
                <a:lnTo>
                  <a:pt x="2733116" y="3851795"/>
                </a:lnTo>
                <a:lnTo>
                  <a:pt x="2747073" y="3906291"/>
                </a:lnTo>
                <a:lnTo>
                  <a:pt x="2762681" y="3959453"/>
                </a:lnTo>
                <a:lnTo>
                  <a:pt x="2779801" y="4011231"/>
                </a:lnTo>
                <a:lnTo>
                  <a:pt x="2798267" y="4061587"/>
                </a:lnTo>
                <a:lnTo>
                  <a:pt x="2817952" y="4110494"/>
                </a:lnTo>
                <a:lnTo>
                  <a:pt x="2838678" y="4157903"/>
                </a:lnTo>
                <a:lnTo>
                  <a:pt x="2860319" y="4203801"/>
                </a:lnTo>
                <a:lnTo>
                  <a:pt x="2882709" y="4248137"/>
                </a:lnTo>
                <a:lnTo>
                  <a:pt x="2905709" y="4290860"/>
                </a:lnTo>
                <a:lnTo>
                  <a:pt x="2929166" y="4331970"/>
                </a:lnTo>
                <a:lnTo>
                  <a:pt x="2952927" y="4371403"/>
                </a:lnTo>
                <a:lnTo>
                  <a:pt x="2976854" y="4409135"/>
                </a:lnTo>
                <a:lnTo>
                  <a:pt x="3000768" y="4445127"/>
                </a:lnTo>
                <a:lnTo>
                  <a:pt x="3024555" y="4479353"/>
                </a:lnTo>
                <a:lnTo>
                  <a:pt x="3048038" y="4511764"/>
                </a:lnTo>
                <a:lnTo>
                  <a:pt x="3071076" y="4542320"/>
                </a:lnTo>
                <a:lnTo>
                  <a:pt x="3115233" y="4597768"/>
                </a:lnTo>
                <a:lnTo>
                  <a:pt x="3155810" y="4645406"/>
                </a:lnTo>
                <a:lnTo>
                  <a:pt x="3191624" y="4684941"/>
                </a:lnTo>
                <a:lnTo>
                  <a:pt x="3221456" y="4716094"/>
                </a:lnTo>
                <a:lnTo>
                  <a:pt x="3252393" y="4746498"/>
                </a:lnTo>
                <a:lnTo>
                  <a:pt x="3289871" y="4776190"/>
                </a:lnTo>
                <a:lnTo>
                  <a:pt x="3352101" y="4799800"/>
                </a:lnTo>
                <a:lnTo>
                  <a:pt x="3384816" y="4802733"/>
                </a:lnTo>
                <a:lnTo>
                  <a:pt x="3422065" y="4798923"/>
                </a:lnTo>
                <a:lnTo>
                  <a:pt x="3491369" y="4768710"/>
                </a:lnTo>
                <a:lnTo>
                  <a:pt x="3520922" y="4742446"/>
                </a:lnTo>
                <a:lnTo>
                  <a:pt x="3548837" y="4701959"/>
                </a:lnTo>
                <a:lnTo>
                  <a:pt x="3564598" y="4657090"/>
                </a:lnTo>
                <a:lnTo>
                  <a:pt x="3568331" y="4610303"/>
                </a:lnTo>
                <a:lnTo>
                  <a:pt x="3560165" y="4564062"/>
                </a:lnTo>
                <a:lnTo>
                  <a:pt x="3540239" y="4520857"/>
                </a:lnTo>
                <a:lnTo>
                  <a:pt x="3508654" y="4483138"/>
                </a:lnTo>
                <a:lnTo>
                  <a:pt x="3500399" y="4475378"/>
                </a:lnTo>
                <a:lnTo>
                  <a:pt x="3484295" y="4459541"/>
                </a:lnTo>
                <a:lnTo>
                  <a:pt x="3433026" y="4404792"/>
                </a:lnTo>
                <a:lnTo>
                  <a:pt x="3400107" y="4366463"/>
                </a:lnTo>
                <a:lnTo>
                  <a:pt x="3363798" y="4321213"/>
                </a:lnTo>
                <a:lnTo>
                  <a:pt x="3325253" y="4269359"/>
                </a:lnTo>
                <a:lnTo>
                  <a:pt x="3285566" y="4211167"/>
                </a:lnTo>
                <a:lnTo>
                  <a:pt x="3245878" y="4146956"/>
                </a:lnTo>
                <a:lnTo>
                  <a:pt x="3207283" y="4077004"/>
                </a:lnTo>
                <a:lnTo>
                  <a:pt x="3803065" y="4077004"/>
                </a:lnTo>
                <a:lnTo>
                  <a:pt x="3852380" y="4067048"/>
                </a:lnTo>
                <a:lnTo>
                  <a:pt x="3892639" y="4039895"/>
                </a:lnTo>
                <a:lnTo>
                  <a:pt x="3919766" y="3999623"/>
                </a:lnTo>
                <a:lnTo>
                  <a:pt x="3929723" y="3950322"/>
                </a:lnTo>
                <a:lnTo>
                  <a:pt x="3919766" y="3901008"/>
                </a:lnTo>
                <a:lnTo>
                  <a:pt x="3892639" y="3860736"/>
                </a:lnTo>
                <a:lnTo>
                  <a:pt x="3852380" y="3833596"/>
                </a:lnTo>
                <a:lnTo>
                  <a:pt x="3803065" y="3823639"/>
                </a:lnTo>
                <a:lnTo>
                  <a:pt x="3106051" y="3823639"/>
                </a:lnTo>
                <a:lnTo>
                  <a:pt x="3093821" y="3777284"/>
                </a:lnTo>
                <a:lnTo>
                  <a:pt x="3083318" y="3729761"/>
                </a:lnTo>
                <a:lnTo>
                  <a:pt x="3074657" y="3681095"/>
                </a:lnTo>
                <a:lnTo>
                  <a:pt x="3068002" y="3631336"/>
                </a:lnTo>
                <a:lnTo>
                  <a:pt x="3063494" y="3580523"/>
                </a:lnTo>
                <a:lnTo>
                  <a:pt x="3061284" y="3528695"/>
                </a:lnTo>
                <a:lnTo>
                  <a:pt x="4186415" y="3528695"/>
                </a:lnTo>
                <a:lnTo>
                  <a:pt x="4235729" y="3518738"/>
                </a:lnTo>
                <a:lnTo>
                  <a:pt x="4275988" y="3491585"/>
                </a:lnTo>
                <a:lnTo>
                  <a:pt x="4303128" y="3451326"/>
                </a:lnTo>
                <a:lnTo>
                  <a:pt x="4313072" y="3402012"/>
                </a:lnTo>
                <a:lnTo>
                  <a:pt x="4303128" y="3352711"/>
                </a:lnTo>
                <a:lnTo>
                  <a:pt x="4275988" y="3312439"/>
                </a:lnTo>
                <a:lnTo>
                  <a:pt x="4235729" y="3285286"/>
                </a:lnTo>
                <a:lnTo>
                  <a:pt x="4186415" y="3275330"/>
                </a:lnTo>
                <a:lnTo>
                  <a:pt x="3085935" y="3275330"/>
                </a:lnTo>
                <a:lnTo>
                  <a:pt x="3092831" y="3245078"/>
                </a:lnTo>
                <a:lnTo>
                  <a:pt x="3109315" y="3183979"/>
                </a:lnTo>
                <a:lnTo>
                  <a:pt x="3133902" y="3113087"/>
                </a:lnTo>
                <a:lnTo>
                  <a:pt x="3151809" y="3072396"/>
                </a:lnTo>
                <a:lnTo>
                  <a:pt x="3172637" y="3031083"/>
                </a:lnTo>
                <a:lnTo>
                  <a:pt x="3196209" y="2989161"/>
                </a:lnTo>
                <a:lnTo>
                  <a:pt x="3222371" y="2946666"/>
                </a:lnTo>
                <a:lnTo>
                  <a:pt x="3222929" y="2946666"/>
                </a:lnTo>
                <a:lnTo>
                  <a:pt x="3223450" y="2946831"/>
                </a:lnTo>
                <a:lnTo>
                  <a:pt x="4085818" y="2946831"/>
                </a:lnTo>
                <a:lnTo>
                  <a:pt x="4086631" y="2946666"/>
                </a:lnTo>
                <a:lnTo>
                  <a:pt x="4135132" y="2936875"/>
                </a:lnTo>
                <a:lnTo>
                  <a:pt x="4175391" y="2909722"/>
                </a:lnTo>
                <a:lnTo>
                  <a:pt x="4202519" y="2869450"/>
                </a:lnTo>
                <a:lnTo>
                  <a:pt x="4212475" y="2820149"/>
                </a:lnTo>
                <a:lnTo>
                  <a:pt x="4202519" y="2770835"/>
                </a:lnTo>
                <a:lnTo>
                  <a:pt x="4175391" y="2730563"/>
                </a:lnTo>
                <a:lnTo>
                  <a:pt x="4135132" y="2703423"/>
                </a:lnTo>
                <a:lnTo>
                  <a:pt x="4085818" y="2693466"/>
                </a:lnTo>
                <a:lnTo>
                  <a:pt x="3416541" y="2693466"/>
                </a:lnTo>
                <a:lnTo>
                  <a:pt x="3446754" y="2659380"/>
                </a:lnTo>
                <a:lnTo>
                  <a:pt x="3477958" y="2625026"/>
                </a:lnTo>
                <a:lnTo>
                  <a:pt x="3510102" y="2590444"/>
                </a:lnTo>
                <a:lnTo>
                  <a:pt x="3543135" y="2555608"/>
                </a:lnTo>
                <a:lnTo>
                  <a:pt x="3577018" y="2520543"/>
                </a:lnTo>
                <a:lnTo>
                  <a:pt x="3611702" y="2485263"/>
                </a:lnTo>
                <a:lnTo>
                  <a:pt x="3647122" y="2449753"/>
                </a:lnTo>
                <a:lnTo>
                  <a:pt x="3683254" y="2414041"/>
                </a:lnTo>
                <a:lnTo>
                  <a:pt x="3720046" y="2378125"/>
                </a:lnTo>
                <a:lnTo>
                  <a:pt x="3795395" y="2305697"/>
                </a:lnTo>
                <a:lnTo>
                  <a:pt x="3912184" y="2195715"/>
                </a:lnTo>
                <a:lnTo>
                  <a:pt x="4351325" y="1789176"/>
                </a:lnTo>
                <a:lnTo>
                  <a:pt x="4468863" y="1678254"/>
                </a:lnTo>
                <a:lnTo>
                  <a:pt x="4546206" y="1603908"/>
                </a:lnTo>
                <a:lnTo>
                  <a:pt x="4584484" y="1566621"/>
                </a:lnTo>
                <a:lnTo>
                  <a:pt x="4622444" y="1529245"/>
                </a:lnTo>
                <a:lnTo>
                  <a:pt x="4660087" y="1491767"/>
                </a:lnTo>
                <a:lnTo>
                  <a:pt x="4697361" y="1454213"/>
                </a:lnTo>
                <a:lnTo>
                  <a:pt x="4734242" y="1416545"/>
                </a:lnTo>
                <a:lnTo>
                  <a:pt x="4770691" y="1378788"/>
                </a:lnTo>
                <a:lnTo>
                  <a:pt x="4806696" y="1340929"/>
                </a:lnTo>
                <a:lnTo>
                  <a:pt x="4841951" y="1303248"/>
                </a:lnTo>
                <a:lnTo>
                  <a:pt x="4841951" y="573493"/>
                </a:lnTo>
                <a:close/>
              </a:path>
              <a:path w="4842509" h="4803140">
                <a:moveTo>
                  <a:pt x="4841951" y="12"/>
                </a:moveTo>
                <a:lnTo>
                  <a:pt x="4128516" y="12"/>
                </a:lnTo>
                <a:lnTo>
                  <a:pt x="4084472" y="8902"/>
                </a:lnTo>
                <a:lnTo>
                  <a:pt x="4044213" y="36055"/>
                </a:lnTo>
                <a:lnTo>
                  <a:pt x="4017073" y="76327"/>
                </a:lnTo>
                <a:lnTo>
                  <a:pt x="4007129" y="125628"/>
                </a:lnTo>
                <a:lnTo>
                  <a:pt x="4017073" y="174942"/>
                </a:lnTo>
                <a:lnTo>
                  <a:pt x="4044213" y="215214"/>
                </a:lnTo>
                <a:lnTo>
                  <a:pt x="4084472" y="242366"/>
                </a:lnTo>
                <a:lnTo>
                  <a:pt x="4133786" y="252323"/>
                </a:lnTo>
                <a:lnTo>
                  <a:pt x="4841951" y="252323"/>
                </a:lnTo>
                <a:lnTo>
                  <a:pt x="4841951" y="12"/>
                </a:lnTo>
                <a:close/>
              </a:path>
            </a:pathLst>
          </a:custGeom>
          <a:solidFill>
            <a:srgbClr val="9D62E2"/>
          </a:solidFill>
        </p:spPr>
        <p:txBody>
          <a:bodyPr wrap="square" lIns="0" tIns="0" rIns="0" bIns="0" rtlCol="0"/>
          <a:lstStyle/>
          <a:p>
            <a:endParaRPr/>
          </a:p>
        </p:txBody>
      </p:sp>
    </p:spTree>
    <p:extLst>
      <p:ext uri="{BB962C8B-B14F-4D97-AF65-F5344CB8AC3E}">
        <p14:creationId xmlns:p14="http://schemas.microsoft.com/office/powerpoint/2010/main" val="16534348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 Gre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0E5D39-85A3-5569-2D74-ED9FD02ED54A}"/>
              </a:ext>
            </a:extLst>
          </p:cNvPr>
          <p:cNvSpPr>
            <a:spLocks noGrp="1"/>
          </p:cNvSpPr>
          <p:nvPr>
            <p:ph type="title"/>
          </p:nvPr>
        </p:nvSpPr>
        <p:spPr/>
        <p:txBody>
          <a:bodyPr/>
          <a:lstStyle>
            <a:lvl1pPr>
              <a:defRPr>
                <a:solidFill>
                  <a:schemeClr val="accent1"/>
                </a:solidFill>
              </a:defRPr>
            </a:lvl1pPr>
          </a:lstStyle>
          <a:p>
            <a:r>
              <a:rPr lang="en-GB"/>
              <a:t>Click to edit Master title style</a:t>
            </a:r>
            <a:endParaRPr lang="en-GB" dirty="0"/>
          </a:p>
        </p:txBody>
      </p:sp>
      <p:sp>
        <p:nvSpPr>
          <p:cNvPr id="3" name="Content Placeholder 2">
            <a:extLst>
              <a:ext uri="{FF2B5EF4-FFF2-40B4-BE49-F238E27FC236}">
                <a16:creationId xmlns:a16="http://schemas.microsoft.com/office/drawing/2014/main" id="{6B5854E6-5AFC-01CC-D39F-952023040195}"/>
              </a:ext>
            </a:extLst>
          </p:cNvPr>
          <p:cNvSpPr>
            <a:spLocks noGrp="1"/>
          </p:cNvSpPr>
          <p:nvPr>
            <p:ph idx="1"/>
          </p:nvPr>
        </p:nvSpPr>
        <p:spPr>
          <a:xfrm>
            <a:off x="751840" y="1825625"/>
            <a:ext cx="10703150" cy="3772535"/>
          </a:xfrm>
          <a:prstGeom prst="rect">
            <a:avLst/>
          </a:prstGeom>
        </p:spPr>
        <p:txBody>
          <a:bodyPr/>
          <a:lstStyle>
            <a:lvl1pPr>
              <a:defRPr>
                <a:latin typeface="Quicksand" pitchFamily="2" charset="0"/>
              </a:defRPr>
            </a:lvl1pPr>
            <a:lvl2pPr marL="182563" indent="-182563">
              <a:buClr>
                <a:schemeClr val="accent1"/>
              </a:buClr>
              <a:buFont typeface="Arial" panose="020B0604020202020204" pitchFamily="34" charset="0"/>
              <a:buChar char="•"/>
              <a:defRPr>
                <a:latin typeface="Quicksand" pitchFamily="2" charset="0"/>
              </a:defRPr>
            </a:lvl2pPr>
            <a:lvl3pPr marL="684000" indent="-182563">
              <a:buClr>
                <a:schemeClr val="accent1"/>
              </a:buClr>
              <a:buFont typeface="System Font Regular"/>
              <a:buChar char="-"/>
              <a:defRPr>
                <a:latin typeface="Quicksand" pitchFamily="2" charset="0"/>
              </a:defRPr>
            </a:lvl3pPr>
            <a:lvl4pPr marL="1368000" indent="-182563">
              <a:buClr>
                <a:schemeClr val="accent1"/>
              </a:buClr>
              <a:buFont typeface="Arial" panose="020B0604020202020204" pitchFamily="34" charset="0"/>
              <a:buChar char="•"/>
              <a:defRPr>
                <a:latin typeface="Quicksand" pitchFamily="2" charset="0"/>
              </a:defRPr>
            </a:lvl4pPr>
            <a:lvl5pPr marL="2052000" indent="-182563">
              <a:buClr>
                <a:schemeClr val="accent1"/>
              </a:buClr>
              <a:buFont typeface="System Font Regular"/>
              <a:buChar char="-"/>
              <a:defRPr>
                <a:latin typeface="Quicksand"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Footer Placeholder 4">
            <a:extLst>
              <a:ext uri="{FF2B5EF4-FFF2-40B4-BE49-F238E27FC236}">
                <a16:creationId xmlns:a16="http://schemas.microsoft.com/office/drawing/2014/main" id="{D12CE7DC-3D38-24CE-2865-100D1D0D32C9}"/>
              </a:ext>
            </a:extLst>
          </p:cNvPr>
          <p:cNvSpPr>
            <a:spLocks noGrp="1"/>
          </p:cNvSpPr>
          <p:nvPr>
            <p:ph type="ftr" sz="quarter" idx="3"/>
          </p:nvPr>
        </p:nvSpPr>
        <p:spPr>
          <a:xfrm>
            <a:off x="751840" y="6114954"/>
            <a:ext cx="8904068" cy="365125"/>
          </a:xfrm>
          <a:prstGeom prst="rect">
            <a:avLst/>
          </a:prstGeom>
        </p:spPr>
        <p:txBody>
          <a:bodyPr/>
          <a:lstStyle>
            <a:lvl1pPr>
              <a:defRPr>
                <a:solidFill>
                  <a:schemeClr val="bg2"/>
                </a:solidFill>
              </a:defRPr>
            </a:lvl1pPr>
          </a:lstStyle>
          <a:p>
            <a:endParaRPr lang="en-GB" dirty="0"/>
          </a:p>
        </p:txBody>
      </p:sp>
    </p:spTree>
    <p:extLst>
      <p:ext uri="{BB962C8B-B14F-4D97-AF65-F5344CB8AC3E}">
        <p14:creationId xmlns:p14="http://schemas.microsoft.com/office/powerpoint/2010/main" val="13425303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2D00DCAC-C40F-C3B9-F022-BCEE66A66A0B}"/>
              </a:ext>
            </a:extLst>
          </p:cNvPr>
          <p:cNvSpPr/>
          <p:nvPr userDrawn="1"/>
        </p:nvSpPr>
        <p:spPr>
          <a:xfrm>
            <a:off x="0" y="-4957"/>
            <a:ext cx="12197847" cy="6908925"/>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chemeClr val="accent1"/>
          </a:solidFill>
        </p:spPr>
        <p:txBody>
          <a:bodyPr wrap="square" lIns="0" tIns="0" rIns="0" bIns="0" rtlCol="0"/>
          <a:lstStyle/>
          <a:p>
            <a:endParaRPr sz="2000"/>
          </a:p>
        </p:txBody>
      </p:sp>
      <p:sp>
        <p:nvSpPr>
          <p:cNvPr id="3" name="Text Placeholder 2">
            <a:extLst>
              <a:ext uri="{FF2B5EF4-FFF2-40B4-BE49-F238E27FC236}">
                <a16:creationId xmlns:a16="http://schemas.microsoft.com/office/drawing/2014/main" id="{5ADC4885-E653-9F9B-1C72-2AA34FCB44D8}"/>
              </a:ext>
            </a:extLst>
          </p:cNvPr>
          <p:cNvSpPr>
            <a:spLocks noGrp="1"/>
          </p:cNvSpPr>
          <p:nvPr userDrawn="1">
            <p:ph type="body" idx="1"/>
          </p:nvPr>
        </p:nvSpPr>
        <p:spPr>
          <a:xfrm>
            <a:off x="735724" y="2184400"/>
            <a:ext cx="5360276" cy="3840480"/>
          </a:xfrm>
        </p:spPr>
        <p:txBody>
          <a:bodyPr>
            <a:normAutofit/>
          </a:bodyPr>
          <a:lstStyle>
            <a:lvl1pPr marL="0" indent="0" algn="l">
              <a:lnSpc>
                <a:spcPct val="100000"/>
              </a:lnSpc>
              <a:buNone/>
              <a:defRPr sz="2000">
                <a:solidFill>
                  <a:schemeClr val="bg1"/>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grpSp>
        <p:nvGrpSpPr>
          <p:cNvPr id="5" name="Group 4">
            <a:extLst>
              <a:ext uri="{FF2B5EF4-FFF2-40B4-BE49-F238E27FC236}">
                <a16:creationId xmlns:a16="http://schemas.microsoft.com/office/drawing/2014/main" id="{94FC349D-7459-4846-947D-CBE48ADB0FFC}"/>
              </a:ext>
            </a:extLst>
          </p:cNvPr>
          <p:cNvGrpSpPr/>
          <p:nvPr userDrawn="1"/>
        </p:nvGrpSpPr>
        <p:grpSpPr>
          <a:xfrm>
            <a:off x="9597" y="4222076"/>
            <a:ext cx="5495304" cy="2633814"/>
            <a:chOff x="9597" y="4222076"/>
            <a:chExt cx="5495304" cy="2633814"/>
          </a:xfrm>
        </p:grpSpPr>
        <p:sp>
          <p:nvSpPr>
            <p:cNvPr id="6" name="object 4">
              <a:extLst>
                <a:ext uri="{FF2B5EF4-FFF2-40B4-BE49-F238E27FC236}">
                  <a16:creationId xmlns:a16="http://schemas.microsoft.com/office/drawing/2014/main" id="{A1C7CB09-C480-93D4-4E86-80749DC8482D}"/>
                </a:ext>
              </a:extLst>
            </p:cNvPr>
            <p:cNvSpPr/>
            <p:nvPr/>
          </p:nvSpPr>
          <p:spPr>
            <a:xfrm>
              <a:off x="440952" y="4364568"/>
              <a:ext cx="456048" cy="456048"/>
            </a:xfrm>
            <a:custGeom>
              <a:avLst/>
              <a:gdLst/>
              <a:ahLst/>
              <a:cxnLst/>
              <a:rect l="l" t="t" r="r" b="b"/>
              <a:pathLst>
                <a:path w="502919" h="502920">
                  <a:moveTo>
                    <a:pt x="251434" y="0"/>
                  </a:moveTo>
                  <a:lnTo>
                    <a:pt x="206239" y="4051"/>
                  </a:lnTo>
                  <a:lnTo>
                    <a:pt x="163701" y="15730"/>
                  </a:lnTo>
                  <a:lnTo>
                    <a:pt x="124531" y="34328"/>
                  </a:lnTo>
                  <a:lnTo>
                    <a:pt x="89439" y="59134"/>
                  </a:lnTo>
                  <a:lnTo>
                    <a:pt x="59134" y="89439"/>
                  </a:lnTo>
                  <a:lnTo>
                    <a:pt x="34328" y="124531"/>
                  </a:lnTo>
                  <a:lnTo>
                    <a:pt x="15730" y="163701"/>
                  </a:lnTo>
                  <a:lnTo>
                    <a:pt x="4051" y="206239"/>
                  </a:lnTo>
                  <a:lnTo>
                    <a:pt x="0" y="251434"/>
                  </a:lnTo>
                  <a:lnTo>
                    <a:pt x="4051" y="296626"/>
                  </a:lnTo>
                  <a:lnTo>
                    <a:pt x="15730" y="339160"/>
                  </a:lnTo>
                  <a:lnTo>
                    <a:pt x="34328" y="378328"/>
                  </a:lnTo>
                  <a:lnTo>
                    <a:pt x="59134" y="413419"/>
                  </a:lnTo>
                  <a:lnTo>
                    <a:pt x="89439" y="443722"/>
                  </a:lnTo>
                  <a:lnTo>
                    <a:pt x="124531" y="468528"/>
                  </a:lnTo>
                  <a:lnTo>
                    <a:pt x="163701" y="487126"/>
                  </a:lnTo>
                  <a:lnTo>
                    <a:pt x="206239" y="498805"/>
                  </a:lnTo>
                  <a:lnTo>
                    <a:pt x="251434" y="502856"/>
                  </a:lnTo>
                  <a:lnTo>
                    <a:pt x="296629" y="498805"/>
                  </a:lnTo>
                  <a:lnTo>
                    <a:pt x="339167" y="487126"/>
                  </a:lnTo>
                  <a:lnTo>
                    <a:pt x="378337" y="468528"/>
                  </a:lnTo>
                  <a:lnTo>
                    <a:pt x="413430" y="443722"/>
                  </a:lnTo>
                  <a:lnTo>
                    <a:pt x="443734" y="413419"/>
                  </a:lnTo>
                  <a:lnTo>
                    <a:pt x="468540" y="378328"/>
                  </a:lnTo>
                  <a:lnTo>
                    <a:pt x="487138" y="339160"/>
                  </a:lnTo>
                  <a:lnTo>
                    <a:pt x="498818" y="296626"/>
                  </a:lnTo>
                  <a:lnTo>
                    <a:pt x="502869" y="251434"/>
                  </a:lnTo>
                  <a:lnTo>
                    <a:pt x="498818" y="206239"/>
                  </a:lnTo>
                  <a:lnTo>
                    <a:pt x="487138" y="163701"/>
                  </a:lnTo>
                  <a:lnTo>
                    <a:pt x="468540" y="124531"/>
                  </a:lnTo>
                  <a:lnTo>
                    <a:pt x="443734" y="89439"/>
                  </a:lnTo>
                  <a:lnTo>
                    <a:pt x="413430" y="59134"/>
                  </a:lnTo>
                  <a:lnTo>
                    <a:pt x="378337" y="34328"/>
                  </a:lnTo>
                  <a:lnTo>
                    <a:pt x="339167" y="15730"/>
                  </a:lnTo>
                  <a:lnTo>
                    <a:pt x="296629" y="4051"/>
                  </a:lnTo>
                  <a:lnTo>
                    <a:pt x="251434" y="0"/>
                  </a:lnTo>
                  <a:close/>
                </a:path>
              </a:pathLst>
            </a:custGeom>
            <a:solidFill>
              <a:srgbClr val="0E5C77">
                <a:alpha val="23999"/>
              </a:srgbClr>
            </a:solidFill>
          </p:spPr>
          <p:txBody>
            <a:bodyPr wrap="square" lIns="0" tIns="0" rIns="0" bIns="0" rtlCol="0"/>
            <a:lstStyle/>
            <a:p>
              <a:endParaRPr/>
            </a:p>
          </p:txBody>
        </p:sp>
        <p:sp>
          <p:nvSpPr>
            <p:cNvPr id="7" name="object 5">
              <a:extLst>
                <a:ext uri="{FF2B5EF4-FFF2-40B4-BE49-F238E27FC236}">
                  <a16:creationId xmlns:a16="http://schemas.microsoft.com/office/drawing/2014/main" id="{3500E5BE-1EAF-781E-4732-256336562279}"/>
                </a:ext>
              </a:extLst>
            </p:cNvPr>
            <p:cNvSpPr/>
            <p:nvPr/>
          </p:nvSpPr>
          <p:spPr>
            <a:xfrm>
              <a:off x="1338685" y="5086553"/>
              <a:ext cx="456048" cy="456048"/>
            </a:xfrm>
            <a:custGeom>
              <a:avLst/>
              <a:gdLst/>
              <a:ahLst/>
              <a:cxnLst/>
              <a:rect l="l" t="t" r="r" b="b"/>
              <a:pathLst>
                <a:path w="502919" h="502920">
                  <a:moveTo>
                    <a:pt x="251434" y="0"/>
                  </a:moveTo>
                  <a:lnTo>
                    <a:pt x="206239" y="4051"/>
                  </a:lnTo>
                  <a:lnTo>
                    <a:pt x="163701" y="15730"/>
                  </a:lnTo>
                  <a:lnTo>
                    <a:pt x="124531" y="34328"/>
                  </a:lnTo>
                  <a:lnTo>
                    <a:pt x="89439" y="59134"/>
                  </a:lnTo>
                  <a:lnTo>
                    <a:pt x="59134" y="89439"/>
                  </a:lnTo>
                  <a:lnTo>
                    <a:pt x="34328" y="124531"/>
                  </a:lnTo>
                  <a:lnTo>
                    <a:pt x="15730" y="163701"/>
                  </a:lnTo>
                  <a:lnTo>
                    <a:pt x="4051" y="206239"/>
                  </a:lnTo>
                  <a:lnTo>
                    <a:pt x="0" y="251434"/>
                  </a:lnTo>
                  <a:lnTo>
                    <a:pt x="4051" y="296626"/>
                  </a:lnTo>
                  <a:lnTo>
                    <a:pt x="15730" y="339160"/>
                  </a:lnTo>
                  <a:lnTo>
                    <a:pt x="34328" y="378328"/>
                  </a:lnTo>
                  <a:lnTo>
                    <a:pt x="59134" y="413419"/>
                  </a:lnTo>
                  <a:lnTo>
                    <a:pt x="89439" y="443722"/>
                  </a:lnTo>
                  <a:lnTo>
                    <a:pt x="124531" y="468528"/>
                  </a:lnTo>
                  <a:lnTo>
                    <a:pt x="163701" y="487126"/>
                  </a:lnTo>
                  <a:lnTo>
                    <a:pt x="206239" y="498805"/>
                  </a:lnTo>
                  <a:lnTo>
                    <a:pt x="251434" y="502856"/>
                  </a:lnTo>
                  <a:lnTo>
                    <a:pt x="296629" y="498805"/>
                  </a:lnTo>
                  <a:lnTo>
                    <a:pt x="339167" y="487126"/>
                  </a:lnTo>
                  <a:lnTo>
                    <a:pt x="378337" y="468528"/>
                  </a:lnTo>
                  <a:lnTo>
                    <a:pt x="413430" y="443722"/>
                  </a:lnTo>
                  <a:lnTo>
                    <a:pt x="443734" y="413419"/>
                  </a:lnTo>
                  <a:lnTo>
                    <a:pt x="468540" y="378328"/>
                  </a:lnTo>
                  <a:lnTo>
                    <a:pt x="487138" y="339160"/>
                  </a:lnTo>
                  <a:lnTo>
                    <a:pt x="498818" y="296626"/>
                  </a:lnTo>
                  <a:lnTo>
                    <a:pt x="502869" y="251434"/>
                  </a:lnTo>
                  <a:lnTo>
                    <a:pt x="498818" y="206239"/>
                  </a:lnTo>
                  <a:lnTo>
                    <a:pt x="487138" y="163701"/>
                  </a:lnTo>
                  <a:lnTo>
                    <a:pt x="468540" y="124531"/>
                  </a:lnTo>
                  <a:lnTo>
                    <a:pt x="443734" y="89439"/>
                  </a:lnTo>
                  <a:lnTo>
                    <a:pt x="413430" y="59134"/>
                  </a:lnTo>
                  <a:lnTo>
                    <a:pt x="378337" y="34328"/>
                  </a:lnTo>
                  <a:lnTo>
                    <a:pt x="339167" y="15730"/>
                  </a:lnTo>
                  <a:lnTo>
                    <a:pt x="296629" y="4051"/>
                  </a:lnTo>
                  <a:lnTo>
                    <a:pt x="251434" y="0"/>
                  </a:lnTo>
                  <a:close/>
                </a:path>
              </a:pathLst>
            </a:custGeom>
            <a:solidFill>
              <a:srgbClr val="0E5C77">
                <a:alpha val="23999"/>
              </a:srgbClr>
            </a:solidFill>
          </p:spPr>
          <p:txBody>
            <a:bodyPr wrap="square" lIns="0" tIns="0" rIns="0" bIns="0" rtlCol="0"/>
            <a:lstStyle/>
            <a:p>
              <a:endParaRPr/>
            </a:p>
          </p:txBody>
        </p:sp>
        <p:sp>
          <p:nvSpPr>
            <p:cNvPr id="15" name="object 6">
              <a:extLst>
                <a:ext uri="{FF2B5EF4-FFF2-40B4-BE49-F238E27FC236}">
                  <a16:creationId xmlns:a16="http://schemas.microsoft.com/office/drawing/2014/main" id="{704A627A-3432-816F-D27C-B13AF7896B4A}"/>
                </a:ext>
              </a:extLst>
            </p:cNvPr>
            <p:cNvSpPr/>
            <p:nvPr/>
          </p:nvSpPr>
          <p:spPr>
            <a:xfrm>
              <a:off x="2992604" y="4222076"/>
              <a:ext cx="2512297" cy="2223236"/>
            </a:xfrm>
            <a:custGeom>
              <a:avLst/>
              <a:gdLst/>
              <a:ahLst/>
              <a:cxnLst/>
              <a:rect l="l" t="t" r="r" b="b"/>
              <a:pathLst>
                <a:path w="2770504" h="2451734">
                  <a:moveTo>
                    <a:pt x="2293239" y="1146619"/>
                  </a:moveTo>
                  <a:lnTo>
                    <a:pt x="2292235" y="1098156"/>
                  </a:lnTo>
                  <a:lnTo>
                    <a:pt x="2289238" y="1050201"/>
                  </a:lnTo>
                  <a:lnTo>
                    <a:pt x="2284298" y="1002792"/>
                  </a:lnTo>
                  <a:lnTo>
                    <a:pt x="2277465" y="955979"/>
                  </a:lnTo>
                  <a:lnTo>
                    <a:pt x="2268753" y="909802"/>
                  </a:lnTo>
                  <a:lnTo>
                    <a:pt x="2258212" y="864298"/>
                  </a:lnTo>
                  <a:lnTo>
                    <a:pt x="2245893" y="819492"/>
                  </a:lnTo>
                  <a:lnTo>
                    <a:pt x="2231834" y="775449"/>
                  </a:lnTo>
                  <a:lnTo>
                    <a:pt x="2216061" y="732205"/>
                  </a:lnTo>
                  <a:lnTo>
                    <a:pt x="2198611" y="689775"/>
                  </a:lnTo>
                  <a:lnTo>
                    <a:pt x="2179548" y="648233"/>
                  </a:lnTo>
                  <a:lnTo>
                    <a:pt x="2158885" y="607593"/>
                  </a:lnTo>
                  <a:lnTo>
                    <a:pt x="2136686" y="567905"/>
                  </a:lnTo>
                  <a:lnTo>
                    <a:pt x="2112975" y="529196"/>
                  </a:lnTo>
                  <a:lnTo>
                    <a:pt x="2087803" y="491528"/>
                  </a:lnTo>
                  <a:lnTo>
                    <a:pt x="2061197" y="454939"/>
                  </a:lnTo>
                  <a:lnTo>
                    <a:pt x="2033193" y="419442"/>
                  </a:lnTo>
                  <a:lnTo>
                    <a:pt x="2003856" y="385102"/>
                  </a:lnTo>
                  <a:lnTo>
                    <a:pt x="1973199" y="351955"/>
                  </a:lnTo>
                  <a:lnTo>
                    <a:pt x="1941283" y="320040"/>
                  </a:lnTo>
                  <a:lnTo>
                    <a:pt x="1908136" y="289382"/>
                  </a:lnTo>
                  <a:lnTo>
                    <a:pt x="1873796" y="260045"/>
                  </a:lnTo>
                  <a:lnTo>
                    <a:pt x="1838299" y="232041"/>
                  </a:lnTo>
                  <a:lnTo>
                    <a:pt x="1801710" y="205435"/>
                  </a:lnTo>
                  <a:lnTo>
                    <a:pt x="1764042" y="180263"/>
                  </a:lnTo>
                  <a:lnTo>
                    <a:pt x="1725333" y="156552"/>
                  </a:lnTo>
                  <a:lnTo>
                    <a:pt x="1685645" y="134353"/>
                  </a:lnTo>
                  <a:lnTo>
                    <a:pt x="1645005" y="113690"/>
                  </a:lnTo>
                  <a:lnTo>
                    <a:pt x="1603463" y="94627"/>
                  </a:lnTo>
                  <a:lnTo>
                    <a:pt x="1561033" y="77177"/>
                  </a:lnTo>
                  <a:lnTo>
                    <a:pt x="1517789" y="61404"/>
                  </a:lnTo>
                  <a:lnTo>
                    <a:pt x="1473746" y="47345"/>
                  </a:lnTo>
                  <a:lnTo>
                    <a:pt x="1428940" y="35026"/>
                  </a:lnTo>
                  <a:lnTo>
                    <a:pt x="1383436" y="24485"/>
                  </a:lnTo>
                  <a:lnTo>
                    <a:pt x="1337259" y="15773"/>
                  </a:lnTo>
                  <a:lnTo>
                    <a:pt x="1290447" y="8940"/>
                  </a:lnTo>
                  <a:lnTo>
                    <a:pt x="1243037" y="4000"/>
                  </a:lnTo>
                  <a:lnTo>
                    <a:pt x="1195082" y="1003"/>
                  </a:lnTo>
                  <a:lnTo>
                    <a:pt x="1146619" y="0"/>
                  </a:lnTo>
                  <a:lnTo>
                    <a:pt x="1098143" y="1003"/>
                  </a:lnTo>
                  <a:lnTo>
                    <a:pt x="1050188" y="4000"/>
                  </a:lnTo>
                  <a:lnTo>
                    <a:pt x="1002792" y="8940"/>
                  </a:lnTo>
                  <a:lnTo>
                    <a:pt x="955979" y="15773"/>
                  </a:lnTo>
                  <a:lnTo>
                    <a:pt x="909802" y="24485"/>
                  </a:lnTo>
                  <a:lnTo>
                    <a:pt x="864285" y="35026"/>
                  </a:lnTo>
                  <a:lnTo>
                    <a:pt x="819492" y="47345"/>
                  </a:lnTo>
                  <a:lnTo>
                    <a:pt x="775449" y="61404"/>
                  </a:lnTo>
                  <a:lnTo>
                    <a:pt x="732193" y="77177"/>
                  </a:lnTo>
                  <a:lnTo>
                    <a:pt x="689775" y="94627"/>
                  </a:lnTo>
                  <a:lnTo>
                    <a:pt x="648220" y="113690"/>
                  </a:lnTo>
                  <a:lnTo>
                    <a:pt x="607580" y="134353"/>
                  </a:lnTo>
                  <a:lnTo>
                    <a:pt x="567893" y="156552"/>
                  </a:lnTo>
                  <a:lnTo>
                    <a:pt x="529196" y="180263"/>
                  </a:lnTo>
                  <a:lnTo>
                    <a:pt x="491528" y="205435"/>
                  </a:lnTo>
                  <a:lnTo>
                    <a:pt x="454926" y="232041"/>
                  </a:lnTo>
                  <a:lnTo>
                    <a:pt x="419442" y="260045"/>
                  </a:lnTo>
                  <a:lnTo>
                    <a:pt x="385102" y="289382"/>
                  </a:lnTo>
                  <a:lnTo>
                    <a:pt x="351955" y="320040"/>
                  </a:lnTo>
                  <a:lnTo>
                    <a:pt x="320027" y="351955"/>
                  </a:lnTo>
                  <a:lnTo>
                    <a:pt x="289382" y="385102"/>
                  </a:lnTo>
                  <a:lnTo>
                    <a:pt x="260032" y="419442"/>
                  </a:lnTo>
                  <a:lnTo>
                    <a:pt x="232041" y="454939"/>
                  </a:lnTo>
                  <a:lnTo>
                    <a:pt x="205435" y="491528"/>
                  </a:lnTo>
                  <a:lnTo>
                    <a:pt x="180251" y="529196"/>
                  </a:lnTo>
                  <a:lnTo>
                    <a:pt x="156540" y="567905"/>
                  </a:lnTo>
                  <a:lnTo>
                    <a:pt x="134340" y="607593"/>
                  </a:lnTo>
                  <a:lnTo>
                    <a:pt x="113690" y="648233"/>
                  </a:lnTo>
                  <a:lnTo>
                    <a:pt x="94615" y="689775"/>
                  </a:lnTo>
                  <a:lnTo>
                    <a:pt x="77177" y="732205"/>
                  </a:lnTo>
                  <a:lnTo>
                    <a:pt x="61404" y="775449"/>
                  </a:lnTo>
                  <a:lnTo>
                    <a:pt x="47332" y="819492"/>
                  </a:lnTo>
                  <a:lnTo>
                    <a:pt x="35013" y="864298"/>
                  </a:lnTo>
                  <a:lnTo>
                    <a:pt x="24485" y="909802"/>
                  </a:lnTo>
                  <a:lnTo>
                    <a:pt x="15773" y="955979"/>
                  </a:lnTo>
                  <a:lnTo>
                    <a:pt x="8928" y="1002792"/>
                  </a:lnTo>
                  <a:lnTo>
                    <a:pt x="4000" y="1050201"/>
                  </a:lnTo>
                  <a:lnTo>
                    <a:pt x="1003" y="1098156"/>
                  </a:lnTo>
                  <a:lnTo>
                    <a:pt x="0" y="1146619"/>
                  </a:lnTo>
                  <a:lnTo>
                    <a:pt x="1003" y="1195095"/>
                  </a:lnTo>
                  <a:lnTo>
                    <a:pt x="4000" y="1243050"/>
                  </a:lnTo>
                  <a:lnTo>
                    <a:pt x="8928" y="1290447"/>
                  </a:lnTo>
                  <a:lnTo>
                    <a:pt x="15773" y="1337259"/>
                  </a:lnTo>
                  <a:lnTo>
                    <a:pt x="24485" y="1383436"/>
                  </a:lnTo>
                  <a:lnTo>
                    <a:pt x="35013" y="1428953"/>
                  </a:lnTo>
                  <a:lnTo>
                    <a:pt x="47332" y="1473746"/>
                  </a:lnTo>
                  <a:lnTo>
                    <a:pt x="61404" y="1517789"/>
                  </a:lnTo>
                  <a:lnTo>
                    <a:pt x="77177" y="1561045"/>
                  </a:lnTo>
                  <a:lnTo>
                    <a:pt x="94615" y="1603463"/>
                  </a:lnTo>
                  <a:lnTo>
                    <a:pt x="113690" y="1645018"/>
                  </a:lnTo>
                  <a:lnTo>
                    <a:pt x="134340" y="1685658"/>
                  </a:lnTo>
                  <a:lnTo>
                    <a:pt x="156540" y="1725345"/>
                  </a:lnTo>
                  <a:lnTo>
                    <a:pt x="180251" y="1764042"/>
                  </a:lnTo>
                  <a:lnTo>
                    <a:pt x="205435" y="1801710"/>
                  </a:lnTo>
                  <a:lnTo>
                    <a:pt x="232041" y="1838312"/>
                  </a:lnTo>
                  <a:lnTo>
                    <a:pt x="260032" y="1873796"/>
                  </a:lnTo>
                  <a:lnTo>
                    <a:pt x="289382" y="1908136"/>
                  </a:lnTo>
                  <a:lnTo>
                    <a:pt x="320027" y="1941283"/>
                  </a:lnTo>
                  <a:lnTo>
                    <a:pt x="351955" y="1973211"/>
                  </a:lnTo>
                  <a:lnTo>
                    <a:pt x="385102" y="2003856"/>
                  </a:lnTo>
                  <a:lnTo>
                    <a:pt x="419442" y="2033206"/>
                  </a:lnTo>
                  <a:lnTo>
                    <a:pt x="454926" y="2061197"/>
                  </a:lnTo>
                  <a:lnTo>
                    <a:pt x="491528" y="2087803"/>
                  </a:lnTo>
                  <a:lnTo>
                    <a:pt x="529196" y="2112988"/>
                  </a:lnTo>
                  <a:lnTo>
                    <a:pt x="567893" y="2136698"/>
                  </a:lnTo>
                  <a:lnTo>
                    <a:pt x="607580" y="2158898"/>
                  </a:lnTo>
                  <a:lnTo>
                    <a:pt x="648220" y="2179548"/>
                  </a:lnTo>
                  <a:lnTo>
                    <a:pt x="689775" y="2198624"/>
                  </a:lnTo>
                  <a:lnTo>
                    <a:pt x="732193" y="2216061"/>
                  </a:lnTo>
                  <a:lnTo>
                    <a:pt x="775449" y="2231834"/>
                  </a:lnTo>
                  <a:lnTo>
                    <a:pt x="819492" y="2245906"/>
                  </a:lnTo>
                  <a:lnTo>
                    <a:pt x="864285" y="2258225"/>
                  </a:lnTo>
                  <a:lnTo>
                    <a:pt x="909802" y="2268753"/>
                  </a:lnTo>
                  <a:lnTo>
                    <a:pt x="955979" y="2277465"/>
                  </a:lnTo>
                  <a:lnTo>
                    <a:pt x="1002792" y="2284311"/>
                  </a:lnTo>
                  <a:lnTo>
                    <a:pt x="1050188" y="2289238"/>
                  </a:lnTo>
                  <a:lnTo>
                    <a:pt x="1098143" y="2292235"/>
                  </a:lnTo>
                  <a:lnTo>
                    <a:pt x="1146619" y="2293239"/>
                  </a:lnTo>
                  <a:lnTo>
                    <a:pt x="1195082" y="2292235"/>
                  </a:lnTo>
                  <a:lnTo>
                    <a:pt x="1243037" y="2289238"/>
                  </a:lnTo>
                  <a:lnTo>
                    <a:pt x="1290447" y="2284311"/>
                  </a:lnTo>
                  <a:lnTo>
                    <a:pt x="1337259" y="2277465"/>
                  </a:lnTo>
                  <a:lnTo>
                    <a:pt x="1383436" y="2268753"/>
                  </a:lnTo>
                  <a:lnTo>
                    <a:pt x="1428940" y="2258225"/>
                  </a:lnTo>
                  <a:lnTo>
                    <a:pt x="1473746" y="2245906"/>
                  </a:lnTo>
                  <a:lnTo>
                    <a:pt x="1517789" y="2231834"/>
                  </a:lnTo>
                  <a:lnTo>
                    <a:pt x="1561033" y="2216061"/>
                  </a:lnTo>
                  <a:lnTo>
                    <a:pt x="1603463" y="2198624"/>
                  </a:lnTo>
                  <a:lnTo>
                    <a:pt x="1645005" y="2179548"/>
                  </a:lnTo>
                  <a:lnTo>
                    <a:pt x="1685645" y="2158898"/>
                  </a:lnTo>
                  <a:lnTo>
                    <a:pt x="1725333" y="2136698"/>
                  </a:lnTo>
                  <a:lnTo>
                    <a:pt x="1764042" y="2112988"/>
                  </a:lnTo>
                  <a:lnTo>
                    <a:pt x="1801710" y="2087803"/>
                  </a:lnTo>
                  <a:lnTo>
                    <a:pt x="1838299" y="2061197"/>
                  </a:lnTo>
                  <a:lnTo>
                    <a:pt x="1873796" y="2033206"/>
                  </a:lnTo>
                  <a:lnTo>
                    <a:pt x="1908136" y="2003856"/>
                  </a:lnTo>
                  <a:lnTo>
                    <a:pt x="1941283" y="1973211"/>
                  </a:lnTo>
                  <a:lnTo>
                    <a:pt x="1973199" y="1941283"/>
                  </a:lnTo>
                  <a:lnTo>
                    <a:pt x="2003856" y="1908136"/>
                  </a:lnTo>
                  <a:lnTo>
                    <a:pt x="2033193" y="1873796"/>
                  </a:lnTo>
                  <a:lnTo>
                    <a:pt x="2061197" y="1838312"/>
                  </a:lnTo>
                  <a:lnTo>
                    <a:pt x="2087803" y="1801710"/>
                  </a:lnTo>
                  <a:lnTo>
                    <a:pt x="2112975" y="1764042"/>
                  </a:lnTo>
                  <a:lnTo>
                    <a:pt x="2136686" y="1725345"/>
                  </a:lnTo>
                  <a:lnTo>
                    <a:pt x="2158885" y="1685658"/>
                  </a:lnTo>
                  <a:lnTo>
                    <a:pt x="2179548" y="1645018"/>
                  </a:lnTo>
                  <a:lnTo>
                    <a:pt x="2198611" y="1603463"/>
                  </a:lnTo>
                  <a:lnTo>
                    <a:pt x="2216061" y="1561045"/>
                  </a:lnTo>
                  <a:lnTo>
                    <a:pt x="2231834" y="1517789"/>
                  </a:lnTo>
                  <a:lnTo>
                    <a:pt x="2245893" y="1473746"/>
                  </a:lnTo>
                  <a:lnTo>
                    <a:pt x="2258212" y="1428953"/>
                  </a:lnTo>
                  <a:lnTo>
                    <a:pt x="2268753" y="1383436"/>
                  </a:lnTo>
                  <a:lnTo>
                    <a:pt x="2277465" y="1337259"/>
                  </a:lnTo>
                  <a:lnTo>
                    <a:pt x="2284298" y="1290447"/>
                  </a:lnTo>
                  <a:lnTo>
                    <a:pt x="2289238" y="1243050"/>
                  </a:lnTo>
                  <a:lnTo>
                    <a:pt x="2292235" y="1195095"/>
                  </a:lnTo>
                  <a:lnTo>
                    <a:pt x="2293239" y="1146619"/>
                  </a:lnTo>
                  <a:close/>
                </a:path>
                <a:path w="2770504" h="2451734">
                  <a:moveTo>
                    <a:pt x="2769895" y="2200008"/>
                  </a:moveTo>
                  <a:lnTo>
                    <a:pt x="2765844" y="2154809"/>
                  </a:lnTo>
                  <a:lnTo>
                    <a:pt x="2754172" y="2112276"/>
                  </a:lnTo>
                  <a:lnTo>
                    <a:pt x="2735580" y="2073109"/>
                  </a:lnTo>
                  <a:lnTo>
                    <a:pt x="2710777" y="2038007"/>
                  </a:lnTo>
                  <a:lnTo>
                    <a:pt x="2680474" y="2007704"/>
                  </a:lnTo>
                  <a:lnTo>
                    <a:pt x="2645384" y="1982901"/>
                  </a:lnTo>
                  <a:lnTo>
                    <a:pt x="2606205" y="1964309"/>
                  </a:lnTo>
                  <a:lnTo>
                    <a:pt x="2563672" y="1952625"/>
                  </a:lnTo>
                  <a:lnTo>
                    <a:pt x="2518473" y="1948573"/>
                  </a:lnTo>
                  <a:lnTo>
                    <a:pt x="2473287" y="1952625"/>
                  </a:lnTo>
                  <a:lnTo>
                    <a:pt x="2430742" y="1964309"/>
                  </a:lnTo>
                  <a:lnTo>
                    <a:pt x="2391575" y="1982901"/>
                  </a:lnTo>
                  <a:lnTo>
                    <a:pt x="2356485" y="2007704"/>
                  </a:lnTo>
                  <a:lnTo>
                    <a:pt x="2326182" y="2038007"/>
                  </a:lnTo>
                  <a:lnTo>
                    <a:pt x="2301367" y="2073109"/>
                  </a:lnTo>
                  <a:lnTo>
                    <a:pt x="2282774" y="2112276"/>
                  </a:lnTo>
                  <a:lnTo>
                    <a:pt x="2271090" y="2154809"/>
                  </a:lnTo>
                  <a:lnTo>
                    <a:pt x="2267039" y="2200008"/>
                  </a:lnTo>
                  <a:lnTo>
                    <a:pt x="2271090" y="2245195"/>
                  </a:lnTo>
                  <a:lnTo>
                    <a:pt x="2282774" y="2287727"/>
                  </a:lnTo>
                  <a:lnTo>
                    <a:pt x="2301367" y="2326906"/>
                  </a:lnTo>
                  <a:lnTo>
                    <a:pt x="2326182" y="2361996"/>
                  </a:lnTo>
                  <a:lnTo>
                    <a:pt x="2356485" y="2392299"/>
                  </a:lnTo>
                  <a:lnTo>
                    <a:pt x="2391575" y="2417102"/>
                  </a:lnTo>
                  <a:lnTo>
                    <a:pt x="2430742" y="2435695"/>
                  </a:lnTo>
                  <a:lnTo>
                    <a:pt x="2473287" y="2447379"/>
                  </a:lnTo>
                  <a:lnTo>
                    <a:pt x="2518473" y="2451430"/>
                  </a:lnTo>
                  <a:lnTo>
                    <a:pt x="2563672" y="2447379"/>
                  </a:lnTo>
                  <a:lnTo>
                    <a:pt x="2606205" y="2435695"/>
                  </a:lnTo>
                  <a:lnTo>
                    <a:pt x="2645384" y="2417102"/>
                  </a:lnTo>
                  <a:lnTo>
                    <a:pt x="2680474" y="2392299"/>
                  </a:lnTo>
                  <a:lnTo>
                    <a:pt x="2710777" y="2361996"/>
                  </a:lnTo>
                  <a:lnTo>
                    <a:pt x="2735580" y="2326906"/>
                  </a:lnTo>
                  <a:lnTo>
                    <a:pt x="2754172" y="2287727"/>
                  </a:lnTo>
                  <a:lnTo>
                    <a:pt x="2765844" y="2245195"/>
                  </a:lnTo>
                  <a:lnTo>
                    <a:pt x="2769895" y="2200008"/>
                  </a:lnTo>
                  <a:close/>
                </a:path>
              </a:pathLst>
            </a:custGeom>
            <a:solidFill>
              <a:srgbClr val="0E5C77">
                <a:alpha val="23999"/>
              </a:srgbClr>
            </a:solidFill>
          </p:spPr>
          <p:txBody>
            <a:bodyPr wrap="square" lIns="0" tIns="0" rIns="0" bIns="0" rtlCol="0"/>
            <a:lstStyle/>
            <a:p>
              <a:endParaRPr/>
            </a:p>
          </p:txBody>
        </p:sp>
        <p:sp>
          <p:nvSpPr>
            <p:cNvPr id="20" name="object 7">
              <a:extLst>
                <a:ext uri="{FF2B5EF4-FFF2-40B4-BE49-F238E27FC236}">
                  <a16:creationId xmlns:a16="http://schemas.microsoft.com/office/drawing/2014/main" id="{E3117CA8-C356-BDA9-FD85-2EB03B137EEA}"/>
                </a:ext>
              </a:extLst>
            </p:cNvPr>
            <p:cNvSpPr/>
            <p:nvPr/>
          </p:nvSpPr>
          <p:spPr>
            <a:xfrm>
              <a:off x="9597" y="4925061"/>
              <a:ext cx="1272559" cy="1930720"/>
            </a:xfrm>
            <a:custGeom>
              <a:avLst/>
              <a:gdLst/>
              <a:ahLst/>
              <a:cxnLst/>
              <a:rect l="l" t="t" r="r" b="b"/>
              <a:pathLst>
                <a:path w="1403350" h="2129154">
                  <a:moveTo>
                    <a:pt x="256217" y="0"/>
                  </a:moveTo>
                  <a:lnTo>
                    <a:pt x="207748" y="1005"/>
                  </a:lnTo>
                  <a:lnTo>
                    <a:pt x="159791" y="3997"/>
                  </a:lnTo>
                  <a:lnTo>
                    <a:pt x="112387" y="8933"/>
                  </a:lnTo>
                  <a:lnTo>
                    <a:pt x="65576" y="15776"/>
                  </a:lnTo>
                  <a:lnTo>
                    <a:pt x="19397" y="24484"/>
                  </a:lnTo>
                  <a:lnTo>
                    <a:pt x="0" y="28974"/>
                  </a:lnTo>
                  <a:lnTo>
                    <a:pt x="0" y="2128758"/>
                  </a:lnTo>
                  <a:lnTo>
                    <a:pt x="847885" y="2128758"/>
                  </a:lnTo>
                  <a:lnTo>
                    <a:pt x="873636" y="2112981"/>
                  </a:lnTo>
                  <a:lnTo>
                    <a:pt x="911305" y="2087802"/>
                  </a:lnTo>
                  <a:lnTo>
                    <a:pt x="947904" y="2061196"/>
                  </a:lnTo>
                  <a:lnTo>
                    <a:pt x="983393" y="2033201"/>
                  </a:lnTo>
                  <a:lnTo>
                    <a:pt x="1017732" y="2003858"/>
                  </a:lnTo>
                  <a:lnTo>
                    <a:pt x="1050883" y="1973206"/>
                  </a:lnTo>
                  <a:lnTo>
                    <a:pt x="1082804" y="1941285"/>
                  </a:lnTo>
                  <a:lnTo>
                    <a:pt x="1113456" y="1908135"/>
                  </a:lnTo>
                  <a:lnTo>
                    <a:pt x="1142799" y="1873795"/>
                  </a:lnTo>
                  <a:lnTo>
                    <a:pt x="1170794" y="1838306"/>
                  </a:lnTo>
                  <a:lnTo>
                    <a:pt x="1197400" y="1801707"/>
                  </a:lnTo>
                  <a:lnTo>
                    <a:pt x="1222579" y="1764039"/>
                  </a:lnTo>
                  <a:lnTo>
                    <a:pt x="1246289" y="1725340"/>
                  </a:lnTo>
                  <a:lnTo>
                    <a:pt x="1268492" y="1685650"/>
                  </a:lnTo>
                  <a:lnTo>
                    <a:pt x="1289147" y="1645011"/>
                  </a:lnTo>
                  <a:lnTo>
                    <a:pt x="1308215" y="1603460"/>
                  </a:lnTo>
                  <a:lnTo>
                    <a:pt x="1325656" y="1561039"/>
                  </a:lnTo>
                  <a:lnTo>
                    <a:pt x="1341430" y="1517786"/>
                  </a:lnTo>
                  <a:lnTo>
                    <a:pt x="1355497" y="1473742"/>
                  </a:lnTo>
                  <a:lnTo>
                    <a:pt x="1367818" y="1428947"/>
                  </a:lnTo>
                  <a:lnTo>
                    <a:pt x="1378352" y="1383439"/>
                  </a:lnTo>
                  <a:lnTo>
                    <a:pt x="1387060" y="1337260"/>
                  </a:lnTo>
                  <a:lnTo>
                    <a:pt x="1393903" y="1290448"/>
                  </a:lnTo>
                  <a:lnTo>
                    <a:pt x="1398839" y="1243045"/>
                  </a:lnTo>
                  <a:lnTo>
                    <a:pt x="1401831" y="1195088"/>
                  </a:lnTo>
                  <a:lnTo>
                    <a:pt x="1402836" y="1146619"/>
                  </a:lnTo>
                  <a:lnTo>
                    <a:pt x="1401831" y="1098150"/>
                  </a:lnTo>
                  <a:lnTo>
                    <a:pt x="1398839" y="1050193"/>
                  </a:lnTo>
                  <a:lnTo>
                    <a:pt x="1393903" y="1002790"/>
                  </a:lnTo>
                  <a:lnTo>
                    <a:pt x="1387060" y="955978"/>
                  </a:lnTo>
                  <a:lnTo>
                    <a:pt x="1378352" y="909799"/>
                  </a:lnTo>
                  <a:lnTo>
                    <a:pt x="1367818" y="864291"/>
                  </a:lnTo>
                  <a:lnTo>
                    <a:pt x="1355497" y="819496"/>
                  </a:lnTo>
                  <a:lnTo>
                    <a:pt x="1341430" y="775452"/>
                  </a:lnTo>
                  <a:lnTo>
                    <a:pt x="1325656" y="732199"/>
                  </a:lnTo>
                  <a:lnTo>
                    <a:pt x="1308215" y="689778"/>
                  </a:lnTo>
                  <a:lnTo>
                    <a:pt x="1289147" y="648227"/>
                  </a:lnTo>
                  <a:lnTo>
                    <a:pt x="1268492" y="607588"/>
                  </a:lnTo>
                  <a:lnTo>
                    <a:pt x="1246289" y="567898"/>
                  </a:lnTo>
                  <a:lnTo>
                    <a:pt x="1222579" y="529199"/>
                  </a:lnTo>
                  <a:lnTo>
                    <a:pt x="1197400" y="491531"/>
                  </a:lnTo>
                  <a:lnTo>
                    <a:pt x="1170794" y="454932"/>
                  </a:lnTo>
                  <a:lnTo>
                    <a:pt x="1142799" y="419443"/>
                  </a:lnTo>
                  <a:lnTo>
                    <a:pt x="1113456" y="385103"/>
                  </a:lnTo>
                  <a:lnTo>
                    <a:pt x="1082804" y="351953"/>
                  </a:lnTo>
                  <a:lnTo>
                    <a:pt x="1050883" y="320032"/>
                  </a:lnTo>
                  <a:lnTo>
                    <a:pt x="1017732" y="289380"/>
                  </a:lnTo>
                  <a:lnTo>
                    <a:pt x="983393" y="260037"/>
                  </a:lnTo>
                  <a:lnTo>
                    <a:pt x="947904" y="232042"/>
                  </a:lnTo>
                  <a:lnTo>
                    <a:pt x="911305" y="205436"/>
                  </a:lnTo>
                  <a:lnTo>
                    <a:pt x="873636" y="180257"/>
                  </a:lnTo>
                  <a:lnTo>
                    <a:pt x="834938" y="156547"/>
                  </a:lnTo>
                  <a:lnTo>
                    <a:pt x="795248" y="134344"/>
                  </a:lnTo>
                  <a:lnTo>
                    <a:pt x="754609" y="113689"/>
                  </a:lnTo>
                  <a:lnTo>
                    <a:pt x="713058" y="94621"/>
                  </a:lnTo>
                  <a:lnTo>
                    <a:pt x="670637" y="77180"/>
                  </a:lnTo>
                  <a:lnTo>
                    <a:pt x="627384" y="61406"/>
                  </a:lnTo>
                  <a:lnTo>
                    <a:pt x="583340" y="47339"/>
                  </a:lnTo>
                  <a:lnTo>
                    <a:pt x="538544" y="35018"/>
                  </a:lnTo>
                  <a:lnTo>
                    <a:pt x="493037" y="24484"/>
                  </a:lnTo>
                  <a:lnTo>
                    <a:pt x="446858" y="15776"/>
                  </a:lnTo>
                  <a:lnTo>
                    <a:pt x="400046" y="8933"/>
                  </a:lnTo>
                  <a:lnTo>
                    <a:pt x="352643" y="3997"/>
                  </a:lnTo>
                  <a:lnTo>
                    <a:pt x="304686" y="1005"/>
                  </a:lnTo>
                  <a:lnTo>
                    <a:pt x="256217" y="0"/>
                  </a:lnTo>
                  <a:close/>
                </a:path>
              </a:pathLst>
            </a:custGeom>
            <a:solidFill>
              <a:srgbClr val="0E5C77">
                <a:alpha val="23999"/>
              </a:srgbClr>
            </a:solidFill>
          </p:spPr>
          <p:txBody>
            <a:bodyPr wrap="square" lIns="0" tIns="0" rIns="0" bIns="0" rtlCol="0"/>
            <a:lstStyle/>
            <a:p>
              <a:endParaRPr/>
            </a:p>
          </p:txBody>
        </p:sp>
        <p:sp>
          <p:nvSpPr>
            <p:cNvPr id="21" name="object 8">
              <a:extLst>
                <a:ext uri="{FF2B5EF4-FFF2-40B4-BE49-F238E27FC236}">
                  <a16:creationId xmlns:a16="http://schemas.microsoft.com/office/drawing/2014/main" id="{D63CF557-1D03-CF27-546B-1151257DE682}"/>
                </a:ext>
              </a:extLst>
            </p:cNvPr>
            <p:cNvSpPr/>
            <p:nvPr/>
          </p:nvSpPr>
          <p:spPr>
            <a:xfrm>
              <a:off x="1438442" y="5634837"/>
              <a:ext cx="1580045" cy="1220736"/>
            </a:xfrm>
            <a:custGeom>
              <a:avLst/>
              <a:gdLst/>
              <a:ahLst/>
              <a:cxnLst/>
              <a:rect l="l" t="t" r="r" b="b"/>
              <a:pathLst>
                <a:path w="1742439" h="1346200">
                  <a:moveTo>
                    <a:pt x="871016" y="0"/>
                  </a:moveTo>
                  <a:lnTo>
                    <a:pt x="823226" y="1288"/>
                  </a:lnTo>
                  <a:lnTo>
                    <a:pt x="776109" y="5110"/>
                  </a:lnTo>
                  <a:lnTo>
                    <a:pt x="729733" y="11400"/>
                  </a:lnTo>
                  <a:lnTo>
                    <a:pt x="684162" y="20089"/>
                  </a:lnTo>
                  <a:lnTo>
                    <a:pt x="639465" y="31113"/>
                  </a:lnTo>
                  <a:lnTo>
                    <a:pt x="595707" y="44404"/>
                  </a:lnTo>
                  <a:lnTo>
                    <a:pt x="552955" y="59897"/>
                  </a:lnTo>
                  <a:lnTo>
                    <a:pt x="511275" y="77525"/>
                  </a:lnTo>
                  <a:lnTo>
                    <a:pt x="470733" y="97221"/>
                  </a:lnTo>
                  <a:lnTo>
                    <a:pt x="431397" y="118919"/>
                  </a:lnTo>
                  <a:lnTo>
                    <a:pt x="393332" y="142552"/>
                  </a:lnTo>
                  <a:lnTo>
                    <a:pt x="356605" y="168055"/>
                  </a:lnTo>
                  <a:lnTo>
                    <a:pt x="321282" y="195360"/>
                  </a:lnTo>
                  <a:lnTo>
                    <a:pt x="287429" y="224402"/>
                  </a:lnTo>
                  <a:lnTo>
                    <a:pt x="255114" y="255114"/>
                  </a:lnTo>
                  <a:lnTo>
                    <a:pt x="224402" y="287429"/>
                  </a:lnTo>
                  <a:lnTo>
                    <a:pt x="195360" y="321282"/>
                  </a:lnTo>
                  <a:lnTo>
                    <a:pt x="168055" y="356605"/>
                  </a:lnTo>
                  <a:lnTo>
                    <a:pt x="142552" y="393332"/>
                  </a:lnTo>
                  <a:lnTo>
                    <a:pt x="118919" y="431397"/>
                  </a:lnTo>
                  <a:lnTo>
                    <a:pt x="97221" y="470733"/>
                  </a:lnTo>
                  <a:lnTo>
                    <a:pt x="77525" y="511275"/>
                  </a:lnTo>
                  <a:lnTo>
                    <a:pt x="59897" y="552955"/>
                  </a:lnTo>
                  <a:lnTo>
                    <a:pt x="44404" y="595707"/>
                  </a:lnTo>
                  <a:lnTo>
                    <a:pt x="31113" y="639465"/>
                  </a:lnTo>
                  <a:lnTo>
                    <a:pt x="20089" y="684162"/>
                  </a:lnTo>
                  <a:lnTo>
                    <a:pt x="11400" y="729733"/>
                  </a:lnTo>
                  <a:lnTo>
                    <a:pt x="5110" y="776109"/>
                  </a:lnTo>
                  <a:lnTo>
                    <a:pt x="1288" y="823226"/>
                  </a:lnTo>
                  <a:lnTo>
                    <a:pt x="0" y="871016"/>
                  </a:lnTo>
                  <a:lnTo>
                    <a:pt x="1288" y="918807"/>
                  </a:lnTo>
                  <a:lnTo>
                    <a:pt x="5110" y="965923"/>
                  </a:lnTo>
                  <a:lnTo>
                    <a:pt x="11400" y="1012300"/>
                  </a:lnTo>
                  <a:lnTo>
                    <a:pt x="20089" y="1057870"/>
                  </a:lnTo>
                  <a:lnTo>
                    <a:pt x="31113" y="1102568"/>
                  </a:lnTo>
                  <a:lnTo>
                    <a:pt x="44404" y="1146325"/>
                  </a:lnTo>
                  <a:lnTo>
                    <a:pt x="59897" y="1189078"/>
                  </a:lnTo>
                  <a:lnTo>
                    <a:pt x="77525" y="1230758"/>
                  </a:lnTo>
                  <a:lnTo>
                    <a:pt x="97221" y="1271299"/>
                  </a:lnTo>
                  <a:lnTo>
                    <a:pt x="118919" y="1310636"/>
                  </a:lnTo>
                  <a:lnTo>
                    <a:pt x="140895" y="1346032"/>
                  </a:lnTo>
                  <a:lnTo>
                    <a:pt x="1601138" y="1346032"/>
                  </a:lnTo>
                  <a:lnTo>
                    <a:pt x="1623114" y="1310636"/>
                  </a:lnTo>
                  <a:lnTo>
                    <a:pt x="1644812" y="1271299"/>
                  </a:lnTo>
                  <a:lnTo>
                    <a:pt x="1664508" y="1230758"/>
                  </a:lnTo>
                  <a:lnTo>
                    <a:pt x="1682136" y="1189078"/>
                  </a:lnTo>
                  <a:lnTo>
                    <a:pt x="1697628" y="1146325"/>
                  </a:lnTo>
                  <a:lnTo>
                    <a:pt x="1710920" y="1102568"/>
                  </a:lnTo>
                  <a:lnTo>
                    <a:pt x="1721943" y="1057870"/>
                  </a:lnTo>
                  <a:lnTo>
                    <a:pt x="1730633" y="1012300"/>
                  </a:lnTo>
                  <a:lnTo>
                    <a:pt x="1736922" y="965923"/>
                  </a:lnTo>
                  <a:lnTo>
                    <a:pt x="1740744" y="918807"/>
                  </a:lnTo>
                  <a:lnTo>
                    <a:pt x="1742033" y="871016"/>
                  </a:lnTo>
                  <a:lnTo>
                    <a:pt x="1740744" y="823226"/>
                  </a:lnTo>
                  <a:lnTo>
                    <a:pt x="1736922" y="776109"/>
                  </a:lnTo>
                  <a:lnTo>
                    <a:pt x="1730633" y="729733"/>
                  </a:lnTo>
                  <a:lnTo>
                    <a:pt x="1721943" y="684162"/>
                  </a:lnTo>
                  <a:lnTo>
                    <a:pt x="1710920" y="639465"/>
                  </a:lnTo>
                  <a:lnTo>
                    <a:pt x="1697628" y="595707"/>
                  </a:lnTo>
                  <a:lnTo>
                    <a:pt x="1682136" y="552955"/>
                  </a:lnTo>
                  <a:lnTo>
                    <a:pt x="1664508" y="511275"/>
                  </a:lnTo>
                  <a:lnTo>
                    <a:pt x="1644812" y="470733"/>
                  </a:lnTo>
                  <a:lnTo>
                    <a:pt x="1623114" y="431397"/>
                  </a:lnTo>
                  <a:lnTo>
                    <a:pt x="1599480" y="393332"/>
                  </a:lnTo>
                  <a:lnTo>
                    <a:pt x="1573978" y="356605"/>
                  </a:lnTo>
                  <a:lnTo>
                    <a:pt x="1546672" y="321282"/>
                  </a:lnTo>
                  <a:lnTo>
                    <a:pt x="1517630" y="287429"/>
                  </a:lnTo>
                  <a:lnTo>
                    <a:pt x="1486919" y="255114"/>
                  </a:lnTo>
                  <a:lnTo>
                    <a:pt x="1454603" y="224402"/>
                  </a:lnTo>
                  <a:lnTo>
                    <a:pt x="1420751" y="195360"/>
                  </a:lnTo>
                  <a:lnTo>
                    <a:pt x="1385428" y="168055"/>
                  </a:lnTo>
                  <a:lnTo>
                    <a:pt x="1348701" y="142552"/>
                  </a:lnTo>
                  <a:lnTo>
                    <a:pt x="1310636" y="118919"/>
                  </a:lnTo>
                  <a:lnTo>
                    <a:pt x="1271299" y="97221"/>
                  </a:lnTo>
                  <a:lnTo>
                    <a:pt x="1230758" y="77525"/>
                  </a:lnTo>
                  <a:lnTo>
                    <a:pt x="1189078" y="59897"/>
                  </a:lnTo>
                  <a:lnTo>
                    <a:pt x="1146325" y="44404"/>
                  </a:lnTo>
                  <a:lnTo>
                    <a:pt x="1102568" y="31113"/>
                  </a:lnTo>
                  <a:lnTo>
                    <a:pt x="1057870" y="20089"/>
                  </a:lnTo>
                  <a:lnTo>
                    <a:pt x="1012300" y="11400"/>
                  </a:lnTo>
                  <a:lnTo>
                    <a:pt x="965923" y="5110"/>
                  </a:lnTo>
                  <a:lnTo>
                    <a:pt x="918807" y="1288"/>
                  </a:lnTo>
                  <a:lnTo>
                    <a:pt x="871016" y="0"/>
                  </a:lnTo>
                  <a:close/>
                </a:path>
              </a:pathLst>
            </a:custGeom>
            <a:solidFill>
              <a:srgbClr val="0E5C77">
                <a:alpha val="23999"/>
              </a:srgbClr>
            </a:solidFill>
          </p:spPr>
          <p:txBody>
            <a:bodyPr wrap="square" lIns="0" tIns="0" rIns="0" bIns="0" rtlCol="0"/>
            <a:lstStyle/>
            <a:p>
              <a:endParaRPr/>
            </a:p>
          </p:txBody>
        </p:sp>
        <p:sp>
          <p:nvSpPr>
            <p:cNvPr id="22" name="object 9">
              <a:extLst>
                <a:ext uri="{FF2B5EF4-FFF2-40B4-BE49-F238E27FC236}">
                  <a16:creationId xmlns:a16="http://schemas.microsoft.com/office/drawing/2014/main" id="{E6538FF3-DDE2-42CC-7C40-B64B8CC9397A}"/>
                </a:ext>
              </a:extLst>
            </p:cNvPr>
            <p:cNvSpPr/>
            <p:nvPr/>
          </p:nvSpPr>
          <p:spPr>
            <a:xfrm>
              <a:off x="4273152" y="6359534"/>
              <a:ext cx="726683" cy="496356"/>
            </a:xfrm>
            <a:custGeom>
              <a:avLst/>
              <a:gdLst/>
              <a:ahLst/>
              <a:cxnLst/>
              <a:rect l="l" t="t" r="r" b="b"/>
              <a:pathLst>
                <a:path w="801370" h="547370">
                  <a:moveTo>
                    <a:pt x="400672" y="0"/>
                  </a:moveTo>
                  <a:lnTo>
                    <a:pt x="353945" y="2695"/>
                  </a:lnTo>
                  <a:lnTo>
                    <a:pt x="308801" y="10581"/>
                  </a:lnTo>
                  <a:lnTo>
                    <a:pt x="265542" y="23357"/>
                  </a:lnTo>
                  <a:lnTo>
                    <a:pt x="224466" y="40722"/>
                  </a:lnTo>
                  <a:lnTo>
                    <a:pt x="185876" y="62376"/>
                  </a:lnTo>
                  <a:lnTo>
                    <a:pt x="150072" y="88018"/>
                  </a:lnTo>
                  <a:lnTo>
                    <a:pt x="117354" y="117348"/>
                  </a:lnTo>
                  <a:lnTo>
                    <a:pt x="88023" y="150064"/>
                  </a:lnTo>
                  <a:lnTo>
                    <a:pt x="62379" y="185867"/>
                  </a:lnTo>
                  <a:lnTo>
                    <a:pt x="40724" y="224456"/>
                  </a:lnTo>
                  <a:lnTo>
                    <a:pt x="23358" y="265531"/>
                  </a:lnTo>
                  <a:lnTo>
                    <a:pt x="10582" y="308789"/>
                  </a:lnTo>
                  <a:lnTo>
                    <a:pt x="2695" y="353933"/>
                  </a:lnTo>
                  <a:lnTo>
                    <a:pt x="0" y="400659"/>
                  </a:lnTo>
                  <a:lnTo>
                    <a:pt x="2695" y="447386"/>
                  </a:lnTo>
                  <a:lnTo>
                    <a:pt x="10582" y="492529"/>
                  </a:lnTo>
                  <a:lnTo>
                    <a:pt x="23358" y="535789"/>
                  </a:lnTo>
                  <a:lnTo>
                    <a:pt x="28035" y="546851"/>
                  </a:lnTo>
                  <a:lnTo>
                    <a:pt x="773308" y="546851"/>
                  </a:lnTo>
                  <a:lnTo>
                    <a:pt x="777985" y="535789"/>
                  </a:lnTo>
                  <a:lnTo>
                    <a:pt x="790762" y="492529"/>
                  </a:lnTo>
                  <a:lnTo>
                    <a:pt x="798648" y="447386"/>
                  </a:lnTo>
                  <a:lnTo>
                    <a:pt x="801344" y="400659"/>
                  </a:lnTo>
                  <a:lnTo>
                    <a:pt x="798648" y="353933"/>
                  </a:lnTo>
                  <a:lnTo>
                    <a:pt x="790762" y="308789"/>
                  </a:lnTo>
                  <a:lnTo>
                    <a:pt x="777985" y="265531"/>
                  </a:lnTo>
                  <a:lnTo>
                    <a:pt x="760619" y="224456"/>
                  </a:lnTo>
                  <a:lnTo>
                    <a:pt x="738964" y="185867"/>
                  </a:lnTo>
                  <a:lnTo>
                    <a:pt x="713321" y="150064"/>
                  </a:lnTo>
                  <a:lnTo>
                    <a:pt x="683990" y="117348"/>
                  </a:lnTo>
                  <a:lnTo>
                    <a:pt x="651272" y="88018"/>
                  </a:lnTo>
                  <a:lnTo>
                    <a:pt x="615467" y="62376"/>
                  </a:lnTo>
                  <a:lnTo>
                    <a:pt x="576877" y="40722"/>
                  </a:lnTo>
                  <a:lnTo>
                    <a:pt x="535802" y="23357"/>
                  </a:lnTo>
                  <a:lnTo>
                    <a:pt x="492542" y="10581"/>
                  </a:lnTo>
                  <a:lnTo>
                    <a:pt x="447399" y="2695"/>
                  </a:lnTo>
                  <a:lnTo>
                    <a:pt x="400672" y="0"/>
                  </a:lnTo>
                  <a:close/>
                </a:path>
              </a:pathLst>
            </a:custGeom>
            <a:solidFill>
              <a:srgbClr val="0E5C77">
                <a:alpha val="23999"/>
              </a:srgbClr>
            </a:solidFill>
          </p:spPr>
          <p:txBody>
            <a:bodyPr wrap="square" lIns="0" tIns="0" rIns="0" bIns="0" rtlCol="0"/>
            <a:lstStyle/>
            <a:p>
              <a:endParaRPr/>
            </a:p>
          </p:txBody>
        </p:sp>
        <p:sp>
          <p:nvSpPr>
            <p:cNvPr id="23" name="object 10">
              <a:extLst>
                <a:ext uri="{FF2B5EF4-FFF2-40B4-BE49-F238E27FC236}">
                  <a16:creationId xmlns:a16="http://schemas.microsoft.com/office/drawing/2014/main" id="{E0B7C2DB-A4D1-95C8-95C5-D97562B895E0}"/>
                </a:ext>
              </a:extLst>
            </p:cNvPr>
            <p:cNvSpPr/>
            <p:nvPr/>
          </p:nvSpPr>
          <p:spPr>
            <a:xfrm>
              <a:off x="1979925" y="4720897"/>
              <a:ext cx="726683" cy="726683"/>
            </a:xfrm>
            <a:custGeom>
              <a:avLst/>
              <a:gdLst/>
              <a:ahLst/>
              <a:cxnLst/>
              <a:rect l="l" t="t" r="r" b="b"/>
              <a:pathLst>
                <a:path w="801369" h="801370">
                  <a:moveTo>
                    <a:pt x="400672" y="0"/>
                  </a:moveTo>
                  <a:lnTo>
                    <a:pt x="353945" y="2695"/>
                  </a:lnTo>
                  <a:lnTo>
                    <a:pt x="308801" y="10582"/>
                  </a:lnTo>
                  <a:lnTo>
                    <a:pt x="265542" y="23358"/>
                  </a:lnTo>
                  <a:lnTo>
                    <a:pt x="224466" y="40724"/>
                  </a:lnTo>
                  <a:lnTo>
                    <a:pt x="185876" y="62379"/>
                  </a:lnTo>
                  <a:lnTo>
                    <a:pt x="150072" y="88022"/>
                  </a:lnTo>
                  <a:lnTo>
                    <a:pt x="117354" y="117352"/>
                  </a:lnTo>
                  <a:lnTo>
                    <a:pt x="88023" y="150070"/>
                  </a:lnTo>
                  <a:lnTo>
                    <a:pt x="62379" y="185873"/>
                  </a:lnTo>
                  <a:lnTo>
                    <a:pt x="40724" y="224462"/>
                  </a:lnTo>
                  <a:lnTo>
                    <a:pt x="23358" y="265536"/>
                  </a:lnTo>
                  <a:lnTo>
                    <a:pt x="10582" y="308793"/>
                  </a:lnTo>
                  <a:lnTo>
                    <a:pt x="2695" y="353935"/>
                  </a:lnTo>
                  <a:lnTo>
                    <a:pt x="0" y="400659"/>
                  </a:lnTo>
                  <a:lnTo>
                    <a:pt x="2695" y="447386"/>
                  </a:lnTo>
                  <a:lnTo>
                    <a:pt x="10582" y="492529"/>
                  </a:lnTo>
                  <a:lnTo>
                    <a:pt x="23358" y="535789"/>
                  </a:lnTo>
                  <a:lnTo>
                    <a:pt x="40724" y="576864"/>
                  </a:lnTo>
                  <a:lnTo>
                    <a:pt x="62379" y="615455"/>
                  </a:lnTo>
                  <a:lnTo>
                    <a:pt x="88023" y="651259"/>
                  </a:lnTo>
                  <a:lnTo>
                    <a:pt x="117354" y="683977"/>
                  </a:lnTo>
                  <a:lnTo>
                    <a:pt x="150072" y="713308"/>
                  </a:lnTo>
                  <a:lnTo>
                    <a:pt x="185876" y="738951"/>
                  </a:lnTo>
                  <a:lnTo>
                    <a:pt x="224466" y="760607"/>
                  </a:lnTo>
                  <a:lnTo>
                    <a:pt x="265542" y="777973"/>
                  </a:lnTo>
                  <a:lnTo>
                    <a:pt x="308801" y="790749"/>
                  </a:lnTo>
                  <a:lnTo>
                    <a:pt x="353945" y="798636"/>
                  </a:lnTo>
                  <a:lnTo>
                    <a:pt x="400672" y="801331"/>
                  </a:lnTo>
                  <a:lnTo>
                    <a:pt x="447399" y="798636"/>
                  </a:lnTo>
                  <a:lnTo>
                    <a:pt x="492542" y="790749"/>
                  </a:lnTo>
                  <a:lnTo>
                    <a:pt x="535802" y="777973"/>
                  </a:lnTo>
                  <a:lnTo>
                    <a:pt x="576877" y="760607"/>
                  </a:lnTo>
                  <a:lnTo>
                    <a:pt x="615467" y="738951"/>
                  </a:lnTo>
                  <a:lnTo>
                    <a:pt x="651272" y="713308"/>
                  </a:lnTo>
                  <a:lnTo>
                    <a:pt x="683990" y="683977"/>
                  </a:lnTo>
                  <a:lnTo>
                    <a:pt x="713321" y="651259"/>
                  </a:lnTo>
                  <a:lnTo>
                    <a:pt x="738964" y="615455"/>
                  </a:lnTo>
                  <a:lnTo>
                    <a:pt x="760619" y="576864"/>
                  </a:lnTo>
                  <a:lnTo>
                    <a:pt x="777985" y="535789"/>
                  </a:lnTo>
                  <a:lnTo>
                    <a:pt x="790762" y="492529"/>
                  </a:lnTo>
                  <a:lnTo>
                    <a:pt x="798648" y="447386"/>
                  </a:lnTo>
                  <a:lnTo>
                    <a:pt x="801344" y="400659"/>
                  </a:lnTo>
                  <a:lnTo>
                    <a:pt x="798648" y="353935"/>
                  </a:lnTo>
                  <a:lnTo>
                    <a:pt x="790762" y="308793"/>
                  </a:lnTo>
                  <a:lnTo>
                    <a:pt x="777985" y="265536"/>
                  </a:lnTo>
                  <a:lnTo>
                    <a:pt x="760619" y="224462"/>
                  </a:lnTo>
                  <a:lnTo>
                    <a:pt x="738964" y="185873"/>
                  </a:lnTo>
                  <a:lnTo>
                    <a:pt x="713321" y="150070"/>
                  </a:lnTo>
                  <a:lnTo>
                    <a:pt x="683990" y="117352"/>
                  </a:lnTo>
                  <a:lnTo>
                    <a:pt x="651272" y="88022"/>
                  </a:lnTo>
                  <a:lnTo>
                    <a:pt x="615467" y="62379"/>
                  </a:lnTo>
                  <a:lnTo>
                    <a:pt x="576877" y="40724"/>
                  </a:lnTo>
                  <a:lnTo>
                    <a:pt x="535802" y="23358"/>
                  </a:lnTo>
                  <a:lnTo>
                    <a:pt x="492542" y="10582"/>
                  </a:lnTo>
                  <a:lnTo>
                    <a:pt x="447399" y="2695"/>
                  </a:lnTo>
                  <a:lnTo>
                    <a:pt x="400672" y="0"/>
                  </a:lnTo>
                  <a:close/>
                </a:path>
              </a:pathLst>
            </a:custGeom>
            <a:solidFill>
              <a:srgbClr val="0E5C77">
                <a:alpha val="23999"/>
              </a:srgbClr>
            </a:solidFill>
          </p:spPr>
          <p:txBody>
            <a:bodyPr wrap="square" lIns="0" tIns="0" rIns="0" bIns="0" rtlCol="0"/>
            <a:lstStyle/>
            <a:p>
              <a:endParaRPr/>
            </a:p>
          </p:txBody>
        </p:sp>
      </p:grpSp>
      <p:sp>
        <p:nvSpPr>
          <p:cNvPr id="30" name="Footer Placeholder 4">
            <a:extLst>
              <a:ext uri="{FF2B5EF4-FFF2-40B4-BE49-F238E27FC236}">
                <a16:creationId xmlns:a16="http://schemas.microsoft.com/office/drawing/2014/main" id="{02C401B5-B453-3BF0-01CE-3F0F63B03A02}"/>
              </a:ext>
            </a:extLst>
          </p:cNvPr>
          <p:cNvSpPr>
            <a:spLocks noGrp="1"/>
          </p:cNvSpPr>
          <p:nvPr userDrawn="1">
            <p:ph type="ftr" sz="quarter" idx="3"/>
          </p:nvPr>
        </p:nvSpPr>
        <p:spPr>
          <a:xfrm>
            <a:off x="735724" y="6114954"/>
            <a:ext cx="4929352" cy="365125"/>
          </a:xfrm>
          <a:prstGeom prst="rect">
            <a:avLst/>
          </a:prstGeom>
        </p:spPr>
        <p:txBody>
          <a:bodyPr/>
          <a:lstStyle>
            <a:lvl1pPr>
              <a:defRPr sz="1400">
                <a:solidFill>
                  <a:schemeClr val="tx2"/>
                </a:solidFill>
              </a:defRPr>
            </a:lvl1pPr>
          </a:lstStyle>
          <a:p>
            <a:endParaRPr lang="en-GB" dirty="0"/>
          </a:p>
        </p:txBody>
      </p:sp>
      <p:sp>
        <p:nvSpPr>
          <p:cNvPr id="2" name="Picture Placeholder 2">
            <a:extLst>
              <a:ext uri="{FF2B5EF4-FFF2-40B4-BE49-F238E27FC236}">
                <a16:creationId xmlns:a16="http://schemas.microsoft.com/office/drawing/2014/main" id="{8C7B287D-6B69-02D5-6050-7FEFF483FD05}"/>
              </a:ext>
            </a:extLst>
          </p:cNvPr>
          <p:cNvSpPr>
            <a:spLocks noGrp="1"/>
          </p:cNvSpPr>
          <p:nvPr>
            <p:ph type="pic" idx="10"/>
          </p:nvPr>
        </p:nvSpPr>
        <p:spPr>
          <a:xfrm>
            <a:off x="6254500" y="624086"/>
            <a:ext cx="7293907" cy="7195979"/>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itle 1">
            <a:extLst>
              <a:ext uri="{FF2B5EF4-FFF2-40B4-BE49-F238E27FC236}">
                <a16:creationId xmlns:a16="http://schemas.microsoft.com/office/drawing/2014/main" id="{5EDCDDA5-3A8E-2128-C19E-103FF1AA9177}"/>
              </a:ext>
            </a:extLst>
          </p:cNvPr>
          <p:cNvSpPr>
            <a:spLocks noGrp="1"/>
          </p:cNvSpPr>
          <p:nvPr>
            <p:ph type="title"/>
          </p:nvPr>
        </p:nvSpPr>
        <p:spPr>
          <a:xfrm>
            <a:off x="751841" y="365125"/>
            <a:ext cx="6492239" cy="1325563"/>
          </a:xfrm>
        </p:spPr>
        <p:txBody>
          <a:bodyPr>
            <a:normAutofit/>
          </a:bodyPr>
          <a:lstStyle>
            <a:lvl1pPr>
              <a:defRPr sz="2800" b="1">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16355124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_Section Header">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2D00DCAC-C40F-C3B9-F022-BCEE66A66A0B}"/>
              </a:ext>
            </a:extLst>
          </p:cNvPr>
          <p:cNvSpPr/>
          <p:nvPr userDrawn="1"/>
        </p:nvSpPr>
        <p:spPr>
          <a:xfrm>
            <a:off x="0" y="-4957"/>
            <a:ext cx="12197847" cy="6908925"/>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chemeClr val="bg2"/>
          </a:solidFill>
        </p:spPr>
        <p:txBody>
          <a:bodyPr wrap="square" lIns="0" tIns="0" rIns="0" bIns="0" rtlCol="0"/>
          <a:lstStyle/>
          <a:p>
            <a:endParaRPr sz="2000"/>
          </a:p>
        </p:txBody>
      </p:sp>
      <p:sp>
        <p:nvSpPr>
          <p:cNvPr id="8" name="object 4">
            <a:extLst>
              <a:ext uri="{FF2B5EF4-FFF2-40B4-BE49-F238E27FC236}">
                <a16:creationId xmlns:a16="http://schemas.microsoft.com/office/drawing/2014/main" id="{74673720-C835-BE5C-5C80-3FD8DB241F01}"/>
              </a:ext>
            </a:extLst>
          </p:cNvPr>
          <p:cNvSpPr/>
          <p:nvPr userDrawn="1"/>
        </p:nvSpPr>
        <p:spPr>
          <a:xfrm>
            <a:off x="11017319" y="4297582"/>
            <a:ext cx="456048" cy="456048"/>
          </a:xfrm>
          <a:custGeom>
            <a:avLst/>
            <a:gdLst/>
            <a:ahLst/>
            <a:cxnLst/>
            <a:rect l="l" t="t" r="r" b="b"/>
            <a:pathLst>
              <a:path w="502920" h="502920">
                <a:moveTo>
                  <a:pt x="251421" y="0"/>
                </a:moveTo>
                <a:lnTo>
                  <a:pt x="206227" y="4051"/>
                </a:lnTo>
                <a:lnTo>
                  <a:pt x="163690" y="15730"/>
                </a:lnTo>
                <a:lnTo>
                  <a:pt x="124522" y="34328"/>
                </a:lnTo>
                <a:lnTo>
                  <a:pt x="89431" y="59134"/>
                </a:lnTo>
                <a:lnTo>
                  <a:pt x="59129" y="89439"/>
                </a:lnTo>
                <a:lnTo>
                  <a:pt x="34325" y="124531"/>
                </a:lnTo>
                <a:lnTo>
                  <a:pt x="15728" y="163701"/>
                </a:lnTo>
                <a:lnTo>
                  <a:pt x="4050" y="206239"/>
                </a:lnTo>
                <a:lnTo>
                  <a:pt x="0" y="251434"/>
                </a:lnTo>
                <a:lnTo>
                  <a:pt x="4050" y="296626"/>
                </a:lnTo>
                <a:lnTo>
                  <a:pt x="15728" y="339160"/>
                </a:lnTo>
                <a:lnTo>
                  <a:pt x="34325" y="378328"/>
                </a:lnTo>
                <a:lnTo>
                  <a:pt x="59129" y="413419"/>
                </a:lnTo>
                <a:lnTo>
                  <a:pt x="89431" y="443722"/>
                </a:lnTo>
                <a:lnTo>
                  <a:pt x="124522" y="468528"/>
                </a:lnTo>
                <a:lnTo>
                  <a:pt x="163690" y="487126"/>
                </a:lnTo>
                <a:lnTo>
                  <a:pt x="206227" y="498805"/>
                </a:lnTo>
                <a:lnTo>
                  <a:pt x="251421" y="502856"/>
                </a:lnTo>
                <a:lnTo>
                  <a:pt x="296617" y="498805"/>
                </a:lnTo>
                <a:lnTo>
                  <a:pt x="339154" y="487126"/>
                </a:lnTo>
                <a:lnTo>
                  <a:pt x="378325" y="468528"/>
                </a:lnTo>
                <a:lnTo>
                  <a:pt x="413417" y="443722"/>
                </a:lnTo>
                <a:lnTo>
                  <a:pt x="443721" y="413419"/>
                </a:lnTo>
                <a:lnTo>
                  <a:pt x="468527" y="378328"/>
                </a:lnTo>
                <a:lnTo>
                  <a:pt x="487125" y="339160"/>
                </a:lnTo>
                <a:lnTo>
                  <a:pt x="498805" y="296626"/>
                </a:lnTo>
                <a:lnTo>
                  <a:pt x="502856" y="251434"/>
                </a:lnTo>
                <a:lnTo>
                  <a:pt x="498805" y="206239"/>
                </a:lnTo>
                <a:lnTo>
                  <a:pt x="487125" y="163701"/>
                </a:lnTo>
                <a:lnTo>
                  <a:pt x="468527" y="124531"/>
                </a:lnTo>
                <a:lnTo>
                  <a:pt x="443721" y="89439"/>
                </a:lnTo>
                <a:lnTo>
                  <a:pt x="413417" y="59134"/>
                </a:lnTo>
                <a:lnTo>
                  <a:pt x="378325" y="34328"/>
                </a:lnTo>
                <a:lnTo>
                  <a:pt x="339154" y="15730"/>
                </a:lnTo>
                <a:lnTo>
                  <a:pt x="296617" y="4051"/>
                </a:lnTo>
                <a:lnTo>
                  <a:pt x="251421" y="0"/>
                </a:lnTo>
                <a:close/>
              </a:path>
            </a:pathLst>
          </a:custGeom>
          <a:solidFill>
            <a:srgbClr val="0E5C77">
              <a:alpha val="23999"/>
            </a:srgbClr>
          </a:solidFill>
        </p:spPr>
        <p:txBody>
          <a:bodyPr wrap="square" lIns="0" tIns="0" rIns="0" bIns="0" rtlCol="0"/>
          <a:lstStyle/>
          <a:p>
            <a:endParaRPr/>
          </a:p>
        </p:txBody>
      </p:sp>
      <p:sp>
        <p:nvSpPr>
          <p:cNvPr id="9" name="object 4">
            <a:extLst>
              <a:ext uri="{FF2B5EF4-FFF2-40B4-BE49-F238E27FC236}">
                <a16:creationId xmlns:a16="http://schemas.microsoft.com/office/drawing/2014/main" id="{46D95486-8AE6-9324-FF15-FB06241C299A}"/>
              </a:ext>
            </a:extLst>
          </p:cNvPr>
          <p:cNvSpPr/>
          <p:nvPr userDrawn="1"/>
        </p:nvSpPr>
        <p:spPr>
          <a:xfrm>
            <a:off x="10858176" y="4794163"/>
            <a:ext cx="2203785" cy="2203785"/>
          </a:xfrm>
          <a:custGeom>
            <a:avLst/>
            <a:gdLst/>
            <a:ahLst/>
            <a:cxnLst/>
            <a:rect l="l" t="t" r="r" b="b"/>
            <a:pathLst>
              <a:path w="502920" h="502920">
                <a:moveTo>
                  <a:pt x="251421" y="0"/>
                </a:moveTo>
                <a:lnTo>
                  <a:pt x="206227" y="4051"/>
                </a:lnTo>
                <a:lnTo>
                  <a:pt x="163690" y="15730"/>
                </a:lnTo>
                <a:lnTo>
                  <a:pt x="124522" y="34328"/>
                </a:lnTo>
                <a:lnTo>
                  <a:pt x="89431" y="59134"/>
                </a:lnTo>
                <a:lnTo>
                  <a:pt x="59129" y="89439"/>
                </a:lnTo>
                <a:lnTo>
                  <a:pt x="34325" y="124531"/>
                </a:lnTo>
                <a:lnTo>
                  <a:pt x="15728" y="163701"/>
                </a:lnTo>
                <a:lnTo>
                  <a:pt x="4050" y="206239"/>
                </a:lnTo>
                <a:lnTo>
                  <a:pt x="0" y="251434"/>
                </a:lnTo>
                <a:lnTo>
                  <a:pt x="4050" y="296626"/>
                </a:lnTo>
                <a:lnTo>
                  <a:pt x="15728" y="339160"/>
                </a:lnTo>
                <a:lnTo>
                  <a:pt x="34325" y="378328"/>
                </a:lnTo>
                <a:lnTo>
                  <a:pt x="59129" y="413419"/>
                </a:lnTo>
                <a:lnTo>
                  <a:pt x="89431" y="443722"/>
                </a:lnTo>
                <a:lnTo>
                  <a:pt x="124522" y="468528"/>
                </a:lnTo>
                <a:lnTo>
                  <a:pt x="163690" y="487126"/>
                </a:lnTo>
                <a:lnTo>
                  <a:pt x="206227" y="498805"/>
                </a:lnTo>
                <a:lnTo>
                  <a:pt x="251421" y="502856"/>
                </a:lnTo>
                <a:lnTo>
                  <a:pt x="296617" y="498805"/>
                </a:lnTo>
                <a:lnTo>
                  <a:pt x="339154" y="487126"/>
                </a:lnTo>
                <a:lnTo>
                  <a:pt x="378325" y="468528"/>
                </a:lnTo>
                <a:lnTo>
                  <a:pt x="413417" y="443722"/>
                </a:lnTo>
                <a:lnTo>
                  <a:pt x="443721" y="413419"/>
                </a:lnTo>
                <a:lnTo>
                  <a:pt x="468527" y="378328"/>
                </a:lnTo>
                <a:lnTo>
                  <a:pt x="487125" y="339160"/>
                </a:lnTo>
                <a:lnTo>
                  <a:pt x="498805" y="296626"/>
                </a:lnTo>
                <a:lnTo>
                  <a:pt x="502856" y="251434"/>
                </a:lnTo>
                <a:lnTo>
                  <a:pt x="498805" y="206239"/>
                </a:lnTo>
                <a:lnTo>
                  <a:pt x="487125" y="163701"/>
                </a:lnTo>
                <a:lnTo>
                  <a:pt x="468527" y="124531"/>
                </a:lnTo>
                <a:lnTo>
                  <a:pt x="443721" y="89439"/>
                </a:lnTo>
                <a:lnTo>
                  <a:pt x="413417" y="59134"/>
                </a:lnTo>
                <a:lnTo>
                  <a:pt x="378325" y="34328"/>
                </a:lnTo>
                <a:lnTo>
                  <a:pt x="339154" y="15730"/>
                </a:lnTo>
                <a:lnTo>
                  <a:pt x="296617" y="4051"/>
                </a:lnTo>
                <a:lnTo>
                  <a:pt x="251421" y="0"/>
                </a:lnTo>
                <a:close/>
              </a:path>
            </a:pathLst>
          </a:custGeom>
          <a:solidFill>
            <a:srgbClr val="0E5C77">
              <a:alpha val="23999"/>
            </a:srgbClr>
          </a:solidFill>
        </p:spPr>
        <p:txBody>
          <a:bodyPr wrap="square" lIns="0" tIns="0" rIns="0" bIns="0" rtlCol="0"/>
          <a:lstStyle/>
          <a:p>
            <a:endParaRPr/>
          </a:p>
        </p:txBody>
      </p:sp>
      <p:sp>
        <p:nvSpPr>
          <p:cNvPr id="10" name="object 4">
            <a:extLst>
              <a:ext uri="{FF2B5EF4-FFF2-40B4-BE49-F238E27FC236}">
                <a16:creationId xmlns:a16="http://schemas.microsoft.com/office/drawing/2014/main" id="{6EE743A1-10E0-9B86-6AD1-E9B92D62DCE7}"/>
              </a:ext>
            </a:extLst>
          </p:cNvPr>
          <p:cNvSpPr/>
          <p:nvPr userDrawn="1"/>
        </p:nvSpPr>
        <p:spPr>
          <a:xfrm>
            <a:off x="10211952" y="5003948"/>
            <a:ext cx="456048" cy="456048"/>
          </a:xfrm>
          <a:custGeom>
            <a:avLst/>
            <a:gdLst/>
            <a:ahLst/>
            <a:cxnLst/>
            <a:rect l="l" t="t" r="r" b="b"/>
            <a:pathLst>
              <a:path w="502920" h="502920">
                <a:moveTo>
                  <a:pt x="251421" y="0"/>
                </a:moveTo>
                <a:lnTo>
                  <a:pt x="206227" y="4051"/>
                </a:lnTo>
                <a:lnTo>
                  <a:pt x="163690" y="15730"/>
                </a:lnTo>
                <a:lnTo>
                  <a:pt x="124522" y="34328"/>
                </a:lnTo>
                <a:lnTo>
                  <a:pt x="89431" y="59134"/>
                </a:lnTo>
                <a:lnTo>
                  <a:pt x="59129" y="89439"/>
                </a:lnTo>
                <a:lnTo>
                  <a:pt x="34325" y="124531"/>
                </a:lnTo>
                <a:lnTo>
                  <a:pt x="15728" y="163701"/>
                </a:lnTo>
                <a:lnTo>
                  <a:pt x="4050" y="206239"/>
                </a:lnTo>
                <a:lnTo>
                  <a:pt x="0" y="251434"/>
                </a:lnTo>
                <a:lnTo>
                  <a:pt x="4050" y="296626"/>
                </a:lnTo>
                <a:lnTo>
                  <a:pt x="15728" y="339160"/>
                </a:lnTo>
                <a:lnTo>
                  <a:pt x="34325" y="378328"/>
                </a:lnTo>
                <a:lnTo>
                  <a:pt x="59129" y="413419"/>
                </a:lnTo>
                <a:lnTo>
                  <a:pt x="89431" y="443722"/>
                </a:lnTo>
                <a:lnTo>
                  <a:pt x="124522" y="468528"/>
                </a:lnTo>
                <a:lnTo>
                  <a:pt x="163690" y="487126"/>
                </a:lnTo>
                <a:lnTo>
                  <a:pt x="206227" y="498805"/>
                </a:lnTo>
                <a:lnTo>
                  <a:pt x="251421" y="502856"/>
                </a:lnTo>
                <a:lnTo>
                  <a:pt x="296617" y="498805"/>
                </a:lnTo>
                <a:lnTo>
                  <a:pt x="339154" y="487126"/>
                </a:lnTo>
                <a:lnTo>
                  <a:pt x="378325" y="468528"/>
                </a:lnTo>
                <a:lnTo>
                  <a:pt x="413417" y="443722"/>
                </a:lnTo>
                <a:lnTo>
                  <a:pt x="443721" y="413419"/>
                </a:lnTo>
                <a:lnTo>
                  <a:pt x="468527" y="378328"/>
                </a:lnTo>
                <a:lnTo>
                  <a:pt x="487125" y="339160"/>
                </a:lnTo>
                <a:lnTo>
                  <a:pt x="498805" y="296626"/>
                </a:lnTo>
                <a:lnTo>
                  <a:pt x="502856" y="251434"/>
                </a:lnTo>
                <a:lnTo>
                  <a:pt x="498805" y="206239"/>
                </a:lnTo>
                <a:lnTo>
                  <a:pt x="487125" y="163701"/>
                </a:lnTo>
                <a:lnTo>
                  <a:pt x="468527" y="124531"/>
                </a:lnTo>
                <a:lnTo>
                  <a:pt x="443721" y="89439"/>
                </a:lnTo>
                <a:lnTo>
                  <a:pt x="413417" y="59134"/>
                </a:lnTo>
                <a:lnTo>
                  <a:pt x="378325" y="34328"/>
                </a:lnTo>
                <a:lnTo>
                  <a:pt x="339154" y="15730"/>
                </a:lnTo>
                <a:lnTo>
                  <a:pt x="296617" y="4051"/>
                </a:lnTo>
                <a:lnTo>
                  <a:pt x="251421" y="0"/>
                </a:lnTo>
                <a:close/>
              </a:path>
            </a:pathLst>
          </a:custGeom>
          <a:solidFill>
            <a:srgbClr val="0E5C77">
              <a:alpha val="23999"/>
            </a:srgbClr>
          </a:solidFill>
        </p:spPr>
        <p:txBody>
          <a:bodyPr wrap="square" lIns="0" tIns="0" rIns="0" bIns="0" rtlCol="0"/>
          <a:lstStyle/>
          <a:p>
            <a:endParaRPr/>
          </a:p>
        </p:txBody>
      </p:sp>
      <p:sp>
        <p:nvSpPr>
          <p:cNvPr id="11" name="object 4">
            <a:extLst>
              <a:ext uri="{FF2B5EF4-FFF2-40B4-BE49-F238E27FC236}">
                <a16:creationId xmlns:a16="http://schemas.microsoft.com/office/drawing/2014/main" id="{E8D99936-C791-EC50-A678-76F12A1EC831}"/>
              </a:ext>
            </a:extLst>
          </p:cNvPr>
          <p:cNvSpPr/>
          <p:nvPr userDrawn="1"/>
        </p:nvSpPr>
        <p:spPr>
          <a:xfrm>
            <a:off x="9239151" y="4572895"/>
            <a:ext cx="814552" cy="814552"/>
          </a:xfrm>
          <a:custGeom>
            <a:avLst/>
            <a:gdLst/>
            <a:ahLst/>
            <a:cxnLst/>
            <a:rect l="l" t="t" r="r" b="b"/>
            <a:pathLst>
              <a:path w="502920" h="502920">
                <a:moveTo>
                  <a:pt x="251421" y="0"/>
                </a:moveTo>
                <a:lnTo>
                  <a:pt x="206227" y="4051"/>
                </a:lnTo>
                <a:lnTo>
                  <a:pt x="163690" y="15730"/>
                </a:lnTo>
                <a:lnTo>
                  <a:pt x="124522" y="34328"/>
                </a:lnTo>
                <a:lnTo>
                  <a:pt x="89431" y="59134"/>
                </a:lnTo>
                <a:lnTo>
                  <a:pt x="59129" y="89439"/>
                </a:lnTo>
                <a:lnTo>
                  <a:pt x="34325" y="124531"/>
                </a:lnTo>
                <a:lnTo>
                  <a:pt x="15728" y="163701"/>
                </a:lnTo>
                <a:lnTo>
                  <a:pt x="4050" y="206239"/>
                </a:lnTo>
                <a:lnTo>
                  <a:pt x="0" y="251434"/>
                </a:lnTo>
                <a:lnTo>
                  <a:pt x="4050" y="296626"/>
                </a:lnTo>
                <a:lnTo>
                  <a:pt x="15728" y="339160"/>
                </a:lnTo>
                <a:lnTo>
                  <a:pt x="34325" y="378328"/>
                </a:lnTo>
                <a:lnTo>
                  <a:pt x="59129" y="413419"/>
                </a:lnTo>
                <a:lnTo>
                  <a:pt x="89431" y="443722"/>
                </a:lnTo>
                <a:lnTo>
                  <a:pt x="124522" y="468528"/>
                </a:lnTo>
                <a:lnTo>
                  <a:pt x="163690" y="487126"/>
                </a:lnTo>
                <a:lnTo>
                  <a:pt x="206227" y="498805"/>
                </a:lnTo>
                <a:lnTo>
                  <a:pt x="251421" y="502856"/>
                </a:lnTo>
                <a:lnTo>
                  <a:pt x="296617" y="498805"/>
                </a:lnTo>
                <a:lnTo>
                  <a:pt x="339154" y="487126"/>
                </a:lnTo>
                <a:lnTo>
                  <a:pt x="378325" y="468528"/>
                </a:lnTo>
                <a:lnTo>
                  <a:pt x="413417" y="443722"/>
                </a:lnTo>
                <a:lnTo>
                  <a:pt x="443721" y="413419"/>
                </a:lnTo>
                <a:lnTo>
                  <a:pt x="468527" y="378328"/>
                </a:lnTo>
                <a:lnTo>
                  <a:pt x="487125" y="339160"/>
                </a:lnTo>
                <a:lnTo>
                  <a:pt x="498805" y="296626"/>
                </a:lnTo>
                <a:lnTo>
                  <a:pt x="502856" y="251434"/>
                </a:lnTo>
                <a:lnTo>
                  <a:pt x="498805" y="206239"/>
                </a:lnTo>
                <a:lnTo>
                  <a:pt x="487125" y="163701"/>
                </a:lnTo>
                <a:lnTo>
                  <a:pt x="468527" y="124531"/>
                </a:lnTo>
                <a:lnTo>
                  <a:pt x="443721" y="89439"/>
                </a:lnTo>
                <a:lnTo>
                  <a:pt x="413417" y="59134"/>
                </a:lnTo>
                <a:lnTo>
                  <a:pt x="378325" y="34328"/>
                </a:lnTo>
                <a:lnTo>
                  <a:pt x="339154" y="15730"/>
                </a:lnTo>
                <a:lnTo>
                  <a:pt x="296617" y="4051"/>
                </a:lnTo>
                <a:lnTo>
                  <a:pt x="251421" y="0"/>
                </a:lnTo>
                <a:close/>
              </a:path>
            </a:pathLst>
          </a:custGeom>
          <a:solidFill>
            <a:srgbClr val="0E5C77">
              <a:alpha val="23999"/>
            </a:srgbClr>
          </a:solidFill>
        </p:spPr>
        <p:txBody>
          <a:bodyPr wrap="square" lIns="0" tIns="0" rIns="0" bIns="0" rtlCol="0"/>
          <a:lstStyle/>
          <a:p>
            <a:endParaRPr/>
          </a:p>
        </p:txBody>
      </p:sp>
      <p:sp>
        <p:nvSpPr>
          <p:cNvPr id="12" name="object 4">
            <a:extLst>
              <a:ext uri="{FF2B5EF4-FFF2-40B4-BE49-F238E27FC236}">
                <a16:creationId xmlns:a16="http://schemas.microsoft.com/office/drawing/2014/main" id="{3A7B13D2-0D85-68C1-7844-658E315F6177}"/>
              </a:ext>
            </a:extLst>
          </p:cNvPr>
          <p:cNvSpPr/>
          <p:nvPr userDrawn="1"/>
        </p:nvSpPr>
        <p:spPr>
          <a:xfrm>
            <a:off x="7173395" y="6277376"/>
            <a:ext cx="814552" cy="814552"/>
          </a:xfrm>
          <a:custGeom>
            <a:avLst/>
            <a:gdLst/>
            <a:ahLst/>
            <a:cxnLst/>
            <a:rect l="l" t="t" r="r" b="b"/>
            <a:pathLst>
              <a:path w="502920" h="502920">
                <a:moveTo>
                  <a:pt x="251421" y="0"/>
                </a:moveTo>
                <a:lnTo>
                  <a:pt x="206227" y="4051"/>
                </a:lnTo>
                <a:lnTo>
                  <a:pt x="163690" y="15730"/>
                </a:lnTo>
                <a:lnTo>
                  <a:pt x="124522" y="34328"/>
                </a:lnTo>
                <a:lnTo>
                  <a:pt x="89431" y="59134"/>
                </a:lnTo>
                <a:lnTo>
                  <a:pt x="59129" y="89439"/>
                </a:lnTo>
                <a:lnTo>
                  <a:pt x="34325" y="124531"/>
                </a:lnTo>
                <a:lnTo>
                  <a:pt x="15728" y="163701"/>
                </a:lnTo>
                <a:lnTo>
                  <a:pt x="4050" y="206239"/>
                </a:lnTo>
                <a:lnTo>
                  <a:pt x="0" y="251434"/>
                </a:lnTo>
                <a:lnTo>
                  <a:pt x="4050" y="296626"/>
                </a:lnTo>
                <a:lnTo>
                  <a:pt x="15728" y="339160"/>
                </a:lnTo>
                <a:lnTo>
                  <a:pt x="34325" y="378328"/>
                </a:lnTo>
                <a:lnTo>
                  <a:pt x="59129" y="413419"/>
                </a:lnTo>
                <a:lnTo>
                  <a:pt x="89431" y="443722"/>
                </a:lnTo>
                <a:lnTo>
                  <a:pt x="124522" y="468528"/>
                </a:lnTo>
                <a:lnTo>
                  <a:pt x="163690" y="487126"/>
                </a:lnTo>
                <a:lnTo>
                  <a:pt x="206227" y="498805"/>
                </a:lnTo>
                <a:lnTo>
                  <a:pt x="251421" y="502856"/>
                </a:lnTo>
                <a:lnTo>
                  <a:pt x="296617" y="498805"/>
                </a:lnTo>
                <a:lnTo>
                  <a:pt x="339154" y="487126"/>
                </a:lnTo>
                <a:lnTo>
                  <a:pt x="378325" y="468528"/>
                </a:lnTo>
                <a:lnTo>
                  <a:pt x="413417" y="443722"/>
                </a:lnTo>
                <a:lnTo>
                  <a:pt x="443721" y="413419"/>
                </a:lnTo>
                <a:lnTo>
                  <a:pt x="468527" y="378328"/>
                </a:lnTo>
                <a:lnTo>
                  <a:pt x="487125" y="339160"/>
                </a:lnTo>
                <a:lnTo>
                  <a:pt x="498805" y="296626"/>
                </a:lnTo>
                <a:lnTo>
                  <a:pt x="502856" y="251434"/>
                </a:lnTo>
                <a:lnTo>
                  <a:pt x="498805" y="206239"/>
                </a:lnTo>
                <a:lnTo>
                  <a:pt x="487125" y="163701"/>
                </a:lnTo>
                <a:lnTo>
                  <a:pt x="468527" y="124531"/>
                </a:lnTo>
                <a:lnTo>
                  <a:pt x="443721" y="89439"/>
                </a:lnTo>
                <a:lnTo>
                  <a:pt x="413417" y="59134"/>
                </a:lnTo>
                <a:lnTo>
                  <a:pt x="378325" y="34328"/>
                </a:lnTo>
                <a:lnTo>
                  <a:pt x="339154" y="15730"/>
                </a:lnTo>
                <a:lnTo>
                  <a:pt x="296617" y="4051"/>
                </a:lnTo>
                <a:lnTo>
                  <a:pt x="251421" y="0"/>
                </a:lnTo>
                <a:close/>
              </a:path>
            </a:pathLst>
          </a:custGeom>
          <a:solidFill>
            <a:srgbClr val="0E5C77">
              <a:alpha val="23999"/>
            </a:srgbClr>
          </a:solidFill>
        </p:spPr>
        <p:txBody>
          <a:bodyPr wrap="square" lIns="0" tIns="0" rIns="0" bIns="0" rtlCol="0"/>
          <a:lstStyle/>
          <a:p>
            <a:endParaRPr/>
          </a:p>
        </p:txBody>
      </p:sp>
      <p:sp>
        <p:nvSpPr>
          <p:cNvPr id="13" name="object 4">
            <a:extLst>
              <a:ext uri="{FF2B5EF4-FFF2-40B4-BE49-F238E27FC236}">
                <a16:creationId xmlns:a16="http://schemas.microsoft.com/office/drawing/2014/main" id="{01DC0EFC-6C93-BFA0-523B-FE355A921294}"/>
              </a:ext>
            </a:extLst>
          </p:cNvPr>
          <p:cNvSpPr/>
          <p:nvPr userDrawn="1"/>
        </p:nvSpPr>
        <p:spPr>
          <a:xfrm>
            <a:off x="6464955" y="5911803"/>
            <a:ext cx="456048" cy="456048"/>
          </a:xfrm>
          <a:custGeom>
            <a:avLst/>
            <a:gdLst/>
            <a:ahLst/>
            <a:cxnLst/>
            <a:rect l="l" t="t" r="r" b="b"/>
            <a:pathLst>
              <a:path w="502920" h="502920">
                <a:moveTo>
                  <a:pt x="251421" y="0"/>
                </a:moveTo>
                <a:lnTo>
                  <a:pt x="206227" y="4051"/>
                </a:lnTo>
                <a:lnTo>
                  <a:pt x="163690" y="15730"/>
                </a:lnTo>
                <a:lnTo>
                  <a:pt x="124522" y="34328"/>
                </a:lnTo>
                <a:lnTo>
                  <a:pt x="89431" y="59134"/>
                </a:lnTo>
                <a:lnTo>
                  <a:pt x="59129" y="89439"/>
                </a:lnTo>
                <a:lnTo>
                  <a:pt x="34325" y="124531"/>
                </a:lnTo>
                <a:lnTo>
                  <a:pt x="15728" y="163701"/>
                </a:lnTo>
                <a:lnTo>
                  <a:pt x="4050" y="206239"/>
                </a:lnTo>
                <a:lnTo>
                  <a:pt x="0" y="251434"/>
                </a:lnTo>
                <a:lnTo>
                  <a:pt x="4050" y="296626"/>
                </a:lnTo>
                <a:lnTo>
                  <a:pt x="15728" y="339160"/>
                </a:lnTo>
                <a:lnTo>
                  <a:pt x="34325" y="378328"/>
                </a:lnTo>
                <a:lnTo>
                  <a:pt x="59129" y="413419"/>
                </a:lnTo>
                <a:lnTo>
                  <a:pt x="89431" y="443722"/>
                </a:lnTo>
                <a:lnTo>
                  <a:pt x="124522" y="468528"/>
                </a:lnTo>
                <a:lnTo>
                  <a:pt x="163690" y="487126"/>
                </a:lnTo>
                <a:lnTo>
                  <a:pt x="206227" y="498805"/>
                </a:lnTo>
                <a:lnTo>
                  <a:pt x="251421" y="502856"/>
                </a:lnTo>
                <a:lnTo>
                  <a:pt x="296617" y="498805"/>
                </a:lnTo>
                <a:lnTo>
                  <a:pt x="339154" y="487126"/>
                </a:lnTo>
                <a:lnTo>
                  <a:pt x="378325" y="468528"/>
                </a:lnTo>
                <a:lnTo>
                  <a:pt x="413417" y="443722"/>
                </a:lnTo>
                <a:lnTo>
                  <a:pt x="443721" y="413419"/>
                </a:lnTo>
                <a:lnTo>
                  <a:pt x="468527" y="378328"/>
                </a:lnTo>
                <a:lnTo>
                  <a:pt x="487125" y="339160"/>
                </a:lnTo>
                <a:lnTo>
                  <a:pt x="498805" y="296626"/>
                </a:lnTo>
                <a:lnTo>
                  <a:pt x="502856" y="251434"/>
                </a:lnTo>
                <a:lnTo>
                  <a:pt x="498805" y="206239"/>
                </a:lnTo>
                <a:lnTo>
                  <a:pt x="487125" y="163701"/>
                </a:lnTo>
                <a:lnTo>
                  <a:pt x="468527" y="124531"/>
                </a:lnTo>
                <a:lnTo>
                  <a:pt x="443721" y="89439"/>
                </a:lnTo>
                <a:lnTo>
                  <a:pt x="413417" y="59134"/>
                </a:lnTo>
                <a:lnTo>
                  <a:pt x="378325" y="34328"/>
                </a:lnTo>
                <a:lnTo>
                  <a:pt x="339154" y="15730"/>
                </a:lnTo>
                <a:lnTo>
                  <a:pt x="296617" y="4051"/>
                </a:lnTo>
                <a:lnTo>
                  <a:pt x="251421" y="0"/>
                </a:lnTo>
                <a:close/>
              </a:path>
            </a:pathLst>
          </a:custGeom>
          <a:solidFill>
            <a:srgbClr val="0E5C77">
              <a:alpha val="23999"/>
            </a:srgbClr>
          </a:solidFill>
        </p:spPr>
        <p:txBody>
          <a:bodyPr wrap="square" lIns="0" tIns="0" rIns="0" bIns="0" rtlCol="0"/>
          <a:lstStyle/>
          <a:p>
            <a:endParaRPr/>
          </a:p>
        </p:txBody>
      </p:sp>
      <p:sp>
        <p:nvSpPr>
          <p:cNvPr id="14" name="object 4">
            <a:extLst>
              <a:ext uri="{FF2B5EF4-FFF2-40B4-BE49-F238E27FC236}">
                <a16:creationId xmlns:a16="http://schemas.microsoft.com/office/drawing/2014/main" id="{34D1CC05-DC4E-8B38-D132-6D0E40FCB802}"/>
              </a:ext>
            </a:extLst>
          </p:cNvPr>
          <p:cNvSpPr/>
          <p:nvPr userDrawn="1"/>
        </p:nvSpPr>
        <p:spPr>
          <a:xfrm>
            <a:off x="6826903" y="3913649"/>
            <a:ext cx="2203785" cy="2203785"/>
          </a:xfrm>
          <a:custGeom>
            <a:avLst/>
            <a:gdLst/>
            <a:ahLst/>
            <a:cxnLst/>
            <a:rect l="l" t="t" r="r" b="b"/>
            <a:pathLst>
              <a:path w="502920" h="502920">
                <a:moveTo>
                  <a:pt x="251421" y="0"/>
                </a:moveTo>
                <a:lnTo>
                  <a:pt x="206227" y="4051"/>
                </a:lnTo>
                <a:lnTo>
                  <a:pt x="163690" y="15730"/>
                </a:lnTo>
                <a:lnTo>
                  <a:pt x="124522" y="34328"/>
                </a:lnTo>
                <a:lnTo>
                  <a:pt x="89431" y="59134"/>
                </a:lnTo>
                <a:lnTo>
                  <a:pt x="59129" y="89439"/>
                </a:lnTo>
                <a:lnTo>
                  <a:pt x="34325" y="124531"/>
                </a:lnTo>
                <a:lnTo>
                  <a:pt x="15728" y="163701"/>
                </a:lnTo>
                <a:lnTo>
                  <a:pt x="4050" y="206239"/>
                </a:lnTo>
                <a:lnTo>
                  <a:pt x="0" y="251434"/>
                </a:lnTo>
                <a:lnTo>
                  <a:pt x="4050" y="296626"/>
                </a:lnTo>
                <a:lnTo>
                  <a:pt x="15728" y="339160"/>
                </a:lnTo>
                <a:lnTo>
                  <a:pt x="34325" y="378328"/>
                </a:lnTo>
                <a:lnTo>
                  <a:pt x="59129" y="413419"/>
                </a:lnTo>
                <a:lnTo>
                  <a:pt x="89431" y="443722"/>
                </a:lnTo>
                <a:lnTo>
                  <a:pt x="124522" y="468528"/>
                </a:lnTo>
                <a:lnTo>
                  <a:pt x="163690" y="487126"/>
                </a:lnTo>
                <a:lnTo>
                  <a:pt x="206227" y="498805"/>
                </a:lnTo>
                <a:lnTo>
                  <a:pt x="251421" y="502856"/>
                </a:lnTo>
                <a:lnTo>
                  <a:pt x="296617" y="498805"/>
                </a:lnTo>
                <a:lnTo>
                  <a:pt x="339154" y="487126"/>
                </a:lnTo>
                <a:lnTo>
                  <a:pt x="378325" y="468528"/>
                </a:lnTo>
                <a:lnTo>
                  <a:pt x="413417" y="443722"/>
                </a:lnTo>
                <a:lnTo>
                  <a:pt x="443721" y="413419"/>
                </a:lnTo>
                <a:lnTo>
                  <a:pt x="468527" y="378328"/>
                </a:lnTo>
                <a:lnTo>
                  <a:pt x="487125" y="339160"/>
                </a:lnTo>
                <a:lnTo>
                  <a:pt x="498805" y="296626"/>
                </a:lnTo>
                <a:lnTo>
                  <a:pt x="502856" y="251434"/>
                </a:lnTo>
                <a:lnTo>
                  <a:pt x="498805" y="206239"/>
                </a:lnTo>
                <a:lnTo>
                  <a:pt x="487125" y="163701"/>
                </a:lnTo>
                <a:lnTo>
                  <a:pt x="468527" y="124531"/>
                </a:lnTo>
                <a:lnTo>
                  <a:pt x="443721" y="89439"/>
                </a:lnTo>
                <a:lnTo>
                  <a:pt x="413417" y="59134"/>
                </a:lnTo>
                <a:lnTo>
                  <a:pt x="378325" y="34328"/>
                </a:lnTo>
                <a:lnTo>
                  <a:pt x="339154" y="15730"/>
                </a:lnTo>
                <a:lnTo>
                  <a:pt x="296617" y="4051"/>
                </a:lnTo>
                <a:lnTo>
                  <a:pt x="251421" y="0"/>
                </a:lnTo>
                <a:close/>
              </a:path>
            </a:pathLst>
          </a:custGeom>
          <a:solidFill>
            <a:srgbClr val="0E5C77">
              <a:alpha val="23999"/>
            </a:srgbClr>
          </a:solidFill>
        </p:spPr>
        <p:txBody>
          <a:bodyPr wrap="square" lIns="0" tIns="0" rIns="0" bIns="0" rtlCol="0"/>
          <a:lstStyle/>
          <a:p>
            <a:endParaRPr/>
          </a:p>
        </p:txBody>
      </p:sp>
      <p:sp>
        <p:nvSpPr>
          <p:cNvPr id="16" name="object 4">
            <a:extLst>
              <a:ext uri="{FF2B5EF4-FFF2-40B4-BE49-F238E27FC236}">
                <a16:creationId xmlns:a16="http://schemas.microsoft.com/office/drawing/2014/main" id="{3439139F-F645-CA8D-5BF1-27B8526442E2}"/>
              </a:ext>
            </a:extLst>
          </p:cNvPr>
          <p:cNvSpPr/>
          <p:nvPr userDrawn="1"/>
        </p:nvSpPr>
        <p:spPr>
          <a:xfrm>
            <a:off x="8852061" y="5677297"/>
            <a:ext cx="1497988" cy="1497988"/>
          </a:xfrm>
          <a:custGeom>
            <a:avLst/>
            <a:gdLst/>
            <a:ahLst/>
            <a:cxnLst/>
            <a:rect l="l" t="t" r="r" b="b"/>
            <a:pathLst>
              <a:path w="502920" h="502920">
                <a:moveTo>
                  <a:pt x="251421" y="0"/>
                </a:moveTo>
                <a:lnTo>
                  <a:pt x="206227" y="4051"/>
                </a:lnTo>
                <a:lnTo>
                  <a:pt x="163690" y="15730"/>
                </a:lnTo>
                <a:lnTo>
                  <a:pt x="124522" y="34328"/>
                </a:lnTo>
                <a:lnTo>
                  <a:pt x="89431" y="59134"/>
                </a:lnTo>
                <a:lnTo>
                  <a:pt x="59129" y="89439"/>
                </a:lnTo>
                <a:lnTo>
                  <a:pt x="34325" y="124531"/>
                </a:lnTo>
                <a:lnTo>
                  <a:pt x="15728" y="163701"/>
                </a:lnTo>
                <a:lnTo>
                  <a:pt x="4050" y="206239"/>
                </a:lnTo>
                <a:lnTo>
                  <a:pt x="0" y="251434"/>
                </a:lnTo>
                <a:lnTo>
                  <a:pt x="4050" y="296626"/>
                </a:lnTo>
                <a:lnTo>
                  <a:pt x="15728" y="339160"/>
                </a:lnTo>
                <a:lnTo>
                  <a:pt x="34325" y="378328"/>
                </a:lnTo>
                <a:lnTo>
                  <a:pt x="59129" y="413419"/>
                </a:lnTo>
                <a:lnTo>
                  <a:pt x="89431" y="443722"/>
                </a:lnTo>
                <a:lnTo>
                  <a:pt x="124522" y="468528"/>
                </a:lnTo>
                <a:lnTo>
                  <a:pt x="163690" y="487126"/>
                </a:lnTo>
                <a:lnTo>
                  <a:pt x="206227" y="498805"/>
                </a:lnTo>
                <a:lnTo>
                  <a:pt x="251421" y="502856"/>
                </a:lnTo>
                <a:lnTo>
                  <a:pt x="296617" y="498805"/>
                </a:lnTo>
                <a:lnTo>
                  <a:pt x="339154" y="487126"/>
                </a:lnTo>
                <a:lnTo>
                  <a:pt x="378325" y="468528"/>
                </a:lnTo>
                <a:lnTo>
                  <a:pt x="413417" y="443722"/>
                </a:lnTo>
                <a:lnTo>
                  <a:pt x="443721" y="413419"/>
                </a:lnTo>
                <a:lnTo>
                  <a:pt x="468527" y="378328"/>
                </a:lnTo>
                <a:lnTo>
                  <a:pt x="487125" y="339160"/>
                </a:lnTo>
                <a:lnTo>
                  <a:pt x="498805" y="296626"/>
                </a:lnTo>
                <a:lnTo>
                  <a:pt x="502856" y="251434"/>
                </a:lnTo>
                <a:lnTo>
                  <a:pt x="498805" y="206239"/>
                </a:lnTo>
                <a:lnTo>
                  <a:pt x="487125" y="163701"/>
                </a:lnTo>
                <a:lnTo>
                  <a:pt x="468527" y="124531"/>
                </a:lnTo>
                <a:lnTo>
                  <a:pt x="443721" y="89439"/>
                </a:lnTo>
                <a:lnTo>
                  <a:pt x="413417" y="59134"/>
                </a:lnTo>
                <a:lnTo>
                  <a:pt x="378325" y="34328"/>
                </a:lnTo>
                <a:lnTo>
                  <a:pt x="339154" y="15730"/>
                </a:lnTo>
                <a:lnTo>
                  <a:pt x="296617" y="4051"/>
                </a:lnTo>
                <a:lnTo>
                  <a:pt x="251421" y="0"/>
                </a:lnTo>
                <a:close/>
              </a:path>
            </a:pathLst>
          </a:custGeom>
          <a:solidFill>
            <a:srgbClr val="0E5C77">
              <a:alpha val="23999"/>
            </a:srgbClr>
          </a:solidFill>
        </p:spPr>
        <p:txBody>
          <a:bodyPr wrap="square" lIns="0" tIns="0" rIns="0" bIns="0" rtlCol="0"/>
          <a:lstStyle/>
          <a:p>
            <a:endParaRPr/>
          </a:p>
        </p:txBody>
      </p:sp>
      <p:pic>
        <p:nvPicPr>
          <p:cNvPr id="17" name="Picture 16" descr="A picture containing text&#10;&#10;Description automatically generated">
            <a:extLst>
              <a:ext uri="{FF2B5EF4-FFF2-40B4-BE49-F238E27FC236}">
                <a16:creationId xmlns:a16="http://schemas.microsoft.com/office/drawing/2014/main" id="{1C70859E-DCA5-87BD-ACBD-C84DD8CAD7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58512" y="5755005"/>
            <a:ext cx="887325" cy="866809"/>
          </a:xfrm>
          <a:prstGeom prst="rect">
            <a:avLst/>
          </a:prstGeom>
        </p:spPr>
      </p:pic>
      <p:sp>
        <p:nvSpPr>
          <p:cNvPr id="2" name="Picture Placeholder 2">
            <a:extLst>
              <a:ext uri="{FF2B5EF4-FFF2-40B4-BE49-F238E27FC236}">
                <a16:creationId xmlns:a16="http://schemas.microsoft.com/office/drawing/2014/main" id="{C965953D-FE9D-4CC7-8DA0-75C83642EEAC}"/>
              </a:ext>
            </a:extLst>
          </p:cNvPr>
          <p:cNvSpPr>
            <a:spLocks noGrp="1"/>
          </p:cNvSpPr>
          <p:nvPr>
            <p:ph type="pic" idx="10"/>
          </p:nvPr>
        </p:nvSpPr>
        <p:spPr>
          <a:xfrm>
            <a:off x="-1086041" y="431046"/>
            <a:ext cx="7293907" cy="7195979"/>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2">
            <a:extLst>
              <a:ext uri="{FF2B5EF4-FFF2-40B4-BE49-F238E27FC236}">
                <a16:creationId xmlns:a16="http://schemas.microsoft.com/office/drawing/2014/main" id="{C5546EC1-A810-BD21-641C-B8D34688033E}"/>
              </a:ext>
            </a:extLst>
          </p:cNvPr>
          <p:cNvSpPr>
            <a:spLocks noGrp="1"/>
          </p:cNvSpPr>
          <p:nvPr>
            <p:ph type="body" idx="1"/>
          </p:nvPr>
        </p:nvSpPr>
        <p:spPr>
          <a:xfrm>
            <a:off x="6323724" y="2103120"/>
            <a:ext cx="5634596" cy="3637280"/>
          </a:xfrm>
        </p:spPr>
        <p:txBody>
          <a:bodyPr>
            <a:normAutofit/>
          </a:bodyPr>
          <a:lstStyle>
            <a:lvl1pPr marL="0" indent="0" algn="l">
              <a:lnSpc>
                <a:spcPct val="100000"/>
              </a:lnSpc>
              <a:buNone/>
              <a:defRPr sz="2000">
                <a:solidFill>
                  <a:schemeClr val="bg1"/>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5" name="Title 1">
            <a:extLst>
              <a:ext uri="{FF2B5EF4-FFF2-40B4-BE49-F238E27FC236}">
                <a16:creationId xmlns:a16="http://schemas.microsoft.com/office/drawing/2014/main" id="{B80B015F-1A06-9783-C83F-0B002E388974}"/>
              </a:ext>
            </a:extLst>
          </p:cNvPr>
          <p:cNvSpPr>
            <a:spLocks noGrp="1"/>
          </p:cNvSpPr>
          <p:nvPr>
            <p:ph type="title"/>
          </p:nvPr>
        </p:nvSpPr>
        <p:spPr>
          <a:xfrm>
            <a:off x="6339841" y="283845"/>
            <a:ext cx="5709919" cy="1325563"/>
          </a:xfrm>
        </p:spPr>
        <p:txBody>
          <a:bodyPr>
            <a:normAutofit/>
          </a:bodyPr>
          <a:lstStyle>
            <a:lvl1pPr>
              <a:defRPr sz="2800" b="1">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15143340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Section Header">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2D00DCAC-C40F-C3B9-F022-BCEE66A66A0B}"/>
              </a:ext>
            </a:extLst>
          </p:cNvPr>
          <p:cNvSpPr/>
          <p:nvPr userDrawn="1"/>
        </p:nvSpPr>
        <p:spPr>
          <a:xfrm>
            <a:off x="0" y="0"/>
            <a:ext cx="12197847" cy="6908925"/>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chemeClr val="accent3"/>
          </a:solidFill>
          <a:ln>
            <a:solidFill>
              <a:schemeClr val="tx1"/>
            </a:solidFill>
          </a:ln>
        </p:spPr>
        <p:txBody>
          <a:bodyPr wrap="square" lIns="0" tIns="0" rIns="0" bIns="0" rtlCol="0"/>
          <a:lstStyle/>
          <a:p>
            <a:endParaRPr sz="2000" dirty="0"/>
          </a:p>
        </p:txBody>
      </p:sp>
      <p:grpSp>
        <p:nvGrpSpPr>
          <p:cNvPr id="5" name="Group 4">
            <a:extLst>
              <a:ext uri="{FF2B5EF4-FFF2-40B4-BE49-F238E27FC236}">
                <a16:creationId xmlns:a16="http://schemas.microsoft.com/office/drawing/2014/main" id="{94FC349D-7459-4846-947D-CBE48ADB0FFC}"/>
              </a:ext>
            </a:extLst>
          </p:cNvPr>
          <p:cNvGrpSpPr/>
          <p:nvPr userDrawn="1"/>
        </p:nvGrpSpPr>
        <p:grpSpPr>
          <a:xfrm>
            <a:off x="9597" y="4222076"/>
            <a:ext cx="5495304" cy="2633814"/>
            <a:chOff x="9597" y="4222076"/>
            <a:chExt cx="5495304" cy="2633814"/>
          </a:xfrm>
          <a:solidFill>
            <a:srgbClr val="FFFFFF">
              <a:alpha val="14902"/>
            </a:srgbClr>
          </a:solidFill>
        </p:grpSpPr>
        <p:sp>
          <p:nvSpPr>
            <p:cNvPr id="6" name="object 4">
              <a:extLst>
                <a:ext uri="{FF2B5EF4-FFF2-40B4-BE49-F238E27FC236}">
                  <a16:creationId xmlns:a16="http://schemas.microsoft.com/office/drawing/2014/main" id="{A1C7CB09-C480-93D4-4E86-80749DC8482D}"/>
                </a:ext>
              </a:extLst>
            </p:cNvPr>
            <p:cNvSpPr/>
            <p:nvPr/>
          </p:nvSpPr>
          <p:spPr>
            <a:xfrm>
              <a:off x="440952" y="4364568"/>
              <a:ext cx="456048" cy="456048"/>
            </a:xfrm>
            <a:custGeom>
              <a:avLst/>
              <a:gdLst/>
              <a:ahLst/>
              <a:cxnLst/>
              <a:rect l="l" t="t" r="r" b="b"/>
              <a:pathLst>
                <a:path w="502919" h="502920">
                  <a:moveTo>
                    <a:pt x="251434" y="0"/>
                  </a:moveTo>
                  <a:lnTo>
                    <a:pt x="206239" y="4051"/>
                  </a:lnTo>
                  <a:lnTo>
                    <a:pt x="163701" y="15730"/>
                  </a:lnTo>
                  <a:lnTo>
                    <a:pt x="124531" y="34328"/>
                  </a:lnTo>
                  <a:lnTo>
                    <a:pt x="89439" y="59134"/>
                  </a:lnTo>
                  <a:lnTo>
                    <a:pt x="59134" y="89439"/>
                  </a:lnTo>
                  <a:lnTo>
                    <a:pt x="34328" y="124531"/>
                  </a:lnTo>
                  <a:lnTo>
                    <a:pt x="15730" y="163701"/>
                  </a:lnTo>
                  <a:lnTo>
                    <a:pt x="4051" y="206239"/>
                  </a:lnTo>
                  <a:lnTo>
                    <a:pt x="0" y="251434"/>
                  </a:lnTo>
                  <a:lnTo>
                    <a:pt x="4051" y="296626"/>
                  </a:lnTo>
                  <a:lnTo>
                    <a:pt x="15730" y="339160"/>
                  </a:lnTo>
                  <a:lnTo>
                    <a:pt x="34328" y="378328"/>
                  </a:lnTo>
                  <a:lnTo>
                    <a:pt x="59134" y="413419"/>
                  </a:lnTo>
                  <a:lnTo>
                    <a:pt x="89439" y="443722"/>
                  </a:lnTo>
                  <a:lnTo>
                    <a:pt x="124531" y="468528"/>
                  </a:lnTo>
                  <a:lnTo>
                    <a:pt x="163701" y="487126"/>
                  </a:lnTo>
                  <a:lnTo>
                    <a:pt x="206239" y="498805"/>
                  </a:lnTo>
                  <a:lnTo>
                    <a:pt x="251434" y="502856"/>
                  </a:lnTo>
                  <a:lnTo>
                    <a:pt x="296629" y="498805"/>
                  </a:lnTo>
                  <a:lnTo>
                    <a:pt x="339167" y="487126"/>
                  </a:lnTo>
                  <a:lnTo>
                    <a:pt x="378337" y="468528"/>
                  </a:lnTo>
                  <a:lnTo>
                    <a:pt x="413430" y="443722"/>
                  </a:lnTo>
                  <a:lnTo>
                    <a:pt x="443734" y="413419"/>
                  </a:lnTo>
                  <a:lnTo>
                    <a:pt x="468540" y="378328"/>
                  </a:lnTo>
                  <a:lnTo>
                    <a:pt x="487138" y="339160"/>
                  </a:lnTo>
                  <a:lnTo>
                    <a:pt x="498818" y="296626"/>
                  </a:lnTo>
                  <a:lnTo>
                    <a:pt x="502869" y="251434"/>
                  </a:lnTo>
                  <a:lnTo>
                    <a:pt x="498818" y="206239"/>
                  </a:lnTo>
                  <a:lnTo>
                    <a:pt x="487138" y="163701"/>
                  </a:lnTo>
                  <a:lnTo>
                    <a:pt x="468540" y="124531"/>
                  </a:lnTo>
                  <a:lnTo>
                    <a:pt x="443734" y="89439"/>
                  </a:lnTo>
                  <a:lnTo>
                    <a:pt x="413430" y="59134"/>
                  </a:lnTo>
                  <a:lnTo>
                    <a:pt x="378337" y="34328"/>
                  </a:lnTo>
                  <a:lnTo>
                    <a:pt x="339167" y="15730"/>
                  </a:lnTo>
                  <a:lnTo>
                    <a:pt x="296629" y="4051"/>
                  </a:lnTo>
                  <a:lnTo>
                    <a:pt x="251434" y="0"/>
                  </a:lnTo>
                  <a:close/>
                </a:path>
              </a:pathLst>
            </a:custGeom>
            <a:grpFill/>
          </p:spPr>
          <p:txBody>
            <a:bodyPr wrap="square" lIns="0" tIns="0" rIns="0" bIns="0" rtlCol="0"/>
            <a:lstStyle/>
            <a:p>
              <a:endParaRPr/>
            </a:p>
          </p:txBody>
        </p:sp>
        <p:sp>
          <p:nvSpPr>
            <p:cNvPr id="7" name="object 5">
              <a:extLst>
                <a:ext uri="{FF2B5EF4-FFF2-40B4-BE49-F238E27FC236}">
                  <a16:creationId xmlns:a16="http://schemas.microsoft.com/office/drawing/2014/main" id="{3500E5BE-1EAF-781E-4732-256336562279}"/>
                </a:ext>
              </a:extLst>
            </p:cNvPr>
            <p:cNvSpPr/>
            <p:nvPr/>
          </p:nvSpPr>
          <p:spPr>
            <a:xfrm>
              <a:off x="1338685" y="5086553"/>
              <a:ext cx="456048" cy="456048"/>
            </a:xfrm>
            <a:custGeom>
              <a:avLst/>
              <a:gdLst/>
              <a:ahLst/>
              <a:cxnLst/>
              <a:rect l="l" t="t" r="r" b="b"/>
              <a:pathLst>
                <a:path w="502919" h="502920">
                  <a:moveTo>
                    <a:pt x="251434" y="0"/>
                  </a:moveTo>
                  <a:lnTo>
                    <a:pt x="206239" y="4051"/>
                  </a:lnTo>
                  <a:lnTo>
                    <a:pt x="163701" y="15730"/>
                  </a:lnTo>
                  <a:lnTo>
                    <a:pt x="124531" y="34328"/>
                  </a:lnTo>
                  <a:lnTo>
                    <a:pt x="89439" y="59134"/>
                  </a:lnTo>
                  <a:lnTo>
                    <a:pt x="59134" y="89439"/>
                  </a:lnTo>
                  <a:lnTo>
                    <a:pt x="34328" y="124531"/>
                  </a:lnTo>
                  <a:lnTo>
                    <a:pt x="15730" y="163701"/>
                  </a:lnTo>
                  <a:lnTo>
                    <a:pt x="4051" y="206239"/>
                  </a:lnTo>
                  <a:lnTo>
                    <a:pt x="0" y="251434"/>
                  </a:lnTo>
                  <a:lnTo>
                    <a:pt x="4051" y="296626"/>
                  </a:lnTo>
                  <a:lnTo>
                    <a:pt x="15730" y="339160"/>
                  </a:lnTo>
                  <a:lnTo>
                    <a:pt x="34328" y="378328"/>
                  </a:lnTo>
                  <a:lnTo>
                    <a:pt x="59134" y="413419"/>
                  </a:lnTo>
                  <a:lnTo>
                    <a:pt x="89439" y="443722"/>
                  </a:lnTo>
                  <a:lnTo>
                    <a:pt x="124531" y="468528"/>
                  </a:lnTo>
                  <a:lnTo>
                    <a:pt x="163701" y="487126"/>
                  </a:lnTo>
                  <a:lnTo>
                    <a:pt x="206239" y="498805"/>
                  </a:lnTo>
                  <a:lnTo>
                    <a:pt x="251434" y="502856"/>
                  </a:lnTo>
                  <a:lnTo>
                    <a:pt x="296629" y="498805"/>
                  </a:lnTo>
                  <a:lnTo>
                    <a:pt x="339167" y="487126"/>
                  </a:lnTo>
                  <a:lnTo>
                    <a:pt x="378337" y="468528"/>
                  </a:lnTo>
                  <a:lnTo>
                    <a:pt x="413430" y="443722"/>
                  </a:lnTo>
                  <a:lnTo>
                    <a:pt x="443734" y="413419"/>
                  </a:lnTo>
                  <a:lnTo>
                    <a:pt x="468540" y="378328"/>
                  </a:lnTo>
                  <a:lnTo>
                    <a:pt x="487138" y="339160"/>
                  </a:lnTo>
                  <a:lnTo>
                    <a:pt x="498818" y="296626"/>
                  </a:lnTo>
                  <a:lnTo>
                    <a:pt x="502869" y="251434"/>
                  </a:lnTo>
                  <a:lnTo>
                    <a:pt x="498818" y="206239"/>
                  </a:lnTo>
                  <a:lnTo>
                    <a:pt x="487138" y="163701"/>
                  </a:lnTo>
                  <a:lnTo>
                    <a:pt x="468540" y="124531"/>
                  </a:lnTo>
                  <a:lnTo>
                    <a:pt x="443734" y="89439"/>
                  </a:lnTo>
                  <a:lnTo>
                    <a:pt x="413430" y="59134"/>
                  </a:lnTo>
                  <a:lnTo>
                    <a:pt x="378337" y="34328"/>
                  </a:lnTo>
                  <a:lnTo>
                    <a:pt x="339167" y="15730"/>
                  </a:lnTo>
                  <a:lnTo>
                    <a:pt x="296629" y="4051"/>
                  </a:lnTo>
                  <a:lnTo>
                    <a:pt x="251434" y="0"/>
                  </a:lnTo>
                  <a:close/>
                </a:path>
              </a:pathLst>
            </a:custGeom>
            <a:grpFill/>
          </p:spPr>
          <p:txBody>
            <a:bodyPr wrap="square" lIns="0" tIns="0" rIns="0" bIns="0" rtlCol="0"/>
            <a:lstStyle/>
            <a:p>
              <a:endParaRPr/>
            </a:p>
          </p:txBody>
        </p:sp>
        <p:sp>
          <p:nvSpPr>
            <p:cNvPr id="15" name="object 6">
              <a:extLst>
                <a:ext uri="{FF2B5EF4-FFF2-40B4-BE49-F238E27FC236}">
                  <a16:creationId xmlns:a16="http://schemas.microsoft.com/office/drawing/2014/main" id="{704A627A-3432-816F-D27C-B13AF7896B4A}"/>
                </a:ext>
              </a:extLst>
            </p:cNvPr>
            <p:cNvSpPr/>
            <p:nvPr/>
          </p:nvSpPr>
          <p:spPr>
            <a:xfrm>
              <a:off x="2992604" y="4222076"/>
              <a:ext cx="2512297" cy="2223236"/>
            </a:xfrm>
            <a:custGeom>
              <a:avLst/>
              <a:gdLst/>
              <a:ahLst/>
              <a:cxnLst/>
              <a:rect l="l" t="t" r="r" b="b"/>
              <a:pathLst>
                <a:path w="2770504" h="2451734">
                  <a:moveTo>
                    <a:pt x="2293239" y="1146619"/>
                  </a:moveTo>
                  <a:lnTo>
                    <a:pt x="2292235" y="1098156"/>
                  </a:lnTo>
                  <a:lnTo>
                    <a:pt x="2289238" y="1050201"/>
                  </a:lnTo>
                  <a:lnTo>
                    <a:pt x="2284298" y="1002792"/>
                  </a:lnTo>
                  <a:lnTo>
                    <a:pt x="2277465" y="955979"/>
                  </a:lnTo>
                  <a:lnTo>
                    <a:pt x="2268753" y="909802"/>
                  </a:lnTo>
                  <a:lnTo>
                    <a:pt x="2258212" y="864298"/>
                  </a:lnTo>
                  <a:lnTo>
                    <a:pt x="2245893" y="819492"/>
                  </a:lnTo>
                  <a:lnTo>
                    <a:pt x="2231834" y="775449"/>
                  </a:lnTo>
                  <a:lnTo>
                    <a:pt x="2216061" y="732205"/>
                  </a:lnTo>
                  <a:lnTo>
                    <a:pt x="2198611" y="689775"/>
                  </a:lnTo>
                  <a:lnTo>
                    <a:pt x="2179548" y="648233"/>
                  </a:lnTo>
                  <a:lnTo>
                    <a:pt x="2158885" y="607593"/>
                  </a:lnTo>
                  <a:lnTo>
                    <a:pt x="2136686" y="567905"/>
                  </a:lnTo>
                  <a:lnTo>
                    <a:pt x="2112975" y="529196"/>
                  </a:lnTo>
                  <a:lnTo>
                    <a:pt x="2087803" y="491528"/>
                  </a:lnTo>
                  <a:lnTo>
                    <a:pt x="2061197" y="454939"/>
                  </a:lnTo>
                  <a:lnTo>
                    <a:pt x="2033193" y="419442"/>
                  </a:lnTo>
                  <a:lnTo>
                    <a:pt x="2003856" y="385102"/>
                  </a:lnTo>
                  <a:lnTo>
                    <a:pt x="1973199" y="351955"/>
                  </a:lnTo>
                  <a:lnTo>
                    <a:pt x="1941283" y="320040"/>
                  </a:lnTo>
                  <a:lnTo>
                    <a:pt x="1908136" y="289382"/>
                  </a:lnTo>
                  <a:lnTo>
                    <a:pt x="1873796" y="260045"/>
                  </a:lnTo>
                  <a:lnTo>
                    <a:pt x="1838299" y="232041"/>
                  </a:lnTo>
                  <a:lnTo>
                    <a:pt x="1801710" y="205435"/>
                  </a:lnTo>
                  <a:lnTo>
                    <a:pt x="1764042" y="180263"/>
                  </a:lnTo>
                  <a:lnTo>
                    <a:pt x="1725333" y="156552"/>
                  </a:lnTo>
                  <a:lnTo>
                    <a:pt x="1685645" y="134353"/>
                  </a:lnTo>
                  <a:lnTo>
                    <a:pt x="1645005" y="113690"/>
                  </a:lnTo>
                  <a:lnTo>
                    <a:pt x="1603463" y="94627"/>
                  </a:lnTo>
                  <a:lnTo>
                    <a:pt x="1561033" y="77177"/>
                  </a:lnTo>
                  <a:lnTo>
                    <a:pt x="1517789" y="61404"/>
                  </a:lnTo>
                  <a:lnTo>
                    <a:pt x="1473746" y="47345"/>
                  </a:lnTo>
                  <a:lnTo>
                    <a:pt x="1428940" y="35026"/>
                  </a:lnTo>
                  <a:lnTo>
                    <a:pt x="1383436" y="24485"/>
                  </a:lnTo>
                  <a:lnTo>
                    <a:pt x="1337259" y="15773"/>
                  </a:lnTo>
                  <a:lnTo>
                    <a:pt x="1290447" y="8940"/>
                  </a:lnTo>
                  <a:lnTo>
                    <a:pt x="1243037" y="4000"/>
                  </a:lnTo>
                  <a:lnTo>
                    <a:pt x="1195082" y="1003"/>
                  </a:lnTo>
                  <a:lnTo>
                    <a:pt x="1146619" y="0"/>
                  </a:lnTo>
                  <a:lnTo>
                    <a:pt x="1098143" y="1003"/>
                  </a:lnTo>
                  <a:lnTo>
                    <a:pt x="1050188" y="4000"/>
                  </a:lnTo>
                  <a:lnTo>
                    <a:pt x="1002792" y="8940"/>
                  </a:lnTo>
                  <a:lnTo>
                    <a:pt x="955979" y="15773"/>
                  </a:lnTo>
                  <a:lnTo>
                    <a:pt x="909802" y="24485"/>
                  </a:lnTo>
                  <a:lnTo>
                    <a:pt x="864285" y="35026"/>
                  </a:lnTo>
                  <a:lnTo>
                    <a:pt x="819492" y="47345"/>
                  </a:lnTo>
                  <a:lnTo>
                    <a:pt x="775449" y="61404"/>
                  </a:lnTo>
                  <a:lnTo>
                    <a:pt x="732193" y="77177"/>
                  </a:lnTo>
                  <a:lnTo>
                    <a:pt x="689775" y="94627"/>
                  </a:lnTo>
                  <a:lnTo>
                    <a:pt x="648220" y="113690"/>
                  </a:lnTo>
                  <a:lnTo>
                    <a:pt x="607580" y="134353"/>
                  </a:lnTo>
                  <a:lnTo>
                    <a:pt x="567893" y="156552"/>
                  </a:lnTo>
                  <a:lnTo>
                    <a:pt x="529196" y="180263"/>
                  </a:lnTo>
                  <a:lnTo>
                    <a:pt x="491528" y="205435"/>
                  </a:lnTo>
                  <a:lnTo>
                    <a:pt x="454926" y="232041"/>
                  </a:lnTo>
                  <a:lnTo>
                    <a:pt x="419442" y="260045"/>
                  </a:lnTo>
                  <a:lnTo>
                    <a:pt x="385102" y="289382"/>
                  </a:lnTo>
                  <a:lnTo>
                    <a:pt x="351955" y="320040"/>
                  </a:lnTo>
                  <a:lnTo>
                    <a:pt x="320027" y="351955"/>
                  </a:lnTo>
                  <a:lnTo>
                    <a:pt x="289382" y="385102"/>
                  </a:lnTo>
                  <a:lnTo>
                    <a:pt x="260032" y="419442"/>
                  </a:lnTo>
                  <a:lnTo>
                    <a:pt x="232041" y="454939"/>
                  </a:lnTo>
                  <a:lnTo>
                    <a:pt x="205435" y="491528"/>
                  </a:lnTo>
                  <a:lnTo>
                    <a:pt x="180251" y="529196"/>
                  </a:lnTo>
                  <a:lnTo>
                    <a:pt x="156540" y="567905"/>
                  </a:lnTo>
                  <a:lnTo>
                    <a:pt x="134340" y="607593"/>
                  </a:lnTo>
                  <a:lnTo>
                    <a:pt x="113690" y="648233"/>
                  </a:lnTo>
                  <a:lnTo>
                    <a:pt x="94615" y="689775"/>
                  </a:lnTo>
                  <a:lnTo>
                    <a:pt x="77177" y="732205"/>
                  </a:lnTo>
                  <a:lnTo>
                    <a:pt x="61404" y="775449"/>
                  </a:lnTo>
                  <a:lnTo>
                    <a:pt x="47332" y="819492"/>
                  </a:lnTo>
                  <a:lnTo>
                    <a:pt x="35013" y="864298"/>
                  </a:lnTo>
                  <a:lnTo>
                    <a:pt x="24485" y="909802"/>
                  </a:lnTo>
                  <a:lnTo>
                    <a:pt x="15773" y="955979"/>
                  </a:lnTo>
                  <a:lnTo>
                    <a:pt x="8928" y="1002792"/>
                  </a:lnTo>
                  <a:lnTo>
                    <a:pt x="4000" y="1050201"/>
                  </a:lnTo>
                  <a:lnTo>
                    <a:pt x="1003" y="1098156"/>
                  </a:lnTo>
                  <a:lnTo>
                    <a:pt x="0" y="1146619"/>
                  </a:lnTo>
                  <a:lnTo>
                    <a:pt x="1003" y="1195095"/>
                  </a:lnTo>
                  <a:lnTo>
                    <a:pt x="4000" y="1243050"/>
                  </a:lnTo>
                  <a:lnTo>
                    <a:pt x="8928" y="1290447"/>
                  </a:lnTo>
                  <a:lnTo>
                    <a:pt x="15773" y="1337259"/>
                  </a:lnTo>
                  <a:lnTo>
                    <a:pt x="24485" y="1383436"/>
                  </a:lnTo>
                  <a:lnTo>
                    <a:pt x="35013" y="1428953"/>
                  </a:lnTo>
                  <a:lnTo>
                    <a:pt x="47332" y="1473746"/>
                  </a:lnTo>
                  <a:lnTo>
                    <a:pt x="61404" y="1517789"/>
                  </a:lnTo>
                  <a:lnTo>
                    <a:pt x="77177" y="1561045"/>
                  </a:lnTo>
                  <a:lnTo>
                    <a:pt x="94615" y="1603463"/>
                  </a:lnTo>
                  <a:lnTo>
                    <a:pt x="113690" y="1645018"/>
                  </a:lnTo>
                  <a:lnTo>
                    <a:pt x="134340" y="1685658"/>
                  </a:lnTo>
                  <a:lnTo>
                    <a:pt x="156540" y="1725345"/>
                  </a:lnTo>
                  <a:lnTo>
                    <a:pt x="180251" y="1764042"/>
                  </a:lnTo>
                  <a:lnTo>
                    <a:pt x="205435" y="1801710"/>
                  </a:lnTo>
                  <a:lnTo>
                    <a:pt x="232041" y="1838312"/>
                  </a:lnTo>
                  <a:lnTo>
                    <a:pt x="260032" y="1873796"/>
                  </a:lnTo>
                  <a:lnTo>
                    <a:pt x="289382" y="1908136"/>
                  </a:lnTo>
                  <a:lnTo>
                    <a:pt x="320027" y="1941283"/>
                  </a:lnTo>
                  <a:lnTo>
                    <a:pt x="351955" y="1973211"/>
                  </a:lnTo>
                  <a:lnTo>
                    <a:pt x="385102" y="2003856"/>
                  </a:lnTo>
                  <a:lnTo>
                    <a:pt x="419442" y="2033206"/>
                  </a:lnTo>
                  <a:lnTo>
                    <a:pt x="454926" y="2061197"/>
                  </a:lnTo>
                  <a:lnTo>
                    <a:pt x="491528" y="2087803"/>
                  </a:lnTo>
                  <a:lnTo>
                    <a:pt x="529196" y="2112988"/>
                  </a:lnTo>
                  <a:lnTo>
                    <a:pt x="567893" y="2136698"/>
                  </a:lnTo>
                  <a:lnTo>
                    <a:pt x="607580" y="2158898"/>
                  </a:lnTo>
                  <a:lnTo>
                    <a:pt x="648220" y="2179548"/>
                  </a:lnTo>
                  <a:lnTo>
                    <a:pt x="689775" y="2198624"/>
                  </a:lnTo>
                  <a:lnTo>
                    <a:pt x="732193" y="2216061"/>
                  </a:lnTo>
                  <a:lnTo>
                    <a:pt x="775449" y="2231834"/>
                  </a:lnTo>
                  <a:lnTo>
                    <a:pt x="819492" y="2245906"/>
                  </a:lnTo>
                  <a:lnTo>
                    <a:pt x="864285" y="2258225"/>
                  </a:lnTo>
                  <a:lnTo>
                    <a:pt x="909802" y="2268753"/>
                  </a:lnTo>
                  <a:lnTo>
                    <a:pt x="955979" y="2277465"/>
                  </a:lnTo>
                  <a:lnTo>
                    <a:pt x="1002792" y="2284311"/>
                  </a:lnTo>
                  <a:lnTo>
                    <a:pt x="1050188" y="2289238"/>
                  </a:lnTo>
                  <a:lnTo>
                    <a:pt x="1098143" y="2292235"/>
                  </a:lnTo>
                  <a:lnTo>
                    <a:pt x="1146619" y="2293239"/>
                  </a:lnTo>
                  <a:lnTo>
                    <a:pt x="1195082" y="2292235"/>
                  </a:lnTo>
                  <a:lnTo>
                    <a:pt x="1243037" y="2289238"/>
                  </a:lnTo>
                  <a:lnTo>
                    <a:pt x="1290447" y="2284311"/>
                  </a:lnTo>
                  <a:lnTo>
                    <a:pt x="1337259" y="2277465"/>
                  </a:lnTo>
                  <a:lnTo>
                    <a:pt x="1383436" y="2268753"/>
                  </a:lnTo>
                  <a:lnTo>
                    <a:pt x="1428940" y="2258225"/>
                  </a:lnTo>
                  <a:lnTo>
                    <a:pt x="1473746" y="2245906"/>
                  </a:lnTo>
                  <a:lnTo>
                    <a:pt x="1517789" y="2231834"/>
                  </a:lnTo>
                  <a:lnTo>
                    <a:pt x="1561033" y="2216061"/>
                  </a:lnTo>
                  <a:lnTo>
                    <a:pt x="1603463" y="2198624"/>
                  </a:lnTo>
                  <a:lnTo>
                    <a:pt x="1645005" y="2179548"/>
                  </a:lnTo>
                  <a:lnTo>
                    <a:pt x="1685645" y="2158898"/>
                  </a:lnTo>
                  <a:lnTo>
                    <a:pt x="1725333" y="2136698"/>
                  </a:lnTo>
                  <a:lnTo>
                    <a:pt x="1764042" y="2112988"/>
                  </a:lnTo>
                  <a:lnTo>
                    <a:pt x="1801710" y="2087803"/>
                  </a:lnTo>
                  <a:lnTo>
                    <a:pt x="1838299" y="2061197"/>
                  </a:lnTo>
                  <a:lnTo>
                    <a:pt x="1873796" y="2033206"/>
                  </a:lnTo>
                  <a:lnTo>
                    <a:pt x="1908136" y="2003856"/>
                  </a:lnTo>
                  <a:lnTo>
                    <a:pt x="1941283" y="1973211"/>
                  </a:lnTo>
                  <a:lnTo>
                    <a:pt x="1973199" y="1941283"/>
                  </a:lnTo>
                  <a:lnTo>
                    <a:pt x="2003856" y="1908136"/>
                  </a:lnTo>
                  <a:lnTo>
                    <a:pt x="2033193" y="1873796"/>
                  </a:lnTo>
                  <a:lnTo>
                    <a:pt x="2061197" y="1838312"/>
                  </a:lnTo>
                  <a:lnTo>
                    <a:pt x="2087803" y="1801710"/>
                  </a:lnTo>
                  <a:lnTo>
                    <a:pt x="2112975" y="1764042"/>
                  </a:lnTo>
                  <a:lnTo>
                    <a:pt x="2136686" y="1725345"/>
                  </a:lnTo>
                  <a:lnTo>
                    <a:pt x="2158885" y="1685658"/>
                  </a:lnTo>
                  <a:lnTo>
                    <a:pt x="2179548" y="1645018"/>
                  </a:lnTo>
                  <a:lnTo>
                    <a:pt x="2198611" y="1603463"/>
                  </a:lnTo>
                  <a:lnTo>
                    <a:pt x="2216061" y="1561045"/>
                  </a:lnTo>
                  <a:lnTo>
                    <a:pt x="2231834" y="1517789"/>
                  </a:lnTo>
                  <a:lnTo>
                    <a:pt x="2245893" y="1473746"/>
                  </a:lnTo>
                  <a:lnTo>
                    <a:pt x="2258212" y="1428953"/>
                  </a:lnTo>
                  <a:lnTo>
                    <a:pt x="2268753" y="1383436"/>
                  </a:lnTo>
                  <a:lnTo>
                    <a:pt x="2277465" y="1337259"/>
                  </a:lnTo>
                  <a:lnTo>
                    <a:pt x="2284298" y="1290447"/>
                  </a:lnTo>
                  <a:lnTo>
                    <a:pt x="2289238" y="1243050"/>
                  </a:lnTo>
                  <a:lnTo>
                    <a:pt x="2292235" y="1195095"/>
                  </a:lnTo>
                  <a:lnTo>
                    <a:pt x="2293239" y="1146619"/>
                  </a:lnTo>
                  <a:close/>
                </a:path>
                <a:path w="2770504" h="2451734">
                  <a:moveTo>
                    <a:pt x="2769895" y="2200008"/>
                  </a:moveTo>
                  <a:lnTo>
                    <a:pt x="2765844" y="2154809"/>
                  </a:lnTo>
                  <a:lnTo>
                    <a:pt x="2754172" y="2112276"/>
                  </a:lnTo>
                  <a:lnTo>
                    <a:pt x="2735580" y="2073109"/>
                  </a:lnTo>
                  <a:lnTo>
                    <a:pt x="2710777" y="2038007"/>
                  </a:lnTo>
                  <a:lnTo>
                    <a:pt x="2680474" y="2007704"/>
                  </a:lnTo>
                  <a:lnTo>
                    <a:pt x="2645384" y="1982901"/>
                  </a:lnTo>
                  <a:lnTo>
                    <a:pt x="2606205" y="1964309"/>
                  </a:lnTo>
                  <a:lnTo>
                    <a:pt x="2563672" y="1952625"/>
                  </a:lnTo>
                  <a:lnTo>
                    <a:pt x="2518473" y="1948573"/>
                  </a:lnTo>
                  <a:lnTo>
                    <a:pt x="2473287" y="1952625"/>
                  </a:lnTo>
                  <a:lnTo>
                    <a:pt x="2430742" y="1964309"/>
                  </a:lnTo>
                  <a:lnTo>
                    <a:pt x="2391575" y="1982901"/>
                  </a:lnTo>
                  <a:lnTo>
                    <a:pt x="2356485" y="2007704"/>
                  </a:lnTo>
                  <a:lnTo>
                    <a:pt x="2326182" y="2038007"/>
                  </a:lnTo>
                  <a:lnTo>
                    <a:pt x="2301367" y="2073109"/>
                  </a:lnTo>
                  <a:lnTo>
                    <a:pt x="2282774" y="2112276"/>
                  </a:lnTo>
                  <a:lnTo>
                    <a:pt x="2271090" y="2154809"/>
                  </a:lnTo>
                  <a:lnTo>
                    <a:pt x="2267039" y="2200008"/>
                  </a:lnTo>
                  <a:lnTo>
                    <a:pt x="2271090" y="2245195"/>
                  </a:lnTo>
                  <a:lnTo>
                    <a:pt x="2282774" y="2287727"/>
                  </a:lnTo>
                  <a:lnTo>
                    <a:pt x="2301367" y="2326906"/>
                  </a:lnTo>
                  <a:lnTo>
                    <a:pt x="2326182" y="2361996"/>
                  </a:lnTo>
                  <a:lnTo>
                    <a:pt x="2356485" y="2392299"/>
                  </a:lnTo>
                  <a:lnTo>
                    <a:pt x="2391575" y="2417102"/>
                  </a:lnTo>
                  <a:lnTo>
                    <a:pt x="2430742" y="2435695"/>
                  </a:lnTo>
                  <a:lnTo>
                    <a:pt x="2473287" y="2447379"/>
                  </a:lnTo>
                  <a:lnTo>
                    <a:pt x="2518473" y="2451430"/>
                  </a:lnTo>
                  <a:lnTo>
                    <a:pt x="2563672" y="2447379"/>
                  </a:lnTo>
                  <a:lnTo>
                    <a:pt x="2606205" y="2435695"/>
                  </a:lnTo>
                  <a:lnTo>
                    <a:pt x="2645384" y="2417102"/>
                  </a:lnTo>
                  <a:lnTo>
                    <a:pt x="2680474" y="2392299"/>
                  </a:lnTo>
                  <a:lnTo>
                    <a:pt x="2710777" y="2361996"/>
                  </a:lnTo>
                  <a:lnTo>
                    <a:pt x="2735580" y="2326906"/>
                  </a:lnTo>
                  <a:lnTo>
                    <a:pt x="2754172" y="2287727"/>
                  </a:lnTo>
                  <a:lnTo>
                    <a:pt x="2765844" y="2245195"/>
                  </a:lnTo>
                  <a:lnTo>
                    <a:pt x="2769895" y="2200008"/>
                  </a:lnTo>
                  <a:close/>
                </a:path>
              </a:pathLst>
            </a:custGeom>
            <a:grpFill/>
          </p:spPr>
          <p:txBody>
            <a:bodyPr wrap="square" lIns="0" tIns="0" rIns="0" bIns="0" rtlCol="0"/>
            <a:lstStyle/>
            <a:p>
              <a:endParaRPr/>
            </a:p>
          </p:txBody>
        </p:sp>
        <p:sp>
          <p:nvSpPr>
            <p:cNvPr id="20" name="object 7">
              <a:extLst>
                <a:ext uri="{FF2B5EF4-FFF2-40B4-BE49-F238E27FC236}">
                  <a16:creationId xmlns:a16="http://schemas.microsoft.com/office/drawing/2014/main" id="{E3117CA8-C356-BDA9-FD85-2EB03B137EEA}"/>
                </a:ext>
              </a:extLst>
            </p:cNvPr>
            <p:cNvSpPr/>
            <p:nvPr/>
          </p:nvSpPr>
          <p:spPr>
            <a:xfrm>
              <a:off x="9597" y="4925061"/>
              <a:ext cx="1272559" cy="1930720"/>
            </a:xfrm>
            <a:custGeom>
              <a:avLst/>
              <a:gdLst/>
              <a:ahLst/>
              <a:cxnLst/>
              <a:rect l="l" t="t" r="r" b="b"/>
              <a:pathLst>
                <a:path w="1403350" h="2129154">
                  <a:moveTo>
                    <a:pt x="256217" y="0"/>
                  </a:moveTo>
                  <a:lnTo>
                    <a:pt x="207748" y="1005"/>
                  </a:lnTo>
                  <a:lnTo>
                    <a:pt x="159791" y="3997"/>
                  </a:lnTo>
                  <a:lnTo>
                    <a:pt x="112387" y="8933"/>
                  </a:lnTo>
                  <a:lnTo>
                    <a:pt x="65576" y="15776"/>
                  </a:lnTo>
                  <a:lnTo>
                    <a:pt x="19397" y="24484"/>
                  </a:lnTo>
                  <a:lnTo>
                    <a:pt x="0" y="28974"/>
                  </a:lnTo>
                  <a:lnTo>
                    <a:pt x="0" y="2128758"/>
                  </a:lnTo>
                  <a:lnTo>
                    <a:pt x="847885" y="2128758"/>
                  </a:lnTo>
                  <a:lnTo>
                    <a:pt x="873636" y="2112981"/>
                  </a:lnTo>
                  <a:lnTo>
                    <a:pt x="911305" y="2087802"/>
                  </a:lnTo>
                  <a:lnTo>
                    <a:pt x="947904" y="2061196"/>
                  </a:lnTo>
                  <a:lnTo>
                    <a:pt x="983393" y="2033201"/>
                  </a:lnTo>
                  <a:lnTo>
                    <a:pt x="1017732" y="2003858"/>
                  </a:lnTo>
                  <a:lnTo>
                    <a:pt x="1050883" y="1973206"/>
                  </a:lnTo>
                  <a:lnTo>
                    <a:pt x="1082804" y="1941285"/>
                  </a:lnTo>
                  <a:lnTo>
                    <a:pt x="1113456" y="1908135"/>
                  </a:lnTo>
                  <a:lnTo>
                    <a:pt x="1142799" y="1873795"/>
                  </a:lnTo>
                  <a:lnTo>
                    <a:pt x="1170794" y="1838306"/>
                  </a:lnTo>
                  <a:lnTo>
                    <a:pt x="1197400" y="1801707"/>
                  </a:lnTo>
                  <a:lnTo>
                    <a:pt x="1222579" y="1764039"/>
                  </a:lnTo>
                  <a:lnTo>
                    <a:pt x="1246289" y="1725340"/>
                  </a:lnTo>
                  <a:lnTo>
                    <a:pt x="1268492" y="1685650"/>
                  </a:lnTo>
                  <a:lnTo>
                    <a:pt x="1289147" y="1645011"/>
                  </a:lnTo>
                  <a:lnTo>
                    <a:pt x="1308215" y="1603460"/>
                  </a:lnTo>
                  <a:lnTo>
                    <a:pt x="1325656" y="1561039"/>
                  </a:lnTo>
                  <a:lnTo>
                    <a:pt x="1341430" y="1517786"/>
                  </a:lnTo>
                  <a:lnTo>
                    <a:pt x="1355497" y="1473742"/>
                  </a:lnTo>
                  <a:lnTo>
                    <a:pt x="1367818" y="1428947"/>
                  </a:lnTo>
                  <a:lnTo>
                    <a:pt x="1378352" y="1383439"/>
                  </a:lnTo>
                  <a:lnTo>
                    <a:pt x="1387060" y="1337260"/>
                  </a:lnTo>
                  <a:lnTo>
                    <a:pt x="1393903" y="1290448"/>
                  </a:lnTo>
                  <a:lnTo>
                    <a:pt x="1398839" y="1243045"/>
                  </a:lnTo>
                  <a:lnTo>
                    <a:pt x="1401831" y="1195088"/>
                  </a:lnTo>
                  <a:lnTo>
                    <a:pt x="1402836" y="1146619"/>
                  </a:lnTo>
                  <a:lnTo>
                    <a:pt x="1401831" y="1098150"/>
                  </a:lnTo>
                  <a:lnTo>
                    <a:pt x="1398839" y="1050193"/>
                  </a:lnTo>
                  <a:lnTo>
                    <a:pt x="1393903" y="1002790"/>
                  </a:lnTo>
                  <a:lnTo>
                    <a:pt x="1387060" y="955978"/>
                  </a:lnTo>
                  <a:lnTo>
                    <a:pt x="1378352" y="909799"/>
                  </a:lnTo>
                  <a:lnTo>
                    <a:pt x="1367818" y="864291"/>
                  </a:lnTo>
                  <a:lnTo>
                    <a:pt x="1355497" y="819496"/>
                  </a:lnTo>
                  <a:lnTo>
                    <a:pt x="1341430" y="775452"/>
                  </a:lnTo>
                  <a:lnTo>
                    <a:pt x="1325656" y="732199"/>
                  </a:lnTo>
                  <a:lnTo>
                    <a:pt x="1308215" y="689778"/>
                  </a:lnTo>
                  <a:lnTo>
                    <a:pt x="1289147" y="648227"/>
                  </a:lnTo>
                  <a:lnTo>
                    <a:pt x="1268492" y="607588"/>
                  </a:lnTo>
                  <a:lnTo>
                    <a:pt x="1246289" y="567898"/>
                  </a:lnTo>
                  <a:lnTo>
                    <a:pt x="1222579" y="529199"/>
                  </a:lnTo>
                  <a:lnTo>
                    <a:pt x="1197400" y="491531"/>
                  </a:lnTo>
                  <a:lnTo>
                    <a:pt x="1170794" y="454932"/>
                  </a:lnTo>
                  <a:lnTo>
                    <a:pt x="1142799" y="419443"/>
                  </a:lnTo>
                  <a:lnTo>
                    <a:pt x="1113456" y="385103"/>
                  </a:lnTo>
                  <a:lnTo>
                    <a:pt x="1082804" y="351953"/>
                  </a:lnTo>
                  <a:lnTo>
                    <a:pt x="1050883" y="320032"/>
                  </a:lnTo>
                  <a:lnTo>
                    <a:pt x="1017732" y="289380"/>
                  </a:lnTo>
                  <a:lnTo>
                    <a:pt x="983393" y="260037"/>
                  </a:lnTo>
                  <a:lnTo>
                    <a:pt x="947904" y="232042"/>
                  </a:lnTo>
                  <a:lnTo>
                    <a:pt x="911305" y="205436"/>
                  </a:lnTo>
                  <a:lnTo>
                    <a:pt x="873636" y="180257"/>
                  </a:lnTo>
                  <a:lnTo>
                    <a:pt x="834938" y="156547"/>
                  </a:lnTo>
                  <a:lnTo>
                    <a:pt x="795248" y="134344"/>
                  </a:lnTo>
                  <a:lnTo>
                    <a:pt x="754609" y="113689"/>
                  </a:lnTo>
                  <a:lnTo>
                    <a:pt x="713058" y="94621"/>
                  </a:lnTo>
                  <a:lnTo>
                    <a:pt x="670637" y="77180"/>
                  </a:lnTo>
                  <a:lnTo>
                    <a:pt x="627384" y="61406"/>
                  </a:lnTo>
                  <a:lnTo>
                    <a:pt x="583340" y="47339"/>
                  </a:lnTo>
                  <a:lnTo>
                    <a:pt x="538544" y="35018"/>
                  </a:lnTo>
                  <a:lnTo>
                    <a:pt x="493037" y="24484"/>
                  </a:lnTo>
                  <a:lnTo>
                    <a:pt x="446858" y="15776"/>
                  </a:lnTo>
                  <a:lnTo>
                    <a:pt x="400046" y="8933"/>
                  </a:lnTo>
                  <a:lnTo>
                    <a:pt x="352643" y="3997"/>
                  </a:lnTo>
                  <a:lnTo>
                    <a:pt x="304686" y="1005"/>
                  </a:lnTo>
                  <a:lnTo>
                    <a:pt x="256217" y="0"/>
                  </a:lnTo>
                  <a:close/>
                </a:path>
              </a:pathLst>
            </a:custGeom>
            <a:grpFill/>
          </p:spPr>
          <p:txBody>
            <a:bodyPr wrap="square" lIns="0" tIns="0" rIns="0" bIns="0" rtlCol="0"/>
            <a:lstStyle/>
            <a:p>
              <a:endParaRPr/>
            </a:p>
          </p:txBody>
        </p:sp>
        <p:sp>
          <p:nvSpPr>
            <p:cNvPr id="21" name="object 8">
              <a:extLst>
                <a:ext uri="{FF2B5EF4-FFF2-40B4-BE49-F238E27FC236}">
                  <a16:creationId xmlns:a16="http://schemas.microsoft.com/office/drawing/2014/main" id="{D63CF557-1D03-CF27-546B-1151257DE682}"/>
                </a:ext>
              </a:extLst>
            </p:cNvPr>
            <p:cNvSpPr/>
            <p:nvPr/>
          </p:nvSpPr>
          <p:spPr>
            <a:xfrm>
              <a:off x="1438442" y="5634837"/>
              <a:ext cx="1580045" cy="1220736"/>
            </a:xfrm>
            <a:custGeom>
              <a:avLst/>
              <a:gdLst/>
              <a:ahLst/>
              <a:cxnLst/>
              <a:rect l="l" t="t" r="r" b="b"/>
              <a:pathLst>
                <a:path w="1742439" h="1346200">
                  <a:moveTo>
                    <a:pt x="871016" y="0"/>
                  </a:moveTo>
                  <a:lnTo>
                    <a:pt x="823226" y="1288"/>
                  </a:lnTo>
                  <a:lnTo>
                    <a:pt x="776109" y="5110"/>
                  </a:lnTo>
                  <a:lnTo>
                    <a:pt x="729733" y="11400"/>
                  </a:lnTo>
                  <a:lnTo>
                    <a:pt x="684162" y="20089"/>
                  </a:lnTo>
                  <a:lnTo>
                    <a:pt x="639465" y="31113"/>
                  </a:lnTo>
                  <a:lnTo>
                    <a:pt x="595707" y="44404"/>
                  </a:lnTo>
                  <a:lnTo>
                    <a:pt x="552955" y="59897"/>
                  </a:lnTo>
                  <a:lnTo>
                    <a:pt x="511275" y="77525"/>
                  </a:lnTo>
                  <a:lnTo>
                    <a:pt x="470733" y="97221"/>
                  </a:lnTo>
                  <a:lnTo>
                    <a:pt x="431397" y="118919"/>
                  </a:lnTo>
                  <a:lnTo>
                    <a:pt x="393332" y="142552"/>
                  </a:lnTo>
                  <a:lnTo>
                    <a:pt x="356605" y="168055"/>
                  </a:lnTo>
                  <a:lnTo>
                    <a:pt x="321282" y="195360"/>
                  </a:lnTo>
                  <a:lnTo>
                    <a:pt x="287429" y="224402"/>
                  </a:lnTo>
                  <a:lnTo>
                    <a:pt x="255114" y="255114"/>
                  </a:lnTo>
                  <a:lnTo>
                    <a:pt x="224402" y="287429"/>
                  </a:lnTo>
                  <a:lnTo>
                    <a:pt x="195360" y="321282"/>
                  </a:lnTo>
                  <a:lnTo>
                    <a:pt x="168055" y="356605"/>
                  </a:lnTo>
                  <a:lnTo>
                    <a:pt x="142552" y="393332"/>
                  </a:lnTo>
                  <a:lnTo>
                    <a:pt x="118919" y="431397"/>
                  </a:lnTo>
                  <a:lnTo>
                    <a:pt x="97221" y="470733"/>
                  </a:lnTo>
                  <a:lnTo>
                    <a:pt x="77525" y="511275"/>
                  </a:lnTo>
                  <a:lnTo>
                    <a:pt x="59897" y="552955"/>
                  </a:lnTo>
                  <a:lnTo>
                    <a:pt x="44404" y="595707"/>
                  </a:lnTo>
                  <a:lnTo>
                    <a:pt x="31113" y="639465"/>
                  </a:lnTo>
                  <a:lnTo>
                    <a:pt x="20089" y="684162"/>
                  </a:lnTo>
                  <a:lnTo>
                    <a:pt x="11400" y="729733"/>
                  </a:lnTo>
                  <a:lnTo>
                    <a:pt x="5110" y="776109"/>
                  </a:lnTo>
                  <a:lnTo>
                    <a:pt x="1288" y="823226"/>
                  </a:lnTo>
                  <a:lnTo>
                    <a:pt x="0" y="871016"/>
                  </a:lnTo>
                  <a:lnTo>
                    <a:pt x="1288" y="918807"/>
                  </a:lnTo>
                  <a:lnTo>
                    <a:pt x="5110" y="965923"/>
                  </a:lnTo>
                  <a:lnTo>
                    <a:pt x="11400" y="1012300"/>
                  </a:lnTo>
                  <a:lnTo>
                    <a:pt x="20089" y="1057870"/>
                  </a:lnTo>
                  <a:lnTo>
                    <a:pt x="31113" y="1102568"/>
                  </a:lnTo>
                  <a:lnTo>
                    <a:pt x="44404" y="1146325"/>
                  </a:lnTo>
                  <a:lnTo>
                    <a:pt x="59897" y="1189078"/>
                  </a:lnTo>
                  <a:lnTo>
                    <a:pt x="77525" y="1230758"/>
                  </a:lnTo>
                  <a:lnTo>
                    <a:pt x="97221" y="1271299"/>
                  </a:lnTo>
                  <a:lnTo>
                    <a:pt x="118919" y="1310636"/>
                  </a:lnTo>
                  <a:lnTo>
                    <a:pt x="140895" y="1346032"/>
                  </a:lnTo>
                  <a:lnTo>
                    <a:pt x="1601138" y="1346032"/>
                  </a:lnTo>
                  <a:lnTo>
                    <a:pt x="1623114" y="1310636"/>
                  </a:lnTo>
                  <a:lnTo>
                    <a:pt x="1644812" y="1271299"/>
                  </a:lnTo>
                  <a:lnTo>
                    <a:pt x="1664508" y="1230758"/>
                  </a:lnTo>
                  <a:lnTo>
                    <a:pt x="1682136" y="1189078"/>
                  </a:lnTo>
                  <a:lnTo>
                    <a:pt x="1697628" y="1146325"/>
                  </a:lnTo>
                  <a:lnTo>
                    <a:pt x="1710920" y="1102568"/>
                  </a:lnTo>
                  <a:lnTo>
                    <a:pt x="1721943" y="1057870"/>
                  </a:lnTo>
                  <a:lnTo>
                    <a:pt x="1730633" y="1012300"/>
                  </a:lnTo>
                  <a:lnTo>
                    <a:pt x="1736922" y="965923"/>
                  </a:lnTo>
                  <a:lnTo>
                    <a:pt x="1740744" y="918807"/>
                  </a:lnTo>
                  <a:lnTo>
                    <a:pt x="1742033" y="871016"/>
                  </a:lnTo>
                  <a:lnTo>
                    <a:pt x="1740744" y="823226"/>
                  </a:lnTo>
                  <a:lnTo>
                    <a:pt x="1736922" y="776109"/>
                  </a:lnTo>
                  <a:lnTo>
                    <a:pt x="1730633" y="729733"/>
                  </a:lnTo>
                  <a:lnTo>
                    <a:pt x="1721943" y="684162"/>
                  </a:lnTo>
                  <a:lnTo>
                    <a:pt x="1710920" y="639465"/>
                  </a:lnTo>
                  <a:lnTo>
                    <a:pt x="1697628" y="595707"/>
                  </a:lnTo>
                  <a:lnTo>
                    <a:pt x="1682136" y="552955"/>
                  </a:lnTo>
                  <a:lnTo>
                    <a:pt x="1664508" y="511275"/>
                  </a:lnTo>
                  <a:lnTo>
                    <a:pt x="1644812" y="470733"/>
                  </a:lnTo>
                  <a:lnTo>
                    <a:pt x="1623114" y="431397"/>
                  </a:lnTo>
                  <a:lnTo>
                    <a:pt x="1599480" y="393332"/>
                  </a:lnTo>
                  <a:lnTo>
                    <a:pt x="1573978" y="356605"/>
                  </a:lnTo>
                  <a:lnTo>
                    <a:pt x="1546672" y="321282"/>
                  </a:lnTo>
                  <a:lnTo>
                    <a:pt x="1517630" y="287429"/>
                  </a:lnTo>
                  <a:lnTo>
                    <a:pt x="1486919" y="255114"/>
                  </a:lnTo>
                  <a:lnTo>
                    <a:pt x="1454603" y="224402"/>
                  </a:lnTo>
                  <a:lnTo>
                    <a:pt x="1420751" y="195360"/>
                  </a:lnTo>
                  <a:lnTo>
                    <a:pt x="1385428" y="168055"/>
                  </a:lnTo>
                  <a:lnTo>
                    <a:pt x="1348701" y="142552"/>
                  </a:lnTo>
                  <a:lnTo>
                    <a:pt x="1310636" y="118919"/>
                  </a:lnTo>
                  <a:lnTo>
                    <a:pt x="1271299" y="97221"/>
                  </a:lnTo>
                  <a:lnTo>
                    <a:pt x="1230758" y="77525"/>
                  </a:lnTo>
                  <a:lnTo>
                    <a:pt x="1189078" y="59897"/>
                  </a:lnTo>
                  <a:lnTo>
                    <a:pt x="1146325" y="44404"/>
                  </a:lnTo>
                  <a:lnTo>
                    <a:pt x="1102568" y="31113"/>
                  </a:lnTo>
                  <a:lnTo>
                    <a:pt x="1057870" y="20089"/>
                  </a:lnTo>
                  <a:lnTo>
                    <a:pt x="1012300" y="11400"/>
                  </a:lnTo>
                  <a:lnTo>
                    <a:pt x="965923" y="5110"/>
                  </a:lnTo>
                  <a:lnTo>
                    <a:pt x="918807" y="1288"/>
                  </a:lnTo>
                  <a:lnTo>
                    <a:pt x="871016" y="0"/>
                  </a:lnTo>
                  <a:close/>
                </a:path>
              </a:pathLst>
            </a:custGeom>
            <a:grpFill/>
          </p:spPr>
          <p:txBody>
            <a:bodyPr wrap="square" lIns="0" tIns="0" rIns="0" bIns="0" rtlCol="0"/>
            <a:lstStyle/>
            <a:p>
              <a:endParaRPr/>
            </a:p>
          </p:txBody>
        </p:sp>
        <p:sp>
          <p:nvSpPr>
            <p:cNvPr id="22" name="object 9">
              <a:extLst>
                <a:ext uri="{FF2B5EF4-FFF2-40B4-BE49-F238E27FC236}">
                  <a16:creationId xmlns:a16="http://schemas.microsoft.com/office/drawing/2014/main" id="{E6538FF3-DDE2-42CC-7C40-B64B8CC9397A}"/>
                </a:ext>
              </a:extLst>
            </p:cNvPr>
            <p:cNvSpPr/>
            <p:nvPr/>
          </p:nvSpPr>
          <p:spPr>
            <a:xfrm>
              <a:off x="4273152" y="6359534"/>
              <a:ext cx="726683" cy="496356"/>
            </a:xfrm>
            <a:custGeom>
              <a:avLst/>
              <a:gdLst/>
              <a:ahLst/>
              <a:cxnLst/>
              <a:rect l="l" t="t" r="r" b="b"/>
              <a:pathLst>
                <a:path w="801370" h="547370">
                  <a:moveTo>
                    <a:pt x="400672" y="0"/>
                  </a:moveTo>
                  <a:lnTo>
                    <a:pt x="353945" y="2695"/>
                  </a:lnTo>
                  <a:lnTo>
                    <a:pt x="308801" y="10581"/>
                  </a:lnTo>
                  <a:lnTo>
                    <a:pt x="265542" y="23357"/>
                  </a:lnTo>
                  <a:lnTo>
                    <a:pt x="224466" y="40722"/>
                  </a:lnTo>
                  <a:lnTo>
                    <a:pt x="185876" y="62376"/>
                  </a:lnTo>
                  <a:lnTo>
                    <a:pt x="150072" y="88018"/>
                  </a:lnTo>
                  <a:lnTo>
                    <a:pt x="117354" y="117348"/>
                  </a:lnTo>
                  <a:lnTo>
                    <a:pt x="88023" y="150064"/>
                  </a:lnTo>
                  <a:lnTo>
                    <a:pt x="62379" y="185867"/>
                  </a:lnTo>
                  <a:lnTo>
                    <a:pt x="40724" y="224456"/>
                  </a:lnTo>
                  <a:lnTo>
                    <a:pt x="23358" y="265531"/>
                  </a:lnTo>
                  <a:lnTo>
                    <a:pt x="10582" y="308789"/>
                  </a:lnTo>
                  <a:lnTo>
                    <a:pt x="2695" y="353933"/>
                  </a:lnTo>
                  <a:lnTo>
                    <a:pt x="0" y="400659"/>
                  </a:lnTo>
                  <a:lnTo>
                    <a:pt x="2695" y="447386"/>
                  </a:lnTo>
                  <a:lnTo>
                    <a:pt x="10582" y="492529"/>
                  </a:lnTo>
                  <a:lnTo>
                    <a:pt x="23358" y="535789"/>
                  </a:lnTo>
                  <a:lnTo>
                    <a:pt x="28035" y="546851"/>
                  </a:lnTo>
                  <a:lnTo>
                    <a:pt x="773308" y="546851"/>
                  </a:lnTo>
                  <a:lnTo>
                    <a:pt x="777985" y="535789"/>
                  </a:lnTo>
                  <a:lnTo>
                    <a:pt x="790762" y="492529"/>
                  </a:lnTo>
                  <a:lnTo>
                    <a:pt x="798648" y="447386"/>
                  </a:lnTo>
                  <a:lnTo>
                    <a:pt x="801344" y="400659"/>
                  </a:lnTo>
                  <a:lnTo>
                    <a:pt x="798648" y="353933"/>
                  </a:lnTo>
                  <a:lnTo>
                    <a:pt x="790762" y="308789"/>
                  </a:lnTo>
                  <a:lnTo>
                    <a:pt x="777985" y="265531"/>
                  </a:lnTo>
                  <a:lnTo>
                    <a:pt x="760619" y="224456"/>
                  </a:lnTo>
                  <a:lnTo>
                    <a:pt x="738964" y="185867"/>
                  </a:lnTo>
                  <a:lnTo>
                    <a:pt x="713321" y="150064"/>
                  </a:lnTo>
                  <a:lnTo>
                    <a:pt x="683990" y="117348"/>
                  </a:lnTo>
                  <a:lnTo>
                    <a:pt x="651272" y="88018"/>
                  </a:lnTo>
                  <a:lnTo>
                    <a:pt x="615467" y="62376"/>
                  </a:lnTo>
                  <a:lnTo>
                    <a:pt x="576877" y="40722"/>
                  </a:lnTo>
                  <a:lnTo>
                    <a:pt x="535802" y="23357"/>
                  </a:lnTo>
                  <a:lnTo>
                    <a:pt x="492542" y="10581"/>
                  </a:lnTo>
                  <a:lnTo>
                    <a:pt x="447399" y="2695"/>
                  </a:lnTo>
                  <a:lnTo>
                    <a:pt x="400672" y="0"/>
                  </a:lnTo>
                  <a:close/>
                </a:path>
              </a:pathLst>
            </a:custGeom>
            <a:grpFill/>
          </p:spPr>
          <p:txBody>
            <a:bodyPr wrap="square" lIns="0" tIns="0" rIns="0" bIns="0" rtlCol="0"/>
            <a:lstStyle/>
            <a:p>
              <a:endParaRPr/>
            </a:p>
          </p:txBody>
        </p:sp>
        <p:sp>
          <p:nvSpPr>
            <p:cNvPr id="23" name="object 10">
              <a:extLst>
                <a:ext uri="{FF2B5EF4-FFF2-40B4-BE49-F238E27FC236}">
                  <a16:creationId xmlns:a16="http://schemas.microsoft.com/office/drawing/2014/main" id="{E0B7C2DB-A4D1-95C8-95C5-D97562B895E0}"/>
                </a:ext>
              </a:extLst>
            </p:cNvPr>
            <p:cNvSpPr/>
            <p:nvPr/>
          </p:nvSpPr>
          <p:spPr>
            <a:xfrm>
              <a:off x="1979925" y="4720897"/>
              <a:ext cx="726683" cy="726683"/>
            </a:xfrm>
            <a:custGeom>
              <a:avLst/>
              <a:gdLst/>
              <a:ahLst/>
              <a:cxnLst/>
              <a:rect l="l" t="t" r="r" b="b"/>
              <a:pathLst>
                <a:path w="801369" h="801370">
                  <a:moveTo>
                    <a:pt x="400672" y="0"/>
                  </a:moveTo>
                  <a:lnTo>
                    <a:pt x="353945" y="2695"/>
                  </a:lnTo>
                  <a:lnTo>
                    <a:pt x="308801" y="10582"/>
                  </a:lnTo>
                  <a:lnTo>
                    <a:pt x="265542" y="23358"/>
                  </a:lnTo>
                  <a:lnTo>
                    <a:pt x="224466" y="40724"/>
                  </a:lnTo>
                  <a:lnTo>
                    <a:pt x="185876" y="62379"/>
                  </a:lnTo>
                  <a:lnTo>
                    <a:pt x="150072" y="88022"/>
                  </a:lnTo>
                  <a:lnTo>
                    <a:pt x="117354" y="117352"/>
                  </a:lnTo>
                  <a:lnTo>
                    <a:pt x="88023" y="150070"/>
                  </a:lnTo>
                  <a:lnTo>
                    <a:pt x="62379" y="185873"/>
                  </a:lnTo>
                  <a:lnTo>
                    <a:pt x="40724" y="224462"/>
                  </a:lnTo>
                  <a:lnTo>
                    <a:pt x="23358" y="265536"/>
                  </a:lnTo>
                  <a:lnTo>
                    <a:pt x="10582" y="308793"/>
                  </a:lnTo>
                  <a:lnTo>
                    <a:pt x="2695" y="353935"/>
                  </a:lnTo>
                  <a:lnTo>
                    <a:pt x="0" y="400659"/>
                  </a:lnTo>
                  <a:lnTo>
                    <a:pt x="2695" y="447386"/>
                  </a:lnTo>
                  <a:lnTo>
                    <a:pt x="10582" y="492529"/>
                  </a:lnTo>
                  <a:lnTo>
                    <a:pt x="23358" y="535789"/>
                  </a:lnTo>
                  <a:lnTo>
                    <a:pt x="40724" y="576864"/>
                  </a:lnTo>
                  <a:lnTo>
                    <a:pt x="62379" y="615455"/>
                  </a:lnTo>
                  <a:lnTo>
                    <a:pt x="88023" y="651259"/>
                  </a:lnTo>
                  <a:lnTo>
                    <a:pt x="117354" y="683977"/>
                  </a:lnTo>
                  <a:lnTo>
                    <a:pt x="150072" y="713308"/>
                  </a:lnTo>
                  <a:lnTo>
                    <a:pt x="185876" y="738951"/>
                  </a:lnTo>
                  <a:lnTo>
                    <a:pt x="224466" y="760607"/>
                  </a:lnTo>
                  <a:lnTo>
                    <a:pt x="265542" y="777973"/>
                  </a:lnTo>
                  <a:lnTo>
                    <a:pt x="308801" y="790749"/>
                  </a:lnTo>
                  <a:lnTo>
                    <a:pt x="353945" y="798636"/>
                  </a:lnTo>
                  <a:lnTo>
                    <a:pt x="400672" y="801331"/>
                  </a:lnTo>
                  <a:lnTo>
                    <a:pt x="447399" y="798636"/>
                  </a:lnTo>
                  <a:lnTo>
                    <a:pt x="492542" y="790749"/>
                  </a:lnTo>
                  <a:lnTo>
                    <a:pt x="535802" y="777973"/>
                  </a:lnTo>
                  <a:lnTo>
                    <a:pt x="576877" y="760607"/>
                  </a:lnTo>
                  <a:lnTo>
                    <a:pt x="615467" y="738951"/>
                  </a:lnTo>
                  <a:lnTo>
                    <a:pt x="651272" y="713308"/>
                  </a:lnTo>
                  <a:lnTo>
                    <a:pt x="683990" y="683977"/>
                  </a:lnTo>
                  <a:lnTo>
                    <a:pt x="713321" y="651259"/>
                  </a:lnTo>
                  <a:lnTo>
                    <a:pt x="738964" y="615455"/>
                  </a:lnTo>
                  <a:lnTo>
                    <a:pt x="760619" y="576864"/>
                  </a:lnTo>
                  <a:lnTo>
                    <a:pt x="777985" y="535789"/>
                  </a:lnTo>
                  <a:lnTo>
                    <a:pt x="790762" y="492529"/>
                  </a:lnTo>
                  <a:lnTo>
                    <a:pt x="798648" y="447386"/>
                  </a:lnTo>
                  <a:lnTo>
                    <a:pt x="801344" y="400659"/>
                  </a:lnTo>
                  <a:lnTo>
                    <a:pt x="798648" y="353935"/>
                  </a:lnTo>
                  <a:lnTo>
                    <a:pt x="790762" y="308793"/>
                  </a:lnTo>
                  <a:lnTo>
                    <a:pt x="777985" y="265536"/>
                  </a:lnTo>
                  <a:lnTo>
                    <a:pt x="760619" y="224462"/>
                  </a:lnTo>
                  <a:lnTo>
                    <a:pt x="738964" y="185873"/>
                  </a:lnTo>
                  <a:lnTo>
                    <a:pt x="713321" y="150070"/>
                  </a:lnTo>
                  <a:lnTo>
                    <a:pt x="683990" y="117352"/>
                  </a:lnTo>
                  <a:lnTo>
                    <a:pt x="651272" y="88022"/>
                  </a:lnTo>
                  <a:lnTo>
                    <a:pt x="615467" y="62379"/>
                  </a:lnTo>
                  <a:lnTo>
                    <a:pt x="576877" y="40724"/>
                  </a:lnTo>
                  <a:lnTo>
                    <a:pt x="535802" y="23358"/>
                  </a:lnTo>
                  <a:lnTo>
                    <a:pt x="492542" y="10582"/>
                  </a:lnTo>
                  <a:lnTo>
                    <a:pt x="447399" y="2695"/>
                  </a:lnTo>
                  <a:lnTo>
                    <a:pt x="400672" y="0"/>
                  </a:lnTo>
                  <a:close/>
                </a:path>
              </a:pathLst>
            </a:custGeom>
            <a:grpFill/>
          </p:spPr>
          <p:txBody>
            <a:bodyPr wrap="square" lIns="0" tIns="0" rIns="0" bIns="0" rtlCol="0"/>
            <a:lstStyle/>
            <a:p>
              <a:endParaRPr/>
            </a:p>
          </p:txBody>
        </p:sp>
      </p:grpSp>
      <p:sp>
        <p:nvSpPr>
          <p:cNvPr id="30" name="Footer Placeholder 4">
            <a:extLst>
              <a:ext uri="{FF2B5EF4-FFF2-40B4-BE49-F238E27FC236}">
                <a16:creationId xmlns:a16="http://schemas.microsoft.com/office/drawing/2014/main" id="{02C401B5-B453-3BF0-01CE-3F0F63B03A02}"/>
              </a:ext>
            </a:extLst>
          </p:cNvPr>
          <p:cNvSpPr>
            <a:spLocks noGrp="1"/>
          </p:cNvSpPr>
          <p:nvPr userDrawn="1">
            <p:ph type="ftr" sz="quarter" idx="3"/>
          </p:nvPr>
        </p:nvSpPr>
        <p:spPr>
          <a:xfrm>
            <a:off x="735724" y="6114954"/>
            <a:ext cx="4929352" cy="365125"/>
          </a:xfrm>
          <a:prstGeom prst="rect">
            <a:avLst/>
          </a:prstGeom>
        </p:spPr>
        <p:txBody>
          <a:bodyPr/>
          <a:lstStyle>
            <a:lvl1pPr>
              <a:defRPr sz="1400">
                <a:solidFill>
                  <a:schemeClr val="tx2"/>
                </a:solidFill>
              </a:defRPr>
            </a:lvl1pPr>
          </a:lstStyle>
          <a:p>
            <a:endParaRPr lang="en-GB" dirty="0"/>
          </a:p>
        </p:txBody>
      </p:sp>
      <p:sp>
        <p:nvSpPr>
          <p:cNvPr id="2" name="Picture Placeholder 2">
            <a:extLst>
              <a:ext uri="{FF2B5EF4-FFF2-40B4-BE49-F238E27FC236}">
                <a16:creationId xmlns:a16="http://schemas.microsoft.com/office/drawing/2014/main" id="{40C06F99-8172-DCE1-7EFE-FF4F105EC10F}"/>
              </a:ext>
            </a:extLst>
          </p:cNvPr>
          <p:cNvSpPr>
            <a:spLocks noGrp="1"/>
          </p:cNvSpPr>
          <p:nvPr>
            <p:ph type="pic" idx="10"/>
          </p:nvPr>
        </p:nvSpPr>
        <p:spPr>
          <a:xfrm>
            <a:off x="5937730" y="-624301"/>
            <a:ext cx="8682510" cy="8565938"/>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2">
            <a:extLst>
              <a:ext uri="{FF2B5EF4-FFF2-40B4-BE49-F238E27FC236}">
                <a16:creationId xmlns:a16="http://schemas.microsoft.com/office/drawing/2014/main" id="{5D5A134A-9500-7361-A12A-6B671873C96B}"/>
              </a:ext>
            </a:extLst>
          </p:cNvPr>
          <p:cNvSpPr>
            <a:spLocks noGrp="1"/>
          </p:cNvSpPr>
          <p:nvPr>
            <p:ph type="body" idx="1"/>
          </p:nvPr>
        </p:nvSpPr>
        <p:spPr>
          <a:xfrm>
            <a:off x="735724" y="2184400"/>
            <a:ext cx="5360276" cy="3840480"/>
          </a:xfrm>
        </p:spPr>
        <p:txBody>
          <a:bodyPr>
            <a:normAutofit/>
          </a:bodyPr>
          <a:lstStyle>
            <a:lvl1pPr marL="0" indent="0" algn="l">
              <a:lnSpc>
                <a:spcPct val="100000"/>
              </a:lnSpc>
              <a:buNone/>
              <a:defRPr sz="2000">
                <a:solidFill>
                  <a:schemeClr val="bg1"/>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Title 1">
            <a:extLst>
              <a:ext uri="{FF2B5EF4-FFF2-40B4-BE49-F238E27FC236}">
                <a16:creationId xmlns:a16="http://schemas.microsoft.com/office/drawing/2014/main" id="{CB2A364B-A6CD-5EAF-DE9C-A1C82F55A1E9}"/>
              </a:ext>
            </a:extLst>
          </p:cNvPr>
          <p:cNvSpPr>
            <a:spLocks noGrp="1"/>
          </p:cNvSpPr>
          <p:nvPr>
            <p:ph type="title"/>
          </p:nvPr>
        </p:nvSpPr>
        <p:spPr>
          <a:xfrm>
            <a:off x="751841" y="365125"/>
            <a:ext cx="5435599" cy="1325563"/>
          </a:xfrm>
        </p:spPr>
        <p:txBody>
          <a:bodyPr>
            <a:normAutofit/>
          </a:bodyPr>
          <a:lstStyle>
            <a:lvl1pPr>
              <a:defRPr sz="2800" b="1">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417094234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8_Section Header">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2D00DCAC-C40F-C3B9-F022-BCEE66A66A0B}"/>
              </a:ext>
            </a:extLst>
          </p:cNvPr>
          <p:cNvSpPr/>
          <p:nvPr userDrawn="1"/>
        </p:nvSpPr>
        <p:spPr>
          <a:xfrm>
            <a:off x="0" y="-4957"/>
            <a:ext cx="12197847" cy="6908925"/>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chemeClr val="bg1"/>
          </a:solidFill>
          <a:ln>
            <a:solidFill>
              <a:schemeClr val="bg1"/>
            </a:solidFill>
          </a:ln>
        </p:spPr>
        <p:txBody>
          <a:bodyPr wrap="square" lIns="0" tIns="0" rIns="0" bIns="0" rtlCol="0"/>
          <a:lstStyle/>
          <a:p>
            <a:endParaRPr sz="2000" dirty="0"/>
          </a:p>
        </p:txBody>
      </p:sp>
      <p:sp>
        <p:nvSpPr>
          <p:cNvPr id="30" name="Footer Placeholder 4">
            <a:extLst>
              <a:ext uri="{FF2B5EF4-FFF2-40B4-BE49-F238E27FC236}">
                <a16:creationId xmlns:a16="http://schemas.microsoft.com/office/drawing/2014/main" id="{02C401B5-B453-3BF0-01CE-3F0F63B03A02}"/>
              </a:ext>
            </a:extLst>
          </p:cNvPr>
          <p:cNvSpPr>
            <a:spLocks noGrp="1"/>
          </p:cNvSpPr>
          <p:nvPr userDrawn="1">
            <p:ph type="ftr" sz="quarter" idx="3"/>
          </p:nvPr>
        </p:nvSpPr>
        <p:spPr>
          <a:xfrm>
            <a:off x="735724" y="6114954"/>
            <a:ext cx="4929352" cy="365125"/>
          </a:xfrm>
          <a:prstGeom prst="rect">
            <a:avLst/>
          </a:prstGeom>
        </p:spPr>
        <p:txBody>
          <a:bodyPr/>
          <a:lstStyle>
            <a:lvl1pPr>
              <a:defRPr sz="1400">
                <a:solidFill>
                  <a:schemeClr val="bg2"/>
                </a:solidFill>
              </a:defRPr>
            </a:lvl1pPr>
          </a:lstStyle>
          <a:p>
            <a:endParaRPr lang="en-GB" dirty="0"/>
          </a:p>
        </p:txBody>
      </p:sp>
      <p:grpSp>
        <p:nvGrpSpPr>
          <p:cNvPr id="2" name="Group 1">
            <a:extLst>
              <a:ext uri="{FF2B5EF4-FFF2-40B4-BE49-F238E27FC236}">
                <a16:creationId xmlns:a16="http://schemas.microsoft.com/office/drawing/2014/main" id="{19D4B2F3-8059-DBA5-4D44-29894B41DAB0}"/>
              </a:ext>
            </a:extLst>
          </p:cNvPr>
          <p:cNvGrpSpPr/>
          <p:nvPr userDrawn="1"/>
        </p:nvGrpSpPr>
        <p:grpSpPr>
          <a:xfrm>
            <a:off x="9598" y="0"/>
            <a:ext cx="5429576" cy="1714213"/>
            <a:chOff x="9598" y="0"/>
            <a:chExt cx="5429576" cy="1714213"/>
          </a:xfrm>
        </p:grpSpPr>
        <p:sp>
          <p:nvSpPr>
            <p:cNvPr id="4" name="object 3">
              <a:extLst>
                <a:ext uri="{FF2B5EF4-FFF2-40B4-BE49-F238E27FC236}">
                  <a16:creationId xmlns:a16="http://schemas.microsoft.com/office/drawing/2014/main" id="{E252FAA9-4B96-7A6B-6755-5360E5145F52}"/>
                </a:ext>
              </a:extLst>
            </p:cNvPr>
            <p:cNvSpPr/>
            <p:nvPr/>
          </p:nvSpPr>
          <p:spPr>
            <a:xfrm>
              <a:off x="807663" y="1115370"/>
              <a:ext cx="456048" cy="456048"/>
            </a:xfrm>
            <a:custGeom>
              <a:avLst/>
              <a:gdLst/>
              <a:ahLst/>
              <a:cxnLst/>
              <a:rect l="l" t="t" r="r" b="b"/>
              <a:pathLst>
                <a:path w="502919" h="502919">
                  <a:moveTo>
                    <a:pt x="251434" y="0"/>
                  </a:moveTo>
                  <a:lnTo>
                    <a:pt x="206239" y="4050"/>
                  </a:lnTo>
                  <a:lnTo>
                    <a:pt x="163701" y="15730"/>
                  </a:lnTo>
                  <a:lnTo>
                    <a:pt x="124531" y="34328"/>
                  </a:lnTo>
                  <a:lnTo>
                    <a:pt x="89439" y="59133"/>
                  </a:lnTo>
                  <a:lnTo>
                    <a:pt x="59134" y="89437"/>
                  </a:lnTo>
                  <a:lnTo>
                    <a:pt x="34328" y="124527"/>
                  </a:lnTo>
                  <a:lnTo>
                    <a:pt x="15730" y="163695"/>
                  </a:lnTo>
                  <a:lnTo>
                    <a:pt x="4051" y="206230"/>
                  </a:lnTo>
                  <a:lnTo>
                    <a:pt x="0" y="251421"/>
                  </a:lnTo>
                  <a:lnTo>
                    <a:pt x="4051" y="296617"/>
                  </a:lnTo>
                  <a:lnTo>
                    <a:pt x="15730" y="339154"/>
                  </a:lnTo>
                  <a:lnTo>
                    <a:pt x="34328" y="378325"/>
                  </a:lnTo>
                  <a:lnTo>
                    <a:pt x="59134" y="413417"/>
                  </a:lnTo>
                  <a:lnTo>
                    <a:pt x="89439" y="443721"/>
                  </a:lnTo>
                  <a:lnTo>
                    <a:pt x="124531" y="468527"/>
                  </a:lnTo>
                  <a:lnTo>
                    <a:pt x="163701" y="487125"/>
                  </a:lnTo>
                  <a:lnTo>
                    <a:pt x="206239" y="498805"/>
                  </a:lnTo>
                  <a:lnTo>
                    <a:pt x="251434" y="502856"/>
                  </a:lnTo>
                  <a:lnTo>
                    <a:pt x="296629" y="498805"/>
                  </a:lnTo>
                  <a:lnTo>
                    <a:pt x="339167" y="487125"/>
                  </a:lnTo>
                  <a:lnTo>
                    <a:pt x="378337" y="468527"/>
                  </a:lnTo>
                  <a:lnTo>
                    <a:pt x="413430" y="443721"/>
                  </a:lnTo>
                  <a:lnTo>
                    <a:pt x="443734" y="413417"/>
                  </a:lnTo>
                  <a:lnTo>
                    <a:pt x="468540" y="378325"/>
                  </a:lnTo>
                  <a:lnTo>
                    <a:pt x="487138" y="339154"/>
                  </a:lnTo>
                  <a:lnTo>
                    <a:pt x="498818" y="296617"/>
                  </a:lnTo>
                  <a:lnTo>
                    <a:pt x="502869" y="251421"/>
                  </a:lnTo>
                  <a:lnTo>
                    <a:pt x="498818" y="206230"/>
                  </a:lnTo>
                  <a:lnTo>
                    <a:pt x="487138" y="163695"/>
                  </a:lnTo>
                  <a:lnTo>
                    <a:pt x="468540" y="124527"/>
                  </a:lnTo>
                  <a:lnTo>
                    <a:pt x="443734" y="89437"/>
                  </a:lnTo>
                  <a:lnTo>
                    <a:pt x="413430" y="59133"/>
                  </a:lnTo>
                  <a:lnTo>
                    <a:pt x="378337" y="34328"/>
                  </a:lnTo>
                  <a:lnTo>
                    <a:pt x="339167" y="15730"/>
                  </a:lnTo>
                  <a:lnTo>
                    <a:pt x="296629" y="4050"/>
                  </a:lnTo>
                  <a:lnTo>
                    <a:pt x="251434" y="0"/>
                  </a:lnTo>
                  <a:close/>
                </a:path>
              </a:pathLst>
            </a:custGeom>
            <a:solidFill>
              <a:srgbClr val="00A79D">
                <a:alpha val="23999"/>
              </a:srgbClr>
            </a:solidFill>
          </p:spPr>
          <p:txBody>
            <a:bodyPr wrap="square" lIns="0" tIns="0" rIns="0" bIns="0" rtlCol="0"/>
            <a:lstStyle/>
            <a:p>
              <a:endParaRPr/>
            </a:p>
          </p:txBody>
        </p:sp>
        <p:sp>
          <p:nvSpPr>
            <p:cNvPr id="8" name="object 4">
              <a:extLst>
                <a:ext uri="{FF2B5EF4-FFF2-40B4-BE49-F238E27FC236}">
                  <a16:creationId xmlns:a16="http://schemas.microsoft.com/office/drawing/2014/main" id="{56DD7027-7ED1-92CB-BE49-E54EC1CD9B2F}"/>
                </a:ext>
              </a:extLst>
            </p:cNvPr>
            <p:cNvSpPr/>
            <p:nvPr/>
          </p:nvSpPr>
          <p:spPr>
            <a:xfrm>
              <a:off x="1705395" y="393384"/>
              <a:ext cx="456048" cy="456048"/>
            </a:xfrm>
            <a:custGeom>
              <a:avLst/>
              <a:gdLst/>
              <a:ahLst/>
              <a:cxnLst/>
              <a:rect l="l" t="t" r="r" b="b"/>
              <a:pathLst>
                <a:path w="502919" h="502919">
                  <a:moveTo>
                    <a:pt x="251434" y="0"/>
                  </a:moveTo>
                  <a:lnTo>
                    <a:pt x="206239" y="4050"/>
                  </a:lnTo>
                  <a:lnTo>
                    <a:pt x="163701" y="15730"/>
                  </a:lnTo>
                  <a:lnTo>
                    <a:pt x="124531" y="34328"/>
                  </a:lnTo>
                  <a:lnTo>
                    <a:pt x="89439" y="59133"/>
                  </a:lnTo>
                  <a:lnTo>
                    <a:pt x="59134" y="89437"/>
                  </a:lnTo>
                  <a:lnTo>
                    <a:pt x="34328" y="124527"/>
                  </a:lnTo>
                  <a:lnTo>
                    <a:pt x="15730" y="163695"/>
                  </a:lnTo>
                  <a:lnTo>
                    <a:pt x="4051" y="206230"/>
                  </a:lnTo>
                  <a:lnTo>
                    <a:pt x="0" y="251421"/>
                  </a:lnTo>
                  <a:lnTo>
                    <a:pt x="4051" y="296617"/>
                  </a:lnTo>
                  <a:lnTo>
                    <a:pt x="15730" y="339154"/>
                  </a:lnTo>
                  <a:lnTo>
                    <a:pt x="34328" y="378325"/>
                  </a:lnTo>
                  <a:lnTo>
                    <a:pt x="59134" y="413417"/>
                  </a:lnTo>
                  <a:lnTo>
                    <a:pt x="89439" y="443721"/>
                  </a:lnTo>
                  <a:lnTo>
                    <a:pt x="124531" y="468527"/>
                  </a:lnTo>
                  <a:lnTo>
                    <a:pt x="163701" y="487125"/>
                  </a:lnTo>
                  <a:lnTo>
                    <a:pt x="206239" y="498805"/>
                  </a:lnTo>
                  <a:lnTo>
                    <a:pt x="251434" y="502856"/>
                  </a:lnTo>
                  <a:lnTo>
                    <a:pt x="296629" y="498805"/>
                  </a:lnTo>
                  <a:lnTo>
                    <a:pt x="339167" y="487125"/>
                  </a:lnTo>
                  <a:lnTo>
                    <a:pt x="378337" y="468527"/>
                  </a:lnTo>
                  <a:lnTo>
                    <a:pt x="413430" y="443721"/>
                  </a:lnTo>
                  <a:lnTo>
                    <a:pt x="443734" y="413417"/>
                  </a:lnTo>
                  <a:lnTo>
                    <a:pt x="468540" y="378325"/>
                  </a:lnTo>
                  <a:lnTo>
                    <a:pt x="487138" y="339154"/>
                  </a:lnTo>
                  <a:lnTo>
                    <a:pt x="498818" y="296617"/>
                  </a:lnTo>
                  <a:lnTo>
                    <a:pt x="502869" y="251421"/>
                  </a:lnTo>
                  <a:lnTo>
                    <a:pt x="498818" y="206230"/>
                  </a:lnTo>
                  <a:lnTo>
                    <a:pt x="487138" y="163695"/>
                  </a:lnTo>
                  <a:lnTo>
                    <a:pt x="468540" y="124527"/>
                  </a:lnTo>
                  <a:lnTo>
                    <a:pt x="443734" y="89437"/>
                  </a:lnTo>
                  <a:lnTo>
                    <a:pt x="413430" y="59133"/>
                  </a:lnTo>
                  <a:lnTo>
                    <a:pt x="378337" y="34328"/>
                  </a:lnTo>
                  <a:lnTo>
                    <a:pt x="339167" y="15730"/>
                  </a:lnTo>
                  <a:lnTo>
                    <a:pt x="296629" y="4050"/>
                  </a:lnTo>
                  <a:lnTo>
                    <a:pt x="251434" y="0"/>
                  </a:lnTo>
                  <a:close/>
                </a:path>
              </a:pathLst>
            </a:custGeom>
            <a:solidFill>
              <a:srgbClr val="00A79D">
                <a:alpha val="23999"/>
              </a:srgbClr>
            </a:solidFill>
          </p:spPr>
          <p:txBody>
            <a:bodyPr wrap="square" lIns="0" tIns="0" rIns="0" bIns="0" rtlCol="0"/>
            <a:lstStyle/>
            <a:p>
              <a:endParaRPr/>
            </a:p>
          </p:txBody>
        </p:sp>
        <p:sp>
          <p:nvSpPr>
            <p:cNvPr id="9" name="object 5">
              <a:extLst>
                <a:ext uri="{FF2B5EF4-FFF2-40B4-BE49-F238E27FC236}">
                  <a16:creationId xmlns:a16="http://schemas.microsoft.com/office/drawing/2014/main" id="{574E6B3C-9B13-98CF-F82C-2B284F58AF9D}"/>
                </a:ext>
              </a:extLst>
            </p:cNvPr>
            <p:cNvSpPr/>
            <p:nvPr/>
          </p:nvSpPr>
          <p:spPr>
            <a:xfrm>
              <a:off x="3359317" y="1"/>
              <a:ext cx="2079857" cy="1714212"/>
            </a:xfrm>
            <a:custGeom>
              <a:avLst/>
              <a:gdLst/>
              <a:ahLst/>
              <a:cxnLst/>
              <a:rect l="l" t="t" r="r" b="b"/>
              <a:pathLst>
                <a:path w="2293620" h="1890395">
                  <a:moveTo>
                    <a:pt x="2019352" y="0"/>
                  </a:moveTo>
                  <a:lnTo>
                    <a:pt x="273886" y="0"/>
                  </a:lnTo>
                  <a:lnTo>
                    <a:pt x="260037" y="16206"/>
                  </a:lnTo>
                  <a:lnTo>
                    <a:pt x="232042" y="51695"/>
                  </a:lnTo>
                  <a:lnTo>
                    <a:pt x="205436" y="88294"/>
                  </a:lnTo>
                  <a:lnTo>
                    <a:pt x="180257" y="125963"/>
                  </a:lnTo>
                  <a:lnTo>
                    <a:pt x="156547" y="164662"/>
                  </a:lnTo>
                  <a:lnTo>
                    <a:pt x="134344" y="204351"/>
                  </a:lnTo>
                  <a:lnTo>
                    <a:pt x="113689" y="244991"/>
                  </a:lnTo>
                  <a:lnTo>
                    <a:pt x="94621" y="286541"/>
                  </a:lnTo>
                  <a:lnTo>
                    <a:pt x="77180" y="328963"/>
                  </a:lnTo>
                  <a:lnTo>
                    <a:pt x="61406" y="372215"/>
                  </a:lnTo>
                  <a:lnTo>
                    <a:pt x="47339" y="416259"/>
                  </a:lnTo>
                  <a:lnTo>
                    <a:pt x="35018" y="461055"/>
                  </a:lnTo>
                  <a:lnTo>
                    <a:pt x="24484" y="506562"/>
                  </a:lnTo>
                  <a:lnTo>
                    <a:pt x="15776" y="552741"/>
                  </a:lnTo>
                  <a:lnTo>
                    <a:pt x="8933" y="599553"/>
                  </a:lnTo>
                  <a:lnTo>
                    <a:pt x="3997" y="646957"/>
                  </a:lnTo>
                  <a:lnTo>
                    <a:pt x="1005" y="694913"/>
                  </a:lnTo>
                  <a:lnTo>
                    <a:pt x="0" y="743382"/>
                  </a:lnTo>
                  <a:lnTo>
                    <a:pt x="1005" y="791852"/>
                  </a:lnTo>
                  <a:lnTo>
                    <a:pt x="3997" y="839808"/>
                  </a:lnTo>
                  <a:lnTo>
                    <a:pt x="8933" y="887212"/>
                  </a:lnTo>
                  <a:lnTo>
                    <a:pt x="15776" y="934023"/>
                  </a:lnTo>
                  <a:lnTo>
                    <a:pt x="24484" y="980203"/>
                  </a:lnTo>
                  <a:lnTo>
                    <a:pt x="35018" y="1025710"/>
                  </a:lnTo>
                  <a:lnTo>
                    <a:pt x="47339" y="1070505"/>
                  </a:lnTo>
                  <a:lnTo>
                    <a:pt x="61406" y="1114549"/>
                  </a:lnTo>
                  <a:lnTo>
                    <a:pt x="77180" y="1157802"/>
                  </a:lnTo>
                  <a:lnTo>
                    <a:pt x="94621" y="1200224"/>
                  </a:lnTo>
                  <a:lnTo>
                    <a:pt x="113689" y="1241774"/>
                  </a:lnTo>
                  <a:lnTo>
                    <a:pt x="134344" y="1282414"/>
                  </a:lnTo>
                  <a:lnTo>
                    <a:pt x="156547" y="1322103"/>
                  </a:lnTo>
                  <a:lnTo>
                    <a:pt x="180257" y="1360802"/>
                  </a:lnTo>
                  <a:lnTo>
                    <a:pt x="205436" y="1398471"/>
                  </a:lnTo>
                  <a:lnTo>
                    <a:pt x="232042" y="1435069"/>
                  </a:lnTo>
                  <a:lnTo>
                    <a:pt x="260037" y="1470558"/>
                  </a:lnTo>
                  <a:lnTo>
                    <a:pt x="289380" y="1504898"/>
                  </a:lnTo>
                  <a:lnTo>
                    <a:pt x="320032" y="1538048"/>
                  </a:lnTo>
                  <a:lnTo>
                    <a:pt x="351953" y="1569969"/>
                  </a:lnTo>
                  <a:lnTo>
                    <a:pt x="385103" y="1600621"/>
                  </a:lnTo>
                  <a:lnTo>
                    <a:pt x="419443" y="1629964"/>
                  </a:lnTo>
                  <a:lnTo>
                    <a:pt x="454932" y="1657959"/>
                  </a:lnTo>
                  <a:lnTo>
                    <a:pt x="491531" y="1684566"/>
                  </a:lnTo>
                  <a:lnTo>
                    <a:pt x="529199" y="1709744"/>
                  </a:lnTo>
                  <a:lnTo>
                    <a:pt x="567898" y="1733455"/>
                  </a:lnTo>
                  <a:lnTo>
                    <a:pt x="607588" y="1755657"/>
                  </a:lnTo>
                  <a:lnTo>
                    <a:pt x="648227" y="1776313"/>
                  </a:lnTo>
                  <a:lnTo>
                    <a:pt x="689778" y="1795380"/>
                  </a:lnTo>
                  <a:lnTo>
                    <a:pt x="732199" y="1812821"/>
                  </a:lnTo>
                  <a:lnTo>
                    <a:pt x="775452" y="1828595"/>
                  </a:lnTo>
                  <a:lnTo>
                    <a:pt x="819496" y="1842662"/>
                  </a:lnTo>
                  <a:lnTo>
                    <a:pt x="864291" y="1854983"/>
                  </a:lnTo>
                  <a:lnTo>
                    <a:pt x="909799" y="1865517"/>
                  </a:lnTo>
                  <a:lnTo>
                    <a:pt x="955978" y="1874226"/>
                  </a:lnTo>
                  <a:lnTo>
                    <a:pt x="1002790" y="1881068"/>
                  </a:lnTo>
                  <a:lnTo>
                    <a:pt x="1050193" y="1886005"/>
                  </a:lnTo>
                  <a:lnTo>
                    <a:pt x="1098150" y="1888996"/>
                  </a:lnTo>
                  <a:lnTo>
                    <a:pt x="1146619" y="1890002"/>
                  </a:lnTo>
                  <a:lnTo>
                    <a:pt x="1195088" y="1888996"/>
                  </a:lnTo>
                  <a:lnTo>
                    <a:pt x="1243045" y="1886005"/>
                  </a:lnTo>
                  <a:lnTo>
                    <a:pt x="1290448" y="1881068"/>
                  </a:lnTo>
                  <a:lnTo>
                    <a:pt x="1337260" y="1874226"/>
                  </a:lnTo>
                  <a:lnTo>
                    <a:pt x="1383439" y="1865517"/>
                  </a:lnTo>
                  <a:lnTo>
                    <a:pt x="1428947" y="1854983"/>
                  </a:lnTo>
                  <a:lnTo>
                    <a:pt x="1473742" y="1842662"/>
                  </a:lnTo>
                  <a:lnTo>
                    <a:pt x="1517786" y="1828595"/>
                  </a:lnTo>
                  <a:lnTo>
                    <a:pt x="1561039" y="1812821"/>
                  </a:lnTo>
                  <a:lnTo>
                    <a:pt x="1603460" y="1795380"/>
                  </a:lnTo>
                  <a:lnTo>
                    <a:pt x="1645011" y="1776313"/>
                  </a:lnTo>
                  <a:lnTo>
                    <a:pt x="1685650" y="1755657"/>
                  </a:lnTo>
                  <a:lnTo>
                    <a:pt x="1725340" y="1733455"/>
                  </a:lnTo>
                  <a:lnTo>
                    <a:pt x="1764039" y="1709744"/>
                  </a:lnTo>
                  <a:lnTo>
                    <a:pt x="1801707" y="1684566"/>
                  </a:lnTo>
                  <a:lnTo>
                    <a:pt x="1838306" y="1657959"/>
                  </a:lnTo>
                  <a:lnTo>
                    <a:pt x="1873795" y="1629964"/>
                  </a:lnTo>
                  <a:lnTo>
                    <a:pt x="1908135" y="1600621"/>
                  </a:lnTo>
                  <a:lnTo>
                    <a:pt x="1941285" y="1569969"/>
                  </a:lnTo>
                  <a:lnTo>
                    <a:pt x="1973206" y="1538048"/>
                  </a:lnTo>
                  <a:lnTo>
                    <a:pt x="2003858" y="1504898"/>
                  </a:lnTo>
                  <a:lnTo>
                    <a:pt x="2033201" y="1470558"/>
                  </a:lnTo>
                  <a:lnTo>
                    <a:pt x="2061196" y="1435069"/>
                  </a:lnTo>
                  <a:lnTo>
                    <a:pt x="2087802" y="1398471"/>
                  </a:lnTo>
                  <a:lnTo>
                    <a:pt x="2112981" y="1360802"/>
                  </a:lnTo>
                  <a:lnTo>
                    <a:pt x="2136691" y="1322103"/>
                  </a:lnTo>
                  <a:lnTo>
                    <a:pt x="2158894" y="1282414"/>
                  </a:lnTo>
                  <a:lnTo>
                    <a:pt x="2179549" y="1241774"/>
                  </a:lnTo>
                  <a:lnTo>
                    <a:pt x="2198617" y="1200224"/>
                  </a:lnTo>
                  <a:lnTo>
                    <a:pt x="2216058" y="1157802"/>
                  </a:lnTo>
                  <a:lnTo>
                    <a:pt x="2231832" y="1114549"/>
                  </a:lnTo>
                  <a:lnTo>
                    <a:pt x="2245899" y="1070505"/>
                  </a:lnTo>
                  <a:lnTo>
                    <a:pt x="2258220" y="1025710"/>
                  </a:lnTo>
                  <a:lnTo>
                    <a:pt x="2268754" y="980203"/>
                  </a:lnTo>
                  <a:lnTo>
                    <a:pt x="2277462" y="934023"/>
                  </a:lnTo>
                  <a:lnTo>
                    <a:pt x="2284305" y="887212"/>
                  </a:lnTo>
                  <a:lnTo>
                    <a:pt x="2289241" y="839808"/>
                  </a:lnTo>
                  <a:lnTo>
                    <a:pt x="2292233" y="791852"/>
                  </a:lnTo>
                  <a:lnTo>
                    <a:pt x="2293238" y="743382"/>
                  </a:lnTo>
                  <a:lnTo>
                    <a:pt x="2292233" y="694913"/>
                  </a:lnTo>
                  <a:lnTo>
                    <a:pt x="2289241" y="646957"/>
                  </a:lnTo>
                  <a:lnTo>
                    <a:pt x="2284305" y="599553"/>
                  </a:lnTo>
                  <a:lnTo>
                    <a:pt x="2277462" y="552741"/>
                  </a:lnTo>
                  <a:lnTo>
                    <a:pt x="2268754" y="506562"/>
                  </a:lnTo>
                  <a:lnTo>
                    <a:pt x="2258220" y="461055"/>
                  </a:lnTo>
                  <a:lnTo>
                    <a:pt x="2245899" y="416259"/>
                  </a:lnTo>
                  <a:lnTo>
                    <a:pt x="2231832" y="372215"/>
                  </a:lnTo>
                  <a:lnTo>
                    <a:pt x="2216058" y="328963"/>
                  </a:lnTo>
                  <a:lnTo>
                    <a:pt x="2198617" y="286541"/>
                  </a:lnTo>
                  <a:lnTo>
                    <a:pt x="2179549" y="244991"/>
                  </a:lnTo>
                  <a:lnTo>
                    <a:pt x="2158894" y="204351"/>
                  </a:lnTo>
                  <a:lnTo>
                    <a:pt x="2136691" y="164662"/>
                  </a:lnTo>
                  <a:lnTo>
                    <a:pt x="2112981" y="125963"/>
                  </a:lnTo>
                  <a:lnTo>
                    <a:pt x="2087802" y="88294"/>
                  </a:lnTo>
                  <a:lnTo>
                    <a:pt x="2061196" y="51695"/>
                  </a:lnTo>
                  <a:lnTo>
                    <a:pt x="2033201" y="16206"/>
                  </a:lnTo>
                  <a:lnTo>
                    <a:pt x="2019352" y="0"/>
                  </a:lnTo>
                  <a:close/>
                </a:path>
              </a:pathLst>
            </a:custGeom>
            <a:solidFill>
              <a:srgbClr val="00A79D">
                <a:alpha val="23999"/>
              </a:srgbClr>
            </a:solidFill>
          </p:spPr>
          <p:txBody>
            <a:bodyPr wrap="square" lIns="0" tIns="0" rIns="0" bIns="0" rtlCol="0"/>
            <a:lstStyle/>
            <a:p>
              <a:endParaRPr/>
            </a:p>
          </p:txBody>
        </p:sp>
        <p:sp>
          <p:nvSpPr>
            <p:cNvPr id="10" name="object 6">
              <a:extLst>
                <a:ext uri="{FF2B5EF4-FFF2-40B4-BE49-F238E27FC236}">
                  <a16:creationId xmlns:a16="http://schemas.microsoft.com/office/drawing/2014/main" id="{E9FF9299-C740-B26B-8D45-170AAA2348AC}"/>
                </a:ext>
              </a:extLst>
            </p:cNvPr>
            <p:cNvSpPr/>
            <p:nvPr/>
          </p:nvSpPr>
          <p:spPr>
            <a:xfrm>
              <a:off x="9598" y="0"/>
              <a:ext cx="1638204" cy="1011138"/>
            </a:xfrm>
            <a:custGeom>
              <a:avLst/>
              <a:gdLst/>
              <a:ahLst/>
              <a:cxnLst/>
              <a:rect l="l" t="t" r="r" b="b"/>
              <a:pathLst>
                <a:path w="1806575" h="1115060">
                  <a:moveTo>
                    <a:pt x="1806575" y="0"/>
                  </a:moveTo>
                  <a:lnTo>
                    <a:pt x="0" y="0"/>
                  </a:lnTo>
                  <a:lnTo>
                    <a:pt x="0" y="905315"/>
                  </a:lnTo>
                  <a:lnTo>
                    <a:pt x="43197" y="934512"/>
                  </a:lnTo>
                  <a:lnTo>
                    <a:pt x="81896" y="958223"/>
                  </a:lnTo>
                  <a:lnTo>
                    <a:pt x="121585" y="980426"/>
                  </a:lnTo>
                  <a:lnTo>
                    <a:pt x="162225" y="1001081"/>
                  </a:lnTo>
                  <a:lnTo>
                    <a:pt x="203776" y="1020149"/>
                  </a:lnTo>
                  <a:lnTo>
                    <a:pt x="246197" y="1037590"/>
                  </a:lnTo>
                  <a:lnTo>
                    <a:pt x="289450" y="1053363"/>
                  </a:lnTo>
                  <a:lnTo>
                    <a:pt x="333494" y="1067431"/>
                  </a:lnTo>
                  <a:lnTo>
                    <a:pt x="378289" y="1079751"/>
                  </a:lnTo>
                  <a:lnTo>
                    <a:pt x="423796" y="1090286"/>
                  </a:lnTo>
                  <a:lnTo>
                    <a:pt x="469976" y="1098994"/>
                  </a:lnTo>
                  <a:lnTo>
                    <a:pt x="516787" y="1105836"/>
                  </a:lnTo>
                  <a:lnTo>
                    <a:pt x="564191" y="1110773"/>
                  </a:lnTo>
                  <a:lnTo>
                    <a:pt x="612147" y="1113764"/>
                  </a:lnTo>
                  <a:lnTo>
                    <a:pt x="660617" y="1114770"/>
                  </a:lnTo>
                  <a:lnTo>
                    <a:pt x="709086" y="1113764"/>
                  </a:lnTo>
                  <a:lnTo>
                    <a:pt x="757042" y="1110773"/>
                  </a:lnTo>
                  <a:lnTo>
                    <a:pt x="804446" y="1105836"/>
                  </a:lnTo>
                  <a:lnTo>
                    <a:pt x="851258" y="1098994"/>
                  </a:lnTo>
                  <a:lnTo>
                    <a:pt x="897437" y="1090286"/>
                  </a:lnTo>
                  <a:lnTo>
                    <a:pt x="942944" y="1079751"/>
                  </a:lnTo>
                  <a:lnTo>
                    <a:pt x="987740" y="1067431"/>
                  </a:lnTo>
                  <a:lnTo>
                    <a:pt x="1031784" y="1053363"/>
                  </a:lnTo>
                  <a:lnTo>
                    <a:pt x="1075036" y="1037590"/>
                  </a:lnTo>
                  <a:lnTo>
                    <a:pt x="1117458" y="1020149"/>
                  </a:lnTo>
                  <a:lnTo>
                    <a:pt x="1159008" y="1001081"/>
                  </a:lnTo>
                  <a:lnTo>
                    <a:pt x="1199648" y="980426"/>
                  </a:lnTo>
                  <a:lnTo>
                    <a:pt x="1239337" y="958223"/>
                  </a:lnTo>
                  <a:lnTo>
                    <a:pt x="1278036" y="934512"/>
                  </a:lnTo>
                  <a:lnTo>
                    <a:pt x="1315705" y="909334"/>
                  </a:lnTo>
                  <a:lnTo>
                    <a:pt x="1352304" y="882728"/>
                  </a:lnTo>
                  <a:lnTo>
                    <a:pt x="1387793" y="854733"/>
                  </a:lnTo>
                  <a:lnTo>
                    <a:pt x="1422132" y="825389"/>
                  </a:lnTo>
                  <a:lnTo>
                    <a:pt x="1455282" y="794737"/>
                  </a:lnTo>
                  <a:lnTo>
                    <a:pt x="1487203" y="762816"/>
                  </a:lnTo>
                  <a:lnTo>
                    <a:pt x="1517855" y="729666"/>
                  </a:lnTo>
                  <a:lnTo>
                    <a:pt x="1547199" y="695327"/>
                  </a:lnTo>
                  <a:lnTo>
                    <a:pt x="1575194" y="659838"/>
                  </a:lnTo>
                  <a:lnTo>
                    <a:pt x="1601800" y="623239"/>
                  </a:lnTo>
                  <a:lnTo>
                    <a:pt x="1626978" y="585570"/>
                  </a:lnTo>
                  <a:lnTo>
                    <a:pt x="1650689" y="546871"/>
                  </a:lnTo>
                  <a:lnTo>
                    <a:pt x="1672892" y="507182"/>
                  </a:lnTo>
                  <a:lnTo>
                    <a:pt x="1693547" y="466542"/>
                  </a:lnTo>
                  <a:lnTo>
                    <a:pt x="1712615" y="424992"/>
                  </a:lnTo>
                  <a:lnTo>
                    <a:pt x="1730056" y="382570"/>
                  </a:lnTo>
                  <a:lnTo>
                    <a:pt x="1745829" y="339318"/>
                  </a:lnTo>
                  <a:lnTo>
                    <a:pt x="1759897" y="295274"/>
                  </a:lnTo>
                  <a:lnTo>
                    <a:pt x="1772217" y="250478"/>
                  </a:lnTo>
                  <a:lnTo>
                    <a:pt x="1782752" y="204971"/>
                  </a:lnTo>
                  <a:lnTo>
                    <a:pt x="1791460" y="158792"/>
                  </a:lnTo>
                  <a:lnTo>
                    <a:pt x="1798302" y="111980"/>
                  </a:lnTo>
                  <a:lnTo>
                    <a:pt x="1803239" y="64576"/>
                  </a:lnTo>
                  <a:lnTo>
                    <a:pt x="1806230" y="16620"/>
                  </a:lnTo>
                  <a:lnTo>
                    <a:pt x="1806575" y="0"/>
                  </a:lnTo>
                  <a:close/>
                </a:path>
              </a:pathLst>
            </a:custGeom>
            <a:solidFill>
              <a:srgbClr val="00A79D">
                <a:alpha val="23999"/>
              </a:srgbClr>
            </a:solidFill>
          </p:spPr>
          <p:txBody>
            <a:bodyPr wrap="square" lIns="0" tIns="0" rIns="0" bIns="0" rtlCol="0"/>
            <a:lstStyle/>
            <a:p>
              <a:endParaRPr/>
            </a:p>
          </p:txBody>
        </p:sp>
        <p:sp>
          <p:nvSpPr>
            <p:cNvPr id="11" name="object 7">
              <a:extLst>
                <a:ext uri="{FF2B5EF4-FFF2-40B4-BE49-F238E27FC236}">
                  <a16:creationId xmlns:a16="http://schemas.microsoft.com/office/drawing/2014/main" id="{2B962E37-FE51-2FC3-86B1-3D569395D98C}"/>
                </a:ext>
              </a:extLst>
            </p:cNvPr>
            <p:cNvSpPr/>
            <p:nvPr/>
          </p:nvSpPr>
          <p:spPr>
            <a:xfrm>
              <a:off x="1974763" y="1"/>
              <a:ext cx="1240889" cy="301153"/>
            </a:xfrm>
            <a:custGeom>
              <a:avLst/>
              <a:gdLst/>
              <a:ahLst/>
              <a:cxnLst/>
              <a:rect l="l" t="t" r="r" b="b"/>
              <a:pathLst>
                <a:path w="1368425" h="332105">
                  <a:moveTo>
                    <a:pt x="1367940" y="0"/>
                  </a:moveTo>
                  <a:lnTo>
                    <a:pt x="0" y="0"/>
                  </a:lnTo>
                  <a:lnTo>
                    <a:pt x="8314" y="10755"/>
                  </a:lnTo>
                  <a:lnTo>
                    <a:pt x="37356" y="44607"/>
                  </a:lnTo>
                  <a:lnTo>
                    <a:pt x="68067" y="76923"/>
                  </a:lnTo>
                  <a:lnTo>
                    <a:pt x="100383" y="107634"/>
                  </a:lnTo>
                  <a:lnTo>
                    <a:pt x="134235" y="136676"/>
                  </a:lnTo>
                  <a:lnTo>
                    <a:pt x="169558" y="163982"/>
                  </a:lnTo>
                  <a:lnTo>
                    <a:pt x="206285" y="189484"/>
                  </a:lnTo>
                  <a:lnTo>
                    <a:pt x="244350" y="213118"/>
                  </a:lnTo>
                  <a:lnTo>
                    <a:pt x="283687" y="234816"/>
                  </a:lnTo>
                  <a:lnTo>
                    <a:pt x="324228" y="254512"/>
                  </a:lnTo>
                  <a:lnTo>
                    <a:pt x="365908" y="272139"/>
                  </a:lnTo>
                  <a:lnTo>
                    <a:pt x="408661" y="287632"/>
                  </a:lnTo>
                  <a:lnTo>
                    <a:pt x="452418" y="300924"/>
                  </a:lnTo>
                  <a:lnTo>
                    <a:pt x="497116" y="311947"/>
                  </a:lnTo>
                  <a:lnTo>
                    <a:pt x="542686" y="320637"/>
                  </a:lnTo>
                  <a:lnTo>
                    <a:pt x="589063" y="326926"/>
                  </a:lnTo>
                  <a:lnTo>
                    <a:pt x="636179" y="330748"/>
                  </a:lnTo>
                  <a:lnTo>
                    <a:pt x="683970" y="332037"/>
                  </a:lnTo>
                  <a:lnTo>
                    <a:pt x="731760" y="330748"/>
                  </a:lnTo>
                  <a:lnTo>
                    <a:pt x="778877" y="326926"/>
                  </a:lnTo>
                  <a:lnTo>
                    <a:pt x="825253" y="320637"/>
                  </a:lnTo>
                  <a:lnTo>
                    <a:pt x="870824" y="311947"/>
                  </a:lnTo>
                  <a:lnTo>
                    <a:pt x="915521" y="300924"/>
                  </a:lnTo>
                  <a:lnTo>
                    <a:pt x="959279" y="287632"/>
                  </a:lnTo>
                  <a:lnTo>
                    <a:pt x="1002031" y="272139"/>
                  </a:lnTo>
                  <a:lnTo>
                    <a:pt x="1043711" y="254512"/>
                  </a:lnTo>
                  <a:lnTo>
                    <a:pt x="1084253" y="234816"/>
                  </a:lnTo>
                  <a:lnTo>
                    <a:pt x="1123589" y="213118"/>
                  </a:lnTo>
                  <a:lnTo>
                    <a:pt x="1161654" y="189484"/>
                  </a:lnTo>
                  <a:lnTo>
                    <a:pt x="1198381" y="163982"/>
                  </a:lnTo>
                  <a:lnTo>
                    <a:pt x="1233704" y="136676"/>
                  </a:lnTo>
                  <a:lnTo>
                    <a:pt x="1267557" y="107634"/>
                  </a:lnTo>
                  <a:lnTo>
                    <a:pt x="1299872" y="76923"/>
                  </a:lnTo>
                  <a:lnTo>
                    <a:pt x="1330584" y="44607"/>
                  </a:lnTo>
                  <a:lnTo>
                    <a:pt x="1359626" y="10755"/>
                  </a:lnTo>
                  <a:lnTo>
                    <a:pt x="1367940" y="0"/>
                  </a:lnTo>
                  <a:close/>
                </a:path>
              </a:pathLst>
            </a:custGeom>
            <a:solidFill>
              <a:srgbClr val="00A79D">
                <a:alpha val="23999"/>
              </a:srgbClr>
            </a:solidFill>
          </p:spPr>
          <p:txBody>
            <a:bodyPr wrap="square" lIns="0" tIns="0" rIns="0" bIns="0" rtlCol="0"/>
            <a:lstStyle/>
            <a:p>
              <a:endParaRPr/>
            </a:p>
          </p:txBody>
        </p:sp>
        <p:sp>
          <p:nvSpPr>
            <p:cNvPr id="12" name="object 8">
              <a:extLst>
                <a:ext uri="{FF2B5EF4-FFF2-40B4-BE49-F238E27FC236}">
                  <a16:creationId xmlns:a16="http://schemas.microsoft.com/office/drawing/2014/main" id="{9B2A4857-919E-A8C5-E6FC-67973FDB4AF1}"/>
                </a:ext>
              </a:extLst>
            </p:cNvPr>
            <p:cNvSpPr/>
            <p:nvPr/>
          </p:nvSpPr>
          <p:spPr>
            <a:xfrm>
              <a:off x="2346635" y="488381"/>
              <a:ext cx="726683" cy="726683"/>
            </a:xfrm>
            <a:custGeom>
              <a:avLst/>
              <a:gdLst/>
              <a:ahLst/>
              <a:cxnLst/>
              <a:rect l="l" t="t" r="r" b="b"/>
              <a:pathLst>
                <a:path w="801370" h="801369">
                  <a:moveTo>
                    <a:pt x="400672" y="0"/>
                  </a:moveTo>
                  <a:lnTo>
                    <a:pt x="353945" y="2695"/>
                  </a:lnTo>
                  <a:lnTo>
                    <a:pt x="308801" y="10582"/>
                  </a:lnTo>
                  <a:lnTo>
                    <a:pt x="265542" y="23358"/>
                  </a:lnTo>
                  <a:lnTo>
                    <a:pt x="224466" y="40724"/>
                  </a:lnTo>
                  <a:lnTo>
                    <a:pt x="185876" y="62379"/>
                  </a:lnTo>
                  <a:lnTo>
                    <a:pt x="150072" y="88023"/>
                  </a:lnTo>
                  <a:lnTo>
                    <a:pt x="117354" y="117354"/>
                  </a:lnTo>
                  <a:lnTo>
                    <a:pt x="88023" y="150072"/>
                  </a:lnTo>
                  <a:lnTo>
                    <a:pt x="62379" y="185876"/>
                  </a:lnTo>
                  <a:lnTo>
                    <a:pt x="40724" y="224466"/>
                  </a:lnTo>
                  <a:lnTo>
                    <a:pt x="23358" y="265542"/>
                  </a:lnTo>
                  <a:lnTo>
                    <a:pt x="10582" y="308801"/>
                  </a:lnTo>
                  <a:lnTo>
                    <a:pt x="2695" y="353945"/>
                  </a:lnTo>
                  <a:lnTo>
                    <a:pt x="0" y="400672"/>
                  </a:lnTo>
                  <a:lnTo>
                    <a:pt x="2695" y="447396"/>
                  </a:lnTo>
                  <a:lnTo>
                    <a:pt x="10582" y="492537"/>
                  </a:lnTo>
                  <a:lnTo>
                    <a:pt x="23358" y="535795"/>
                  </a:lnTo>
                  <a:lnTo>
                    <a:pt x="40724" y="576869"/>
                  </a:lnTo>
                  <a:lnTo>
                    <a:pt x="62379" y="615458"/>
                  </a:lnTo>
                  <a:lnTo>
                    <a:pt x="88023" y="651261"/>
                  </a:lnTo>
                  <a:lnTo>
                    <a:pt x="117354" y="683979"/>
                  </a:lnTo>
                  <a:lnTo>
                    <a:pt x="150072" y="713309"/>
                  </a:lnTo>
                  <a:lnTo>
                    <a:pt x="185876" y="738952"/>
                  </a:lnTo>
                  <a:lnTo>
                    <a:pt x="224466" y="760607"/>
                  </a:lnTo>
                  <a:lnTo>
                    <a:pt x="265542" y="777973"/>
                  </a:lnTo>
                  <a:lnTo>
                    <a:pt x="308801" y="790749"/>
                  </a:lnTo>
                  <a:lnTo>
                    <a:pt x="353945" y="798636"/>
                  </a:lnTo>
                  <a:lnTo>
                    <a:pt x="400672" y="801331"/>
                  </a:lnTo>
                  <a:lnTo>
                    <a:pt x="447399" y="798636"/>
                  </a:lnTo>
                  <a:lnTo>
                    <a:pt x="492542" y="790749"/>
                  </a:lnTo>
                  <a:lnTo>
                    <a:pt x="535802" y="777973"/>
                  </a:lnTo>
                  <a:lnTo>
                    <a:pt x="576877" y="760607"/>
                  </a:lnTo>
                  <a:lnTo>
                    <a:pt x="615467" y="738952"/>
                  </a:lnTo>
                  <a:lnTo>
                    <a:pt x="651272" y="713309"/>
                  </a:lnTo>
                  <a:lnTo>
                    <a:pt x="683990" y="683979"/>
                  </a:lnTo>
                  <a:lnTo>
                    <a:pt x="713321" y="651261"/>
                  </a:lnTo>
                  <a:lnTo>
                    <a:pt x="738964" y="615458"/>
                  </a:lnTo>
                  <a:lnTo>
                    <a:pt x="760619" y="576869"/>
                  </a:lnTo>
                  <a:lnTo>
                    <a:pt x="777985" y="535795"/>
                  </a:lnTo>
                  <a:lnTo>
                    <a:pt x="790762" y="492537"/>
                  </a:lnTo>
                  <a:lnTo>
                    <a:pt x="798648" y="447396"/>
                  </a:lnTo>
                  <a:lnTo>
                    <a:pt x="801344" y="400672"/>
                  </a:lnTo>
                  <a:lnTo>
                    <a:pt x="798648" y="353945"/>
                  </a:lnTo>
                  <a:lnTo>
                    <a:pt x="790762" y="308801"/>
                  </a:lnTo>
                  <a:lnTo>
                    <a:pt x="777985" y="265542"/>
                  </a:lnTo>
                  <a:lnTo>
                    <a:pt x="760619" y="224466"/>
                  </a:lnTo>
                  <a:lnTo>
                    <a:pt x="738964" y="185876"/>
                  </a:lnTo>
                  <a:lnTo>
                    <a:pt x="713321" y="150072"/>
                  </a:lnTo>
                  <a:lnTo>
                    <a:pt x="683990" y="117354"/>
                  </a:lnTo>
                  <a:lnTo>
                    <a:pt x="651272" y="88023"/>
                  </a:lnTo>
                  <a:lnTo>
                    <a:pt x="615467" y="62379"/>
                  </a:lnTo>
                  <a:lnTo>
                    <a:pt x="576877" y="40724"/>
                  </a:lnTo>
                  <a:lnTo>
                    <a:pt x="535802" y="23358"/>
                  </a:lnTo>
                  <a:lnTo>
                    <a:pt x="492542" y="10582"/>
                  </a:lnTo>
                  <a:lnTo>
                    <a:pt x="447399" y="2695"/>
                  </a:lnTo>
                  <a:lnTo>
                    <a:pt x="400672" y="0"/>
                  </a:lnTo>
                  <a:close/>
                </a:path>
              </a:pathLst>
            </a:custGeom>
            <a:solidFill>
              <a:srgbClr val="00A79D">
                <a:alpha val="23999"/>
              </a:srgbClr>
            </a:solidFill>
          </p:spPr>
          <p:txBody>
            <a:bodyPr wrap="square" lIns="0" tIns="0" rIns="0" bIns="0" rtlCol="0"/>
            <a:lstStyle/>
            <a:p>
              <a:endParaRPr/>
            </a:p>
          </p:txBody>
        </p:sp>
      </p:grpSp>
      <p:sp>
        <p:nvSpPr>
          <p:cNvPr id="5" name="Picture Placeholder 2">
            <a:extLst>
              <a:ext uri="{FF2B5EF4-FFF2-40B4-BE49-F238E27FC236}">
                <a16:creationId xmlns:a16="http://schemas.microsoft.com/office/drawing/2014/main" id="{BE02B544-A40A-C2C8-B48C-6F244BD0DFB6}"/>
              </a:ext>
            </a:extLst>
          </p:cNvPr>
          <p:cNvSpPr>
            <a:spLocks noGrp="1"/>
          </p:cNvSpPr>
          <p:nvPr>
            <p:ph type="pic" idx="10"/>
          </p:nvPr>
        </p:nvSpPr>
        <p:spPr>
          <a:xfrm>
            <a:off x="6284881" y="-715900"/>
            <a:ext cx="7293907" cy="7195979"/>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6" name="Text Placeholder 2">
            <a:extLst>
              <a:ext uri="{FF2B5EF4-FFF2-40B4-BE49-F238E27FC236}">
                <a16:creationId xmlns:a16="http://schemas.microsoft.com/office/drawing/2014/main" id="{B2A84FDF-B4A9-904D-3D86-7133D1D60DA0}"/>
              </a:ext>
            </a:extLst>
          </p:cNvPr>
          <p:cNvSpPr>
            <a:spLocks noGrp="1"/>
          </p:cNvSpPr>
          <p:nvPr>
            <p:ph type="body" idx="1"/>
          </p:nvPr>
        </p:nvSpPr>
        <p:spPr>
          <a:xfrm>
            <a:off x="735724" y="2367280"/>
            <a:ext cx="5360276" cy="3657600"/>
          </a:xfrm>
        </p:spPr>
        <p:txBody>
          <a:bodyPr>
            <a:normAutofit/>
          </a:bodyPr>
          <a:lstStyle>
            <a:lvl1pPr marL="0" indent="0" algn="l">
              <a:lnSpc>
                <a:spcPct val="100000"/>
              </a:lnSpc>
              <a:buNone/>
              <a:defRPr sz="2000">
                <a:solidFill>
                  <a:schemeClr val="tx1"/>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7" name="Title 1">
            <a:extLst>
              <a:ext uri="{FF2B5EF4-FFF2-40B4-BE49-F238E27FC236}">
                <a16:creationId xmlns:a16="http://schemas.microsoft.com/office/drawing/2014/main" id="{9D8A16EC-8618-0864-AC9B-EAB51A18BF1D}"/>
              </a:ext>
            </a:extLst>
          </p:cNvPr>
          <p:cNvSpPr>
            <a:spLocks noGrp="1"/>
          </p:cNvSpPr>
          <p:nvPr>
            <p:ph type="title"/>
          </p:nvPr>
        </p:nvSpPr>
        <p:spPr>
          <a:xfrm>
            <a:off x="690881" y="1483360"/>
            <a:ext cx="6492239" cy="755968"/>
          </a:xfrm>
        </p:spPr>
        <p:txBody>
          <a:bodyPr>
            <a:normAutofit/>
          </a:bodyPr>
          <a:lstStyle>
            <a:lvl1pPr>
              <a:defRPr sz="2800" b="1">
                <a:solidFill>
                  <a:schemeClr val="tx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5741768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9_Section Header">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2D00DCAC-C40F-C3B9-F022-BCEE66A66A0B}"/>
              </a:ext>
            </a:extLst>
          </p:cNvPr>
          <p:cNvSpPr/>
          <p:nvPr userDrawn="1"/>
        </p:nvSpPr>
        <p:spPr>
          <a:xfrm>
            <a:off x="0" y="-4957"/>
            <a:ext cx="12197847" cy="6908925"/>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chemeClr val="bg1"/>
          </a:solidFill>
          <a:ln>
            <a:solidFill>
              <a:schemeClr val="bg1"/>
            </a:solidFill>
          </a:ln>
        </p:spPr>
        <p:txBody>
          <a:bodyPr wrap="square" lIns="0" tIns="0" rIns="0" bIns="0" rtlCol="0"/>
          <a:lstStyle/>
          <a:p>
            <a:endParaRPr sz="2000" dirty="0"/>
          </a:p>
        </p:txBody>
      </p:sp>
      <p:sp>
        <p:nvSpPr>
          <p:cNvPr id="33" name="object 13">
            <a:extLst>
              <a:ext uri="{FF2B5EF4-FFF2-40B4-BE49-F238E27FC236}">
                <a16:creationId xmlns:a16="http://schemas.microsoft.com/office/drawing/2014/main" id="{A0C82D7B-43A0-E7DA-A947-D2D94D26026C}"/>
              </a:ext>
            </a:extLst>
          </p:cNvPr>
          <p:cNvSpPr/>
          <p:nvPr/>
        </p:nvSpPr>
        <p:spPr>
          <a:xfrm rot="10800000">
            <a:off x="11287374" y="7555196"/>
            <a:ext cx="371988" cy="386441"/>
          </a:xfrm>
          <a:custGeom>
            <a:avLst/>
            <a:gdLst/>
            <a:ahLst/>
            <a:cxnLst/>
            <a:rect l="l" t="t" r="r" b="b"/>
            <a:pathLst>
              <a:path w="382905" h="388619">
                <a:moveTo>
                  <a:pt x="191198" y="0"/>
                </a:moveTo>
                <a:lnTo>
                  <a:pt x="147361" y="5131"/>
                </a:lnTo>
                <a:lnTo>
                  <a:pt x="107117" y="19747"/>
                </a:lnTo>
                <a:lnTo>
                  <a:pt x="71617" y="42682"/>
                </a:lnTo>
                <a:lnTo>
                  <a:pt x="42006" y="72771"/>
                </a:lnTo>
                <a:lnTo>
                  <a:pt x="19435" y="108846"/>
                </a:lnTo>
                <a:lnTo>
                  <a:pt x="5050" y="149744"/>
                </a:lnTo>
                <a:lnTo>
                  <a:pt x="0" y="194297"/>
                </a:lnTo>
                <a:lnTo>
                  <a:pt x="5050" y="238850"/>
                </a:lnTo>
                <a:lnTo>
                  <a:pt x="19435" y="279750"/>
                </a:lnTo>
                <a:lnTo>
                  <a:pt x="42006" y="315828"/>
                </a:lnTo>
                <a:lnTo>
                  <a:pt x="71617" y="345919"/>
                </a:lnTo>
                <a:lnTo>
                  <a:pt x="107117" y="368857"/>
                </a:lnTo>
                <a:lnTo>
                  <a:pt x="147361" y="383475"/>
                </a:lnTo>
                <a:lnTo>
                  <a:pt x="191198" y="388607"/>
                </a:lnTo>
                <a:lnTo>
                  <a:pt x="235039" y="383475"/>
                </a:lnTo>
                <a:lnTo>
                  <a:pt x="275284" y="368857"/>
                </a:lnTo>
                <a:lnTo>
                  <a:pt x="310785" y="345919"/>
                </a:lnTo>
                <a:lnTo>
                  <a:pt x="340394" y="315828"/>
                </a:lnTo>
                <a:lnTo>
                  <a:pt x="362964" y="279750"/>
                </a:lnTo>
                <a:lnTo>
                  <a:pt x="377347" y="238850"/>
                </a:lnTo>
                <a:lnTo>
                  <a:pt x="382397" y="194297"/>
                </a:lnTo>
                <a:lnTo>
                  <a:pt x="377347" y="149744"/>
                </a:lnTo>
                <a:lnTo>
                  <a:pt x="362964" y="108846"/>
                </a:lnTo>
                <a:lnTo>
                  <a:pt x="340394" y="72771"/>
                </a:lnTo>
                <a:lnTo>
                  <a:pt x="310785" y="42682"/>
                </a:lnTo>
                <a:lnTo>
                  <a:pt x="275284" y="19747"/>
                </a:lnTo>
                <a:lnTo>
                  <a:pt x="235039" y="5131"/>
                </a:lnTo>
                <a:lnTo>
                  <a:pt x="191198" y="0"/>
                </a:lnTo>
                <a:close/>
              </a:path>
            </a:pathLst>
          </a:custGeom>
          <a:solidFill>
            <a:srgbClr val="0E5C77">
              <a:alpha val="19999"/>
            </a:srgbClr>
          </a:solidFill>
        </p:spPr>
        <p:txBody>
          <a:bodyPr wrap="square" lIns="0" tIns="0" rIns="0" bIns="0" rtlCol="0"/>
          <a:lstStyle/>
          <a:p>
            <a:endParaRPr/>
          </a:p>
        </p:txBody>
      </p:sp>
      <p:sp>
        <p:nvSpPr>
          <p:cNvPr id="34" name="object 14">
            <a:extLst>
              <a:ext uri="{FF2B5EF4-FFF2-40B4-BE49-F238E27FC236}">
                <a16:creationId xmlns:a16="http://schemas.microsoft.com/office/drawing/2014/main" id="{BA238379-38B4-1ED0-2EBC-33F28CE277AE}"/>
              </a:ext>
            </a:extLst>
          </p:cNvPr>
          <p:cNvSpPr/>
          <p:nvPr/>
        </p:nvSpPr>
        <p:spPr>
          <a:xfrm rot="10800000">
            <a:off x="11127502" y="7012374"/>
            <a:ext cx="313382" cy="325822"/>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grpSp>
        <p:nvGrpSpPr>
          <p:cNvPr id="5" name="object 41">
            <a:extLst>
              <a:ext uri="{FF2B5EF4-FFF2-40B4-BE49-F238E27FC236}">
                <a16:creationId xmlns:a16="http://schemas.microsoft.com/office/drawing/2014/main" id="{957BDDD7-B931-B769-D505-43BF2BAE0273}"/>
              </a:ext>
            </a:extLst>
          </p:cNvPr>
          <p:cNvGrpSpPr/>
          <p:nvPr userDrawn="1"/>
        </p:nvGrpSpPr>
        <p:grpSpPr>
          <a:xfrm>
            <a:off x="10681097" y="5820975"/>
            <a:ext cx="651156" cy="708550"/>
            <a:chOff x="5598848" y="1620229"/>
            <a:chExt cx="2190115" cy="2383155"/>
          </a:xfrm>
        </p:grpSpPr>
        <p:pic>
          <p:nvPicPr>
            <p:cNvPr id="6" name="object 42">
              <a:extLst>
                <a:ext uri="{FF2B5EF4-FFF2-40B4-BE49-F238E27FC236}">
                  <a16:creationId xmlns:a16="http://schemas.microsoft.com/office/drawing/2014/main" id="{B0316D10-AB7F-7247-2309-FF6E189194BC}"/>
                </a:ext>
              </a:extLst>
            </p:cNvPr>
            <p:cNvPicPr/>
            <p:nvPr/>
          </p:nvPicPr>
          <p:blipFill>
            <a:blip r:embed="rId2" cstate="print"/>
            <a:stretch>
              <a:fillRect/>
            </a:stretch>
          </p:blipFill>
          <p:spPr>
            <a:xfrm>
              <a:off x="7161630" y="1899091"/>
              <a:ext cx="113817" cy="115671"/>
            </a:xfrm>
            <a:prstGeom prst="rect">
              <a:avLst/>
            </a:prstGeom>
          </p:spPr>
        </p:pic>
        <p:pic>
          <p:nvPicPr>
            <p:cNvPr id="7" name="object 43">
              <a:extLst>
                <a:ext uri="{FF2B5EF4-FFF2-40B4-BE49-F238E27FC236}">
                  <a16:creationId xmlns:a16="http://schemas.microsoft.com/office/drawing/2014/main" id="{74F3DB94-6083-9227-318F-D47A76A048F2}"/>
                </a:ext>
              </a:extLst>
            </p:cNvPr>
            <p:cNvPicPr/>
            <p:nvPr/>
          </p:nvPicPr>
          <p:blipFill>
            <a:blip r:embed="rId3" cstate="print"/>
            <a:stretch>
              <a:fillRect/>
            </a:stretch>
          </p:blipFill>
          <p:spPr>
            <a:xfrm>
              <a:off x="5598848" y="1620229"/>
              <a:ext cx="2189904" cy="2382902"/>
            </a:xfrm>
            <a:prstGeom prst="rect">
              <a:avLst/>
            </a:prstGeom>
          </p:spPr>
        </p:pic>
        <p:pic>
          <p:nvPicPr>
            <p:cNvPr id="13" name="object 44">
              <a:extLst>
                <a:ext uri="{FF2B5EF4-FFF2-40B4-BE49-F238E27FC236}">
                  <a16:creationId xmlns:a16="http://schemas.microsoft.com/office/drawing/2014/main" id="{58167220-AAA0-C719-AE15-32888A8561F8}"/>
                </a:ext>
              </a:extLst>
            </p:cNvPr>
            <p:cNvPicPr/>
            <p:nvPr/>
          </p:nvPicPr>
          <p:blipFill>
            <a:blip r:embed="rId4" cstate="print"/>
            <a:stretch>
              <a:fillRect/>
            </a:stretch>
          </p:blipFill>
          <p:spPr>
            <a:xfrm>
              <a:off x="6871611" y="1669224"/>
              <a:ext cx="175945" cy="178803"/>
            </a:xfrm>
            <a:prstGeom prst="rect">
              <a:avLst/>
            </a:prstGeom>
          </p:spPr>
        </p:pic>
      </p:grpSp>
      <p:grpSp>
        <p:nvGrpSpPr>
          <p:cNvPr id="20" name="Group 19">
            <a:extLst>
              <a:ext uri="{FF2B5EF4-FFF2-40B4-BE49-F238E27FC236}">
                <a16:creationId xmlns:a16="http://schemas.microsoft.com/office/drawing/2014/main" id="{BA38F56F-30C0-B8AE-9A2D-75D458292098}"/>
              </a:ext>
            </a:extLst>
          </p:cNvPr>
          <p:cNvGrpSpPr/>
          <p:nvPr userDrawn="1"/>
        </p:nvGrpSpPr>
        <p:grpSpPr>
          <a:xfrm>
            <a:off x="6109850" y="-1"/>
            <a:ext cx="6097260" cy="1857721"/>
            <a:chOff x="6613002" y="0"/>
            <a:chExt cx="5573326" cy="1698088"/>
          </a:xfrm>
        </p:grpSpPr>
        <p:sp>
          <p:nvSpPr>
            <p:cNvPr id="21" name="object 3">
              <a:extLst>
                <a:ext uri="{FF2B5EF4-FFF2-40B4-BE49-F238E27FC236}">
                  <a16:creationId xmlns:a16="http://schemas.microsoft.com/office/drawing/2014/main" id="{17BFCD84-F3D5-2D67-1EF1-6EA656954F92}"/>
                </a:ext>
              </a:extLst>
            </p:cNvPr>
            <p:cNvSpPr/>
            <p:nvPr/>
          </p:nvSpPr>
          <p:spPr>
            <a:xfrm>
              <a:off x="7850787" y="1099048"/>
              <a:ext cx="456048" cy="456048"/>
            </a:xfrm>
            <a:custGeom>
              <a:avLst/>
              <a:gdLst/>
              <a:ahLst/>
              <a:cxnLst/>
              <a:rect l="l" t="t" r="r" b="b"/>
              <a:pathLst>
                <a:path w="502920" h="502919">
                  <a:moveTo>
                    <a:pt x="251434" y="0"/>
                  </a:moveTo>
                  <a:lnTo>
                    <a:pt x="206239" y="4050"/>
                  </a:lnTo>
                  <a:lnTo>
                    <a:pt x="163701" y="15730"/>
                  </a:lnTo>
                  <a:lnTo>
                    <a:pt x="124531" y="34328"/>
                  </a:lnTo>
                  <a:lnTo>
                    <a:pt x="89439" y="59133"/>
                  </a:lnTo>
                  <a:lnTo>
                    <a:pt x="59134" y="89437"/>
                  </a:lnTo>
                  <a:lnTo>
                    <a:pt x="34328" y="124527"/>
                  </a:lnTo>
                  <a:lnTo>
                    <a:pt x="15730" y="163695"/>
                  </a:lnTo>
                  <a:lnTo>
                    <a:pt x="4051" y="206230"/>
                  </a:lnTo>
                  <a:lnTo>
                    <a:pt x="0" y="251421"/>
                  </a:lnTo>
                  <a:lnTo>
                    <a:pt x="4051" y="296617"/>
                  </a:lnTo>
                  <a:lnTo>
                    <a:pt x="15730" y="339154"/>
                  </a:lnTo>
                  <a:lnTo>
                    <a:pt x="34328" y="378325"/>
                  </a:lnTo>
                  <a:lnTo>
                    <a:pt x="59134" y="413417"/>
                  </a:lnTo>
                  <a:lnTo>
                    <a:pt x="89439" y="443721"/>
                  </a:lnTo>
                  <a:lnTo>
                    <a:pt x="124531" y="468527"/>
                  </a:lnTo>
                  <a:lnTo>
                    <a:pt x="163701" y="487125"/>
                  </a:lnTo>
                  <a:lnTo>
                    <a:pt x="206239" y="498805"/>
                  </a:lnTo>
                  <a:lnTo>
                    <a:pt x="251434" y="502856"/>
                  </a:lnTo>
                  <a:lnTo>
                    <a:pt x="296629" y="498805"/>
                  </a:lnTo>
                  <a:lnTo>
                    <a:pt x="339165" y="487125"/>
                  </a:lnTo>
                  <a:lnTo>
                    <a:pt x="378334" y="468527"/>
                  </a:lnTo>
                  <a:lnTo>
                    <a:pt x="413424" y="443721"/>
                  </a:lnTo>
                  <a:lnTo>
                    <a:pt x="443726" y="413417"/>
                  </a:lnTo>
                  <a:lnTo>
                    <a:pt x="468531" y="378325"/>
                  </a:lnTo>
                  <a:lnTo>
                    <a:pt x="487127" y="339154"/>
                  </a:lnTo>
                  <a:lnTo>
                    <a:pt x="498805" y="296617"/>
                  </a:lnTo>
                  <a:lnTo>
                    <a:pt x="502856" y="251421"/>
                  </a:lnTo>
                  <a:lnTo>
                    <a:pt x="498805" y="206230"/>
                  </a:lnTo>
                  <a:lnTo>
                    <a:pt x="487127" y="163695"/>
                  </a:lnTo>
                  <a:lnTo>
                    <a:pt x="468531" y="124527"/>
                  </a:lnTo>
                  <a:lnTo>
                    <a:pt x="443726" y="89437"/>
                  </a:lnTo>
                  <a:lnTo>
                    <a:pt x="413424" y="59133"/>
                  </a:lnTo>
                  <a:lnTo>
                    <a:pt x="378334" y="34328"/>
                  </a:lnTo>
                  <a:lnTo>
                    <a:pt x="339165" y="15730"/>
                  </a:lnTo>
                  <a:lnTo>
                    <a:pt x="296629" y="4050"/>
                  </a:lnTo>
                  <a:lnTo>
                    <a:pt x="251434" y="0"/>
                  </a:lnTo>
                  <a:close/>
                </a:path>
              </a:pathLst>
            </a:custGeom>
            <a:solidFill>
              <a:srgbClr val="00AFFF">
                <a:alpha val="23999"/>
              </a:srgbClr>
            </a:solidFill>
          </p:spPr>
          <p:txBody>
            <a:bodyPr wrap="square" lIns="0" tIns="0" rIns="0" bIns="0" rtlCol="0"/>
            <a:lstStyle/>
            <a:p>
              <a:endParaRPr/>
            </a:p>
          </p:txBody>
        </p:sp>
        <p:sp>
          <p:nvSpPr>
            <p:cNvPr id="22" name="object 4">
              <a:extLst>
                <a:ext uri="{FF2B5EF4-FFF2-40B4-BE49-F238E27FC236}">
                  <a16:creationId xmlns:a16="http://schemas.microsoft.com/office/drawing/2014/main" id="{DC5B7BD2-C012-045B-C0AE-20165117D00C}"/>
                </a:ext>
              </a:extLst>
            </p:cNvPr>
            <p:cNvSpPr/>
            <p:nvPr/>
          </p:nvSpPr>
          <p:spPr>
            <a:xfrm>
              <a:off x="8748519" y="377061"/>
              <a:ext cx="456048" cy="456048"/>
            </a:xfrm>
            <a:custGeom>
              <a:avLst/>
              <a:gdLst/>
              <a:ahLst/>
              <a:cxnLst/>
              <a:rect l="l" t="t" r="r" b="b"/>
              <a:pathLst>
                <a:path w="502920" h="502919">
                  <a:moveTo>
                    <a:pt x="251434" y="0"/>
                  </a:moveTo>
                  <a:lnTo>
                    <a:pt x="206239" y="4050"/>
                  </a:lnTo>
                  <a:lnTo>
                    <a:pt x="163701" y="15730"/>
                  </a:lnTo>
                  <a:lnTo>
                    <a:pt x="124531" y="34328"/>
                  </a:lnTo>
                  <a:lnTo>
                    <a:pt x="89439" y="59133"/>
                  </a:lnTo>
                  <a:lnTo>
                    <a:pt x="59134" y="89437"/>
                  </a:lnTo>
                  <a:lnTo>
                    <a:pt x="34328" y="124527"/>
                  </a:lnTo>
                  <a:lnTo>
                    <a:pt x="15730" y="163695"/>
                  </a:lnTo>
                  <a:lnTo>
                    <a:pt x="4051" y="206230"/>
                  </a:lnTo>
                  <a:lnTo>
                    <a:pt x="0" y="251421"/>
                  </a:lnTo>
                  <a:lnTo>
                    <a:pt x="4051" y="296617"/>
                  </a:lnTo>
                  <a:lnTo>
                    <a:pt x="15730" y="339154"/>
                  </a:lnTo>
                  <a:lnTo>
                    <a:pt x="34328" y="378325"/>
                  </a:lnTo>
                  <a:lnTo>
                    <a:pt x="59134" y="413417"/>
                  </a:lnTo>
                  <a:lnTo>
                    <a:pt x="89439" y="443721"/>
                  </a:lnTo>
                  <a:lnTo>
                    <a:pt x="124531" y="468527"/>
                  </a:lnTo>
                  <a:lnTo>
                    <a:pt x="163701" y="487125"/>
                  </a:lnTo>
                  <a:lnTo>
                    <a:pt x="206239" y="498805"/>
                  </a:lnTo>
                  <a:lnTo>
                    <a:pt x="251434" y="502856"/>
                  </a:lnTo>
                  <a:lnTo>
                    <a:pt x="296629" y="498805"/>
                  </a:lnTo>
                  <a:lnTo>
                    <a:pt x="339165" y="487125"/>
                  </a:lnTo>
                  <a:lnTo>
                    <a:pt x="378334" y="468527"/>
                  </a:lnTo>
                  <a:lnTo>
                    <a:pt x="413424" y="443721"/>
                  </a:lnTo>
                  <a:lnTo>
                    <a:pt x="443726" y="413417"/>
                  </a:lnTo>
                  <a:lnTo>
                    <a:pt x="468531" y="378325"/>
                  </a:lnTo>
                  <a:lnTo>
                    <a:pt x="487127" y="339154"/>
                  </a:lnTo>
                  <a:lnTo>
                    <a:pt x="498805" y="296617"/>
                  </a:lnTo>
                  <a:lnTo>
                    <a:pt x="502856" y="251421"/>
                  </a:lnTo>
                  <a:lnTo>
                    <a:pt x="498805" y="206230"/>
                  </a:lnTo>
                  <a:lnTo>
                    <a:pt x="487127" y="163695"/>
                  </a:lnTo>
                  <a:lnTo>
                    <a:pt x="468531" y="124527"/>
                  </a:lnTo>
                  <a:lnTo>
                    <a:pt x="443726" y="89437"/>
                  </a:lnTo>
                  <a:lnTo>
                    <a:pt x="413424" y="59133"/>
                  </a:lnTo>
                  <a:lnTo>
                    <a:pt x="378334" y="34328"/>
                  </a:lnTo>
                  <a:lnTo>
                    <a:pt x="339165" y="15730"/>
                  </a:lnTo>
                  <a:lnTo>
                    <a:pt x="296629" y="4050"/>
                  </a:lnTo>
                  <a:lnTo>
                    <a:pt x="251434" y="0"/>
                  </a:lnTo>
                  <a:close/>
                </a:path>
              </a:pathLst>
            </a:custGeom>
            <a:solidFill>
              <a:srgbClr val="00AFFF">
                <a:alpha val="23999"/>
              </a:srgbClr>
            </a:solidFill>
          </p:spPr>
          <p:txBody>
            <a:bodyPr wrap="square" lIns="0" tIns="0" rIns="0" bIns="0" rtlCol="0"/>
            <a:lstStyle/>
            <a:p>
              <a:endParaRPr/>
            </a:p>
          </p:txBody>
        </p:sp>
        <p:sp>
          <p:nvSpPr>
            <p:cNvPr id="23" name="object 5">
              <a:extLst>
                <a:ext uri="{FF2B5EF4-FFF2-40B4-BE49-F238E27FC236}">
                  <a16:creationId xmlns:a16="http://schemas.microsoft.com/office/drawing/2014/main" id="{46C39FBD-DAAB-94DF-35DC-C352F1542076}"/>
                </a:ext>
              </a:extLst>
            </p:cNvPr>
            <p:cNvSpPr/>
            <p:nvPr/>
          </p:nvSpPr>
          <p:spPr>
            <a:xfrm>
              <a:off x="10402442" y="0"/>
              <a:ext cx="1783886" cy="1698088"/>
            </a:xfrm>
            <a:custGeom>
              <a:avLst/>
              <a:gdLst/>
              <a:ahLst/>
              <a:cxnLst/>
              <a:rect l="l" t="t" r="r" b="b"/>
              <a:pathLst>
                <a:path w="1967230" h="1872614">
                  <a:moveTo>
                    <a:pt x="1966964" y="0"/>
                  </a:moveTo>
                  <a:lnTo>
                    <a:pt x="258627" y="0"/>
                  </a:lnTo>
                  <a:lnTo>
                    <a:pt x="232042" y="33701"/>
                  </a:lnTo>
                  <a:lnTo>
                    <a:pt x="205436" y="70300"/>
                  </a:lnTo>
                  <a:lnTo>
                    <a:pt x="180257" y="107969"/>
                  </a:lnTo>
                  <a:lnTo>
                    <a:pt x="156547" y="146667"/>
                  </a:lnTo>
                  <a:lnTo>
                    <a:pt x="134344" y="186357"/>
                  </a:lnTo>
                  <a:lnTo>
                    <a:pt x="113689" y="226996"/>
                  </a:lnTo>
                  <a:lnTo>
                    <a:pt x="94621" y="268547"/>
                  </a:lnTo>
                  <a:lnTo>
                    <a:pt x="77180" y="310968"/>
                  </a:lnTo>
                  <a:lnTo>
                    <a:pt x="61406" y="354221"/>
                  </a:lnTo>
                  <a:lnTo>
                    <a:pt x="47339" y="398265"/>
                  </a:lnTo>
                  <a:lnTo>
                    <a:pt x="35018" y="443061"/>
                  </a:lnTo>
                  <a:lnTo>
                    <a:pt x="24484" y="488568"/>
                  </a:lnTo>
                  <a:lnTo>
                    <a:pt x="15776" y="534747"/>
                  </a:lnTo>
                  <a:lnTo>
                    <a:pt x="8933" y="581559"/>
                  </a:lnTo>
                  <a:lnTo>
                    <a:pt x="3997" y="628963"/>
                  </a:lnTo>
                  <a:lnTo>
                    <a:pt x="1005" y="676919"/>
                  </a:lnTo>
                  <a:lnTo>
                    <a:pt x="0" y="725388"/>
                  </a:lnTo>
                  <a:lnTo>
                    <a:pt x="1005" y="773857"/>
                  </a:lnTo>
                  <a:lnTo>
                    <a:pt x="3997" y="821814"/>
                  </a:lnTo>
                  <a:lnTo>
                    <a:pt x="8933" y="869218"/>
                  </a:lnTo>
                  <a:lnTo>
                    <a:pt x="15776" y="916029"/>
                  </a:lnTo>
                  <a:lnTo>
                    <a:pt x="24484" y="962208"/>
                  </a:lnTo>
                  <a:lnTo>
                    <a:pt x="35018" y="1007716"/>
                  </a:lnTo>
                  <a:lnTo>
                    <a:pt x="47339" y="1052511"/>
                  </a:lnTo>
                  <a:lnTo>
                    <a:pt x="61406" y="1096555"/>
                  </a:lnTo>
                  <a:lnTo>
                    <a:pt x="77180" y="1139808"/>
                  </a:lnTo>
                  <a:lnTo>
                    <a:pt x="94621" y="1182229"/>
                  </a:lnTo>
                  <a:lnTo>
                    <a:pt x="113689" y="1223780"/>
                  </a:lnTo>
                  <a:lnTo>
                    <a:pt x="134344" y="1264420"/>
                  </a:lnTo>
                  <a:lnTo>
                    <a:pt x="156547" y="1304109"/>
                  </a:lnTo>
                  <a:lnTo>
                    <a:pt x="180257" y="1342808"/>
                  </a:lnTo>
                  <a:lnTo>
                    <a:pt x="205436" y="1380476"/>
                  </a:lnTo>
                  <a:lnTo>
                    <a:pt x="232042" y="1417075"/>
                  </a:lnTo>
                  <a:lnTo>
                    <a:pt x="260037" y="1452564"/>
                  </a:lnTo>
                  <a:lnTo>
                    <a:pt x="289380" y="1486904"/>
                  </a:lnTo>
                  <a:lnTo>
                    <a:pt x="320032" y="1520054"/>
                  </a:lnTo>
                  <a:lnTo>
                    <a:pt x="351953" y="1551975"/>
                  </a:lnTo>
                  <a:lnTo>
                    <a:pt x="385103" y="1582627"/>
                  </a:lnTo>
                  <a:lnTo>
                    <a:pt x="419443" y="1611970"/>
                  </a:lnTo>
                  <a:lnTo>
                    <a:pt x="454932" y="1639965"/>
                  </a:lnTo>
                  <a:lnTo>
                    <a:pt x="491531" y="1666572"/>
                  </a:lnTo>
                  <a:lnTo>
                    <a:pt x="529199" y="1691750"/>
                  </a:lnTo>
                  <a:lnTo>
                    <a:pt x="567898" y="1715460"/>
                  </a:lnTo>
                  <a:lnTo>
                    <a:pt x="607588" y="1737663"/>
                  </a:lnTo>
                  <a:lnTo>
                    <a:pt x="648227" y="1758318"/>
                  </a:lnTo>
                  <a:lnTo>
                    <a:pt x="689778" y="1777386"/>
                  </a:lnTo>
                  <a:lnTo>
                    <a:pt x="732199" y="1794827"/>
                  </a:lnTo>
                  <a:lnTo>
                    <a:pt x="775452" y="1810601"/>
                  </a:lnTo>
                  <a:lnTo>
                    <a:pt x="819496" y="1824668"/>
                  </a:lnTo>
                  <a:lnTo>
                    <a:pt x="864291" y="1836989"/>
                  </a:lnTo>
                  <a:lnTo>
                    <a:pt x="909799" y="1847523"/>
                  </a:lnTo>
                  <a:lnTo>
                    <a:pt x="955978" y="1856231"/>
                  </a:lnTo>
                  <a:lnTo>
                    <a:pt x="1002790" y="1863074"/>
                  </a:lnTo>
                  <a:lnTo>
                    <a:pt x="1050193" y="1868011"/>
                  </a:lnTo>
                  <a:lnTo>
                    <a:pt x="1098150" y="1871002"/>
                  </a:lnTo>
                  <a:lnTo>
                    <a:pt x="1146619" y="1872008"/>
                  </a:lnTo>
                  <a:lnTo>
                    <a:pt x="1195088" y="1871002"/>
                  </a:lnTo>
                  <a:lnTo>
                    <a:pt x="1243045" y="1868011"/>
                  </a:lnTo>
                  <a:lnTo>
                    <a:pt x="1290448" y="1863074"/>
                  </a:lnTo>
                  <a:lnTo>
                    <a:pt x="1337260" y="1856231"/>
                  </a:lnTo>
                  <a:lnTo>
                    <a:pt x="1383439" y="1847523"/>
                  </a:lnTo>
                  <a:lnTo>
                    <a:pt x="1428947" y="1836989"/>
                  </a:lnTo>
                  <a:lnTo>
                    <a:pt x="1473742" y="1824668"/>
                  </a:lnTo>
                  <a:lnTo>
                    <a:pt x="1517786" y="1810601"/>
                  </a:lnTo>
                  <a:lnTo>
                    <a:pt x="1561039" y="1794827"/>
                  </a:lnTo>
                  <a:lnTo>
                    <a:pt x="1603460" y="1777386"/>
                  </a:lnTo>
                  <a:lnTo>
                    <a:pt x="1645011" y="1758318"/>
                  </a:lnTo>
                  <a:lnTo>
                    <a:pt x="1685650" y="1737663"/>
                  </a:lnTo>
                  <a:lnTo>
                    <a:pt x="1725340" y="1715460"/>
                  </a:lnTo>
                  <a:lnTo>
                    <a:pt x="1764039" y="1691750"/>
                  </a:lnTo>
                  <a:lnTo>
                    <a:pt x="1801707" y="1666572"/>
                  </a:lnTo>
                  <a:lnTo>
                    <a:pt x="1838306" y="1639965"/>
                  </a:lnTo>
                  <a:lnTo>
                    <a:pt x="1873795" y="1611970"/>
                  </a:lnTo>
                  <a:lnTo>
                    <a:pt x="1908135" y="1582627"/>
                  </a:lnTo>
                  <a:lnTo>
                    <a:pt x="1941285" y="1551975"/>
                  </a:lnTo>
                  <a:lnTo>
                    <a:pt x="1966964" y="1526295"/>
                  </a:lnTo>
                  <a:lnTo>
                    <a:pt x="1966964" y="0"/>
                  </a:lnTo>
                  <a:close/>
                </a:path>
              </a:pathLst>
            </a:custGeom>
            <a:solidFill>
              <a:srgbClr val="00AFFF">
                <a:alpha val="23999"/>
              </a:srgbClr>
            </a:solidFill>
          </p:spPr>
          <p:txBody>
            <a:bodyPr wrap="square" lIns="0" tIns="0" rIns="0" bIns="0" rtlCol="0"/>
            <a:lstStyle/>
            <a:p>
              <a:endParaRPr/>
            </a:p>
          </p:txBody>
        </p:sp>
        <p:sp>
          <p:nvSpPr>
            <p:cNvPr id="24" name="object 6">
              <a:extLst>
                <a:ext uri="{FF2B5EF4-FFF2-40B4-BE49-F238E27FC236}">
                  <a16:creationId xmlns:a16="http://schemas.microsoft.com/office/drawing/2014/main" id="{5658E3DE-4D80-E3F3-9EBE-7C75B09AA30F}"/>
                </a:ext>
              </a:extLst>
            </p:cNvPr>
            <p:cNvSpPr/>
            <p:nvPr/>
          </p:nvSpPr>
          <p:spPr>
            <a:xfrm>
              <a:off x="6613002" y="0"/>
              <a:ext cx="2077554" cy="995015"/>
            </a:xfrm>
            <a:custGeom>
              <a:avLst/>
              <a:gdLst/>
              <a:ahLst/>
              <a:cxnLst/>
              <a:rect l="l" t="t" r="r" b="b"/>
              <a:pathLst>
                <a:path w="2291079" h="1097280">
                  <a:moveTo>
                    <a:pt x="2291054" y="0"/>
                  </a:moveTo>
                  <a:lnTo>
                    <a:pt x="0" y="0"/>
                  </a:lnTo>
                  <a:lnTo>
                    <a:pt x="2904" y="46573"/>
                  </a:lnTo>
                  <a:lnTo>
                    <a:pt x="7841" y="93977"/>
                  </a:lnTo>
                  <a:lnTo>
                    <a:pt x="14684" y="140789"/>
                  </a:lnTo>
                  <a:lnTo>
                    <a:pt x="23392" y="186968"/>
                  </a:lnTo>
                  <a:lnTo>
                    <a:pt x="33926" y="232475"/>
                  </a:lnTo>
                  <a:lnTo>
                    <a:pt x="46247" y="277271"/>
                  </a:lnTo>
                  <a:lnTo>
                    <a:pt x="60314" y="321315"/>
                  </a:lnTo>
                  <a:lnTo>
                    <a:pt x="76088" y="364568"/>
                  </a:lnTo>
                  <a:lnTo>
                    <a:pt x="93529" y="406989"/>
                  </a:lnTo>
                  <a:lnTo>
                    <a:pt x="112597" y="448540"/>
                  </a:lnTo>
                  <a:lnTo>
                    <a:pt x="133252" y="489179"/>
                  </a:lnTo>
                  <a:lnTo>
                    <a:pt x="155455" y="528868"/>
                  </a:lnTo>
                  <a:lnTo>
                    <a:pt x="179165" y="567567"/>
                  </a:lnTo>
                  <a:lnTo>
                    <a:pt x="204343" y="605236"/>
                  </a:lnTo>
                  <a:lnTo>
                    <a:pt x="230950" y="641835"/>
                  </a:lnTo>
                  <a:lnTo>
                    <a:pt x="258945" y="677324"/>
                  </a:lnTo>
                  <a:lnTo>
                    <a:pt x="288288" y="711663"/>
                  </a:lnTo>
                  <a:lnTo>
                    <a:pt x="318940" y="744813"/>
                  </a:lnTo>
                  <a:lnTo>
                    <a:pt x="350861" y="776734"/>
                  </a:lnTo>
                  <a:lnTo>
                    <a:pt x="384011" y="807387"/>
                  </a:lnTo>
                  <a:lnTo>
                    <a:pt x="418351" y="836730"/>
                  </a:lnTo>
                  <a:lnTo>
                    <a:pt x="453840" y="864725"/>
                  </a:lnTo>
                  <a:lnTo>
                    <a:pt x="490439" y="891331"/>
                  </a:lnTo>
                  <a:lnTo>
                    <a:pt x="528107" y="916510"/>
                  </a:lnTo>
                  <a:lnTo>
                    <a:pt x="566806" y="940220"/>
                  </a:lnTo>
                  <a:lnTo>
                    <a:pt x="606495" y="962423"/>
                  </a:lnTo>
                  <a:lnTo>
                    <a:pt x="647135" y="983078"/>
                  </a:lnTo>
                  <a:lnTo>
                    <a:pt x="688686" y="1002146"/>
                  </a:lnTo>
                  <a:lnTo>
                    <a:pt x="731107" y="1019587"/>
                  </a:lnTo>
                  <a:lnTo>
                    <a:pt x="774360" y="1035361"/>
                  </a:lnTo>
                  <a:lnTo>
                    <a:pt x="818404" y="1049428"/>
                  </a:lnTo>
                  <a:lnTo>
                    <a:pt x="863199" y="1061748"/>
                  </a:lnTo>
                  <a:lnTo>
                    <a:pt x="908707" y="1072283"/>
                  </a:lnTo>
                  <a:lnTo>
                    <a:pt x="954886" y="1080991"/>
                  </a:lnTo>
                  <a:lnTo>
                    <a:pt x="1001697" y="1087834"/>
                  </a:lnTo>
                  <a:lnTo>
                    <a:pt x="1049101" y="1092770"/>
                  </a:lnTo>
                  <a:lnTo>
                    <a:pt x="1097058" y="1095761"/>
                  </a:lnTo>
                  <a:lnTo>
                    <a:pt x="1145527" y="1096767"/>
                  </a:lnTo>
                  <a:lnTo>
                    <a:pt x="1193996" y="1095761"/>
                  </a:lnTo>
                  <a:lnTo>
                    <a:pt x="1241952" y="1092770"/>
                  </a:lnTo>
                  <a:lnTo>
                    <a:pt x="1289356" y="1087834"/>
                  </a:lnTo>
                  <a:lnTo>
                    <a:pt x="1336168" y="1080991"/>
                  </a:lnTo>
                  <a:lnTo>
                    <a:pt x="1382347" y="1072283"/>
                  </a:lnTo>
                  <a:lnTo>
                    <a:pt x="1427854" y="1061748"/>
                  </a:lnTo>
                  <a:lnTo>
                    <a:pt x="1472650" y="1049428"/>
                  </a:lnTo>
                  <a:lnTo>
                    <a:pt x="1516694" y="1035361"/>
                  </a:lnTo>
                  <a:lnTo>
                    <a:pt x="1559947" y="1019587"/>
                  </a:lnTo>
                  <a:lnTo>
                    <a:pt x="1602368" y="1002146"/>
                  </a:lnTo>
                  <a:lnTo>
                    <a:pt x="1643919" y="983078"/>
                  </a:lnTo>
                  <a:lnTo>
                    <a:pt x="1684558" y="962423"/>
                  </a:lnTo>
                  <a:lnTo>
                    <a:pt x="1724248" y="940220"/>
                  </a:lnTo>
                  <a:lnTo>
                    <a:pt x="1762946" y="916510"/>
                  </a:lnTo>
                  <a:lnTo>
                    <a:pt x="1800615" y="891331"/>
                  </a:lnTo>
                  <a:lnTo>
                    <a:pt x="1837214" y="864725"/>
                  </a:lnTo>
                  <a:lnTo>
                    <a:pt x="1872703" y="836730"/>
                  </a:lnTo>
                  <a:lnTo>
                    <a:pt x="1907042" y="807387"/>
                  </a:lnTo>
                  <a:lnTo>
                    <a:pt x="1940193" y="776734"/>
                  </a:lnTo>
                  <a:lnTo>
                    <a:pt x="1972114" y="744813"/>
                  </a:lnTo>
                  <a:lnTo>
                    <a:pt x="2002766" y="711663"/>
                  </a:lnTo>
                  <a:lnTo>
                    <a:pt x="2032109" y="677324"/>
                  </a:lnTo>
                  <a:lnTo>
                    <a:pt x="2060104" y="641835"/>
                  </a:lnTo>
                  <a:lnTo>
                    <a:pt x="2086710" y="605236"/>
                  </a:lnTo>
                  <a:lnTo>
                    <a:pt x="2111889" y="567567"/>
                  </a:lnTo>
                  <a:lnTo>
                    <a:pt x="2135599" y="528868"/>
                  </a:lnTo>
                  <a:lnTo>
                    <a:pt x="2157802" y="489179"/>
                  </a:lnTo>
                  <a:lnTo>
                    <a:pt x="2178457" y="448540"/>
                  </a:lnTo>
                  <a:lnTo>
                    <a:pt x="2197525" y="406989"/>
                  </a:lnTo>
                  <a:lnTo>
                    <a:pt x="2214966" y="364568"/>
                  </a:lnTo>
                  <a:lnTo>
                    <a:pt x="2230740" y="321315"/>
                  </a:lnTo>
                  <a:lnTo>
                    <a:pt x="2244807" y="277271"/>
                  </a:lnTo>
                  <a:lnTo>
                    <a:pt x="2257128" y="232475"/>
                  </a:lnTo>
                  <a:lnTo>
                    <a:pt x="2267662" y="186968"/>
                  </a:lnTo>
                  <a:lnTo>
                    <a:pt x="2276370" y="140789"/>
                  </a:lnTo>
                  <a:lnTo>
                    <a:pt x="2283213" y="93977"/>
                  </a:lnTo>
                  <a:lnTo>
                    <a:pt x="2288149" y="46573"/>
                  </a:lnTo>
                  <a:lnTo>
                    <a:pt x="2291054" y="0"/>
                  </a:lnTo>
                  <a:close/>
                </a:path>
              </a:pathLst>
            </a:custGeom>
            <a:solidFill>
              <a:srgbClr val="00AFFF">
                <a:alpha val="23999"/>
              </a:srgbClr>
            </a:solidFill>
          </p:spPr>
          <p:txBody>
            <a:bodyPr wrap="square" lIns="0" tIns="0" rIns="0" bIns="0" rtlCol="0"/>
            <a:lstStyle/>
            <a:p>
              <a:endParaRPr/>
            </a:p>
          </p:txBody>
        </p:sp>
        <p:sp>
          <p:nvSpPr>
            <p:cNvPr id="25" name="object 7">
              <a:extLst>
                <a:ext uri="{FF2B5EF4-FFF2-40B4-BE49-F238E27FC236}">
                  <a16:creationId xmlns:a16="http://schemas.microsoft.com/office/drawing/2014/main" id="{591B4FBF-72FE-5A76-77F5-9B370934F24C}"/>
                </a:ext>
              </a:extLst>
            </p:cNvPr>
            <p:cNvSpPr/>
            <p:nvPr/>
          </p:nvSpPr>
          <p:spPr>
            <a:xfrm>
              <a:off x="9031060" y="1"/>
              <a:ext cx="1214402" cy="285030"/>
            </a:xfrm>
            <a:custGeom>
              <a:avLst/>
              <a:gdLst/>
              <a:ahLst/>
              <a:cxnLst/>
              <a:rect l="l" t="t" r="r" b="b"/>
              <a:pathLst>
                <a:path w="1339215" h="314325">
                  <a:moveTo>
                    <a:pt x="1338888" y="0"/>
                  </a:moveTo>
                  <a:lnTo>
                    <a:pt x="0" y="0"/>
                  </a:lnTo>
                  <a:lnTo>
                    <a:pt x="22830" y="26611"/>
                  </a:lnTo>
                  <a:lnTo>
                    <a:pt x="53542" y="58927"/>
                  </a:lnTo>
                  <a:lnTo>
                    <a:pt x="85857" y="89639"/>
                  </a:lnTo>
                  <a:lnTo>
                    <a:pt x="119709" y="118680"/>
                  </a:lnTo>
                  <a:lnTo>
                    <a:pt x="155032" y="145986"/>
                  </a:lnTo>
                  <a:lnTo>
                    <a:pt x="191759" y="171489"/>
                  </a:lnTo>
                  <a:lnTo>
                    <a:pt x="229825" y="195122"/>
                  </a:lnTo>
                  <a:lnTo>
                    <a:pt x="269161" y="216820"/>
                  </a:lnTo>
                  <a:lnTo>
                    <a:pt x="309703" y="236516"/>
                  </a:lnTo>
                  <a:lnTo>
                    <a:pt x="351383" y="254144"/>
                  </a:lnTo>
                  <a:lnTo>
                    <a:pt x="394135" y="269636"/>
                  </a:lnTo>
                  <a:lnTo>
                    <a:pt x="437893" y="282928"/>
                  </a:lnTo>
                  <a:lnTo>
                    <a:pt x="482590" y="293951"/>
                  </a:lnTo>
                  <a:lnTo>
                    <a:pt x="528160" y="302641"/>
                  </a:lnTo>
                  <a:lnTo>
                    <a:pt x="574537" y="308930"/>
                  </a:lnTo>
                  <a:lnTo>
                    <a:pt x="621654" y="312752"/>
                  </a:lnTo>
                  <a:lnTo>
                    <a:pt x="669444" y="314041"/>
                  </a:lnTo>
                  <a:lnTo>
                    <a:pt x="717234" y="312752"/>
                  </a:lnTo>
                  <a:lnTo>
                    <a:pt x="764351" y="308930"/>
                  </a:lnTo>
                  <a:lnTo>
                    <a:pt x="810728" y="302641"/>
                  </a:lnTo>
                  <a:lnTo>
                    <a:pt x="856298" y="293951"/>
                  </a:lnTo>
                  <a:lnTo>
                    <a:pt x="900995" y="282928"/>
                  </a:lnTo>
                  <a:lnTo>
                    <a:pt x="944753" y="269636"/>
                  </a:lnTo>
                  <a:lnTo>
                    <a:pt x="987505" y="254144"/>
                  </a:lnTo>
                  <a:lnTo>
                    <a:pt x="1029185" y="236516"/>
                  </a:lnTo>
                  <a:lnTo>
                    <a:pt x="1069727" y="216820"/>
                  </a:lnTo>
                  <a:lnTo>
                    <a:pt x="1109063" y="195122"/>
                  </a:lnTo>
                  <a:lnTo>
                    <a:pt x="1147129" y="171489"/>
                  </a:lnTo>
                  <a:lnTo>
                    <a:pt x="1183856" y="145986"/>
                  </a:lnTo>
                  <a:lnTo>
                    <a:pt x="1219179" y="118680"/>
                  </a:lnTo>
                  <a:lnTo>
                    <a:pt x="1253031" y="89639"/>
                  </a:lnTo>
                  <a:lnTo>
                    <a:pt x="1285346" y="58927"/>
                  </a:lnTo>
                  <a:lnTo>
                    <a:pt x="1316058" y="26611"/>
                  </a:lnTo>
                  <a:lnTo>
                    <a:pt x="1338888" y="0"/>
                  </a:lnTo>
                  <a:close/>
                </a:path>
              </a:pathLst>
            </a:custGeom>
            <a:solidFill>
              <a:srgbClr val="00AFFF">
                <a:alpha val="23999"/>
              </a:srgbClr>
            </a:solidFill>
          </p:spPr>
          <p:txBody>
            <a:bodyPr wrap="square" lIns="0" tIns="0" rIns="0" bIns="0" rtlCol="0"/>
            <a:lstStyle/>
            <a:p>
              <a:endParaRPr/>
            </a:p>
          </p:txBody>
        </p:sp>
        <p:sp>
          <p:nvSpPr>
            <p:cNvPr id="26" name="object 8">
              <a:extLst>
                <a:ext uri="{FF2B5EF4-FFF2-40B4-BE49-F238E27FC236}">
                  <a16:creationId xmlns:a16="http://schemas.microsoft.com/office/drawing/2014/main" id="{A151A684-DA1D-804F-5426-4B4A7A6B4C86}"/>
                </a:ext>
              </a:extLst>
            </p:cNvPr>
            <p:cNvSpPr/>
            <p:nvPr/>
          </p:nvSpPr>
          <p:spPr>
            <a:xfrm>
              <a:off x="9389760" y="472058"/>
              <a:ext cx="726683" cy="726683"/>
            </a:xfrm>
            <a:custGeom>
              <a:avLst/>
              <a:gdLst/>
              <a:ahLst/>
              <a:cxnLst/>
              <a:rect l="l" t="t" r="r" b="b"/>
              <a:pathLst>
                <a:path w="801370" h="801369">
                  <a:moveTo>
                    <a:pt x="400672" y="0"/>
                  </a:moveTo>
                  <a:lnTo>
                    <a:pt x="353945" y="2695"/>
                  </a:lnTo>
                  <a:lnTo>
                    <a:pt x="308801" y="10582"/>
                  </a:lnTo>
                  <a:lnTo>
                    <a:pt x="265542" y="23358"/>
                  </a:lnTo>
                  <a:lnTo>
                    <a:pt x="224466" y="40724"/>
                  </a:lnTo>
                  <a:lnTo>
                    <a:pt x="185876" y="62379"/>
                  </a:lnTo>
                  <a:lnTo>
                    <a:pt x="150072" y="88023"/>
                  </a:lnTo>
                  <a:lnTo>
                    <a:pt x="117354" y="117354"/>
                  </a:lnTo>
                  <a:lnTo>
                    <a:pt x="88023" y="150072"/>
                  </a:lnTo>
                  <a:lnTo>
                    <a:pt x="62379" y="185876"/>
                  </a:lnTo>
                  <a:lnTo>
                    <a:pt x="40724" y="224466"/>
                  </a:lnTo>
                  <a:lnTo>
                    <a:pt x="23358" y="265542"/>
                  </a:lnTo>
                  <a:lnTo>
                    <a:pt x="10582" y="308801"/>
                  </a:lnTo>
                  <a:lnTo>
                    <a:pt x="2695" y="353945"/>
                  </a:lnTo>
                  <a:lnTo>
                    <a:pt x="0" y="400672"/>
                  </a:lnTo>
                  <a:lnTo>
                    <a:pt x="2695" y="447396"/>
                  </a:lnTo>
                  <a:lnTo>
                    <a:pt x="10582" y="492537"/>
                  </a:lnTo>
                  <a:lnTo>
                    <a:pt x="23358" y="535795"/>
                  </a:lnTo>
                  <a:lnTo>
                    <a:pt x="40724" y="576869"/>
                  </a:lnTo>
                  <a:lnTo>
                    <a:pt x="62379" y="615458"/>
                  </a:lnTo>
                  <a:lnTo>
                    <a:pt x="88023" y="651261"/>
                  </a:lnTo>
                  <a:lnTo>
                    <a:pt x="117354" y="683979"/>
                  </a:lnTo>
                  <a:lnTo>
                    <a:pt x="150072" y="713309"/>
                  </a:lnTo>
                  <a:lnTo>
                    <a:pt x="185876" y="738952"/>
                  </a:lnTo>
                  <a:lnTo>
                    <a:pt x="224466" y="760607"/>
                  </a:lnTo>
                  <a:lnTo>
                    <a:pt x="265542" y="777973"/>
                  </a:lnTo>
                  <a:lnTo>
                    <a:pt x="308801" y="790749"/>
                  </a:lnTo>
                  <a:lnTo>
                    <a:pt x="353945" y="798636"/>
                  </a:lnTo>
                  <a:lnTo>
                    <a:pt x="400672" y="801331"/>
                  </a:lnTo>
                  <a:lnTo>
                    <a:pt x="447399" y="798636"/>
                  </a:lnTo>
                  <a:lnTo>
                    <a:pt x="492542" y="790749"/>
                  </a:lnTo>
                  <a:lnTo>
                    <a:pt x="535802" y="777973"/>
                  </a:lnTo>
                  <a:lnTo>
                    <a:pt x="576877" y="760607"/>
                  </a:lnTo>
                  <a:lnTo>
                    <a:pt x="615467" y="738952"/>
                  </a:lnTo>
                  <a:lnTo>
                    <a:pt x="651272" y="713309"/>
                  </a:lnTo>
                  <a:lnTo>
                    <a:pt x="683990" y="683979"/>
                  </a:lnTo>
                  <a:lnTo>
                    <a:pt x="713321" y="651261"/>
                  </a:lnTo>
                  <a:lnTo>
                    <a:pt x="738964" y="615458"/>
                  </a:lnTo>
                  <a:lnTo>
                    <a:pt x="760619" y="576869"/>
                  </a:lnTo>
                  <a:lnTo>
                    <a:pt x="777985" y="535795"/>
                  </a:lnTo>
                  <a:lnTo>
                    <a:pt x="790762" y="492537"/>
                  </a:lnTo>
                  <a:lnTo>
                    <a:pt x="798648" y="447396"/>
                  </a:lnTo>
                  <a:lnTo>
                    <a:pt x="801344" y="400672"/>
                  </a:lnTo>
                  <a:lnTo>
                    <a:pt x="798648" y="353945"/>
                  </a:lnTo>
                  <a:lnTo>
                    <a:pt x="790762" y="308801"/>
                  </a:lnTo>
                  <a:lnTo>
                    <a:pt x="777985" y="265542"/>
                  </a:lnTo>
                  <a:lnTo>
                    <a:pt x="760619" y="224466"/>
                  </a:lnTo>
                  <a:lnTo>
                    <a:pt x="738964" y="185876"/>
                  </a:lnTo>
                  <a:lnTo>
                    <a:pt x="713321" y="150072"/>
                  </a:lnTo>
                  <a:lnTo>
                    <a:pt x="683990" y="117354"/>
                  </a:lnTo>
                  <a:lnTo>
                    <a:pt x="651272" y="88023"/>
                  </a:lnTo>
                  <a:lnTo>
                    <a:pt x="615467" y="62379"/>
                  </a:lnTo>
                  <a:lnTo>
                    <a:pt x="576877" y="40724"/>
                  </a:lnTo>
                  <a:lnTo>
                    <a:pt x="535802" y="23358"/>
                  </a:lnTo>
                  <a:lnTo>
                    <a:pt x="492542" y="10582"/>
                  </a:lnTo>
                  <a:lnTo>
                    <a:pt x="447399" y="2695"/>
                  </a:lnTo>
                  <a:lnTo>
                    <a:pt x="400672" y="0"/>
                  </a:lnTo>
                  <a:close/>
                </a:path>
              </a:pathLst>
            </a:custGeom>
            <a:solidFill>
              <a:srgbClr val="00AFFF">
                <a:alpha val="23999"/>
              </a:srgbClr>
            </a:solidFill>
          </p:spPr>
          <p:txBody>
            <a:bodyPr wrap="square" lIns="0" tIns="0" rIns="0" bIns="0" rtlCol="0"/>
            <a:lstStyle/>
            <a:p>
              <a:endParaRPr/>
            </a:p>
          </p:txBody>
        </p:sp>
      </p:grpSp>
      <p:sp>
        <p:nvSpPr>
          <p:cNvPr id="2" name="Picture Placeholder 2">
            <a:extLst>
              <a:ext uri="{FF2B5EF4-FFF2-40B4-BE49-F238E27FC236}">
                <a16:creationId xmlns:a16="http://schemas.microsoft.com/office/drawing/2014/main" id="{F7467FD7-B03A-A783-6DAD-BFE1F429ED74}"/>
              </a:ext>
            </a:extLst>
          </p:cNvPr>
          <p:cNvSpPr>
            <a:spLocks noGrp="1"/>
          </p:cNvSpPr>
          <p:nvPr>
            <p:ph type="pic" idx="10"/>
          </p:nvPr>
        </p:nvSpPr>
        <p:spPr>
          <a:xfrm>
            <a:off x="-1249137" y="-881221"/>
            <a:ext cx="7293907" cy="7195979"/>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2">
            <a:extLst>
              <a:ext uri="{FF2B5EF4-FFF2-40B4-BE49-F238E27FC236}">
                <a16:creationId xmlns:a16="http://schemas.microsoft.com/office/drawing/2014/main" id="{8C0E5294-F5B4-77CF-A37F-AB562DD1B145}"/>
              </a:ext>
            </a:extLst>
          </p:cNvPr>
          <p:cNvSpPr>
            <a:spLocks noGrp="1"/>
          </p:cNvSpPr>
          <p:nvPr>
            <p:ph type="body" idx="1"/>
          </p:nvPr>
        </p:nvSpPr>
        <p:spPr>
          <a:xfrm>
            <a:off x="6323724" y="2661920"/>
            <a:ext cx="5634596" cy="3078480"/>
          </a:xfrm>
        </p:spPr>
        <p:txBody>
          <a:bodyPr>
            <a:normAutofit/>
          </a:bodyPr>
          <a:lstStyle>
            <a:lvl1pPr marL="0" indent="0" algn="l">
              <a:lnSpc>
                <a:spcPct val="100000"/>
              </a:lnSpc>
              <a:buNone/>
              <a:defRPr sz="2000">
                <a:solidFill>
                  <a:schemeClr val="tx1"/>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Title 1">
            <a:extLst>
              <a:ext uri="{FF2B5EF4-FFF2-40B4-BE49-F238E27FC236}">
                <a16:creationId xmlns:a16="http://schemas.microsoft.com/office/drawing/2014/main" id="{E439FECD-897F-06F3-56D7-FC72D58F9B95}"/>
              </a:ext>
            </a:extLst>
          </p:cNvPr>
          <p:cNvSpPr>
            <a:spLocks noGrp="1"/>
          </p:cNvSpPr>
          <p:nvPr>
            <p:ph type="title"/>
          </p:nvPr>
        </p:nvSpPr>
        <p:spPr>
          <a:xfrm>
            <a:off x="6278881" y="1615440"/>
            <a:ext cx="5709919" cy="907098"/>
          </a:xfrm>
        </p:spPr>
        <p:txBody>
          <a:bodyPr>
            <a:normAutofit/>
          </a:bodyPr>
          <a:lstStyle>
            <a:lvl1pPr>
              <a:defRPr sz="2800" b="1">
                <a:solidFill>
                  <a:schemeClr val="tx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16298868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0_Section Header">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2D00DCAC-C40F-C3B9-F022-BCEE66A66A0B}"/>
              </a:ext>
            </a:extLst>
          </p:cNvPr>
          <p:cNvSpPr/>
          <p:nvPr userDrawn="1"/>
        </p:nvSpPr>
        <p:spPr>
          <a:xfrm>
            <a:off x="-121920" y="-4957"/>
            <a:ext cx="12319767" cy="6908925"/>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chemeClr val="accent2"/>
          </a:solidFill>
          <a:ln>
            <a:solidFill>
              <a:schemeClr val="accent2"/>
            </a:solidFill>
          </a:ln>
        </p:spPr>
        <p:txBody>
          <a:bodyPr wrap="square" lIns="0" tIns="0" rIns="0" bIns="0" rtlCol="0"/>
          <a:lstStyle/>
          <a:p>
            <a:endParaRPr sz="2000" dirty="0"/>
          </a:p>
        </p:txBody>
      </p:sp>
      <p:sp>
        <p:nvSpPr>
          <p:cNvPr id="33" name="object 13">
            <a:extLst>
              <a:ext uri="{FF2B5EF4-FFF2-40B4-BE49-F238E27FC236}">
                <a16:creationId xmlns:a16="http://schemas.microsoft.com/office/drawing/2014/main" id="{A0C82D7B-43A0-E7DA-A947-D2D94D26026C}"/>
              </a:ext>
            </a:extLst>
          </p:cNvPr>
          <p:cNvSpPr/>
          <p:nvPr/>
        </p:nvSpPr>
        <p:spPr>
          <a:xfrm rot="10800000">
            <a:off x="11287374" y="7555196"/>
            <a:ext cx="371988" cy="386441"/>
          </a:xfrm>
          <a:custGeom>
            <a:avLst/>
            <a:gdLst/>
            <a:ahLst/>
            <a:cxnLst/>
            <a:rect l="l" t="t" r="r" b="b"/>
            <a:pathLst>
              <a:path w="382905" h="388619">
                <a:moveTo>
                  <a:pt x="191198" y="0"/>
                </a:moveTo>
                <a:lnTo>
                  <a:pt x="147361" y="5131"/>
                </a:lnTo>
                <a:lnTo>
                  <a:pt x="107117" y="19747"/>
                </a:lnTo>
                <a:lnTo>
                  <a:pt x="71617" y="42682"/>
                </a:lnTo>
                <a:lnTo>
                  <a:pt x="42006" y="72771"/>
                </a:lnTo>
                <a:lnTo>
                  <a:pt x="19435" y="108846"/>
                </a:lnTo>
                <a:lnTo>
                  <a:pt x="5050" y="149744"/>
                </a:lnTo>
                <a:lnTo>
                  <a:pt x="0" y="194297"/>
                </a:lnTo>
                <a:lnTo>
                  <a:pt x="5050" y="238850"/>
                </a:lnTo>
                <a:lnTo>
                  <a:pt x="19435" y="279750"/>
                </a:lnTo>
                <a:lnTo>
                  <a:pt x="42006" y="315828"/>
                </a:lnTo>
                <a:lnTo>
                  <a:pt x="71617" y="345919"/>
                </a:lnTo>
                <a:lnTo>
                  <a:pt x="107117" y="368857"/>
                </a:lnTo>
                <a:lnTo>
                  <a:pt x="147361" y="383475"/>
                </a:lnTo>
                <a:lnTo>
                  <a:pt x="191198" y="388607"/>
                </a:lnTo>
                <a:lnTo>
                  <a:pt x="235039" y="383475"/>
                </a:lnTo>
                <a:lnTo>
                  <a:pt x="275284" y="368857"/>
                </a:lnTo>
                <a:lnTo>
                  <a:pt x="310785" y="345919"/>
                </a:lnTo>
                <a:lnTo>
                  <a:pt x="340394" y="315828"/>
                </a:lnTo>
                <a:lnTo>
                  <a:pt x="362964" y="279750"/>
                </a:lnTo>
                <a:lnTo>
                  <a:pt x="377347" y="238850"/>
                </a:lnTo>
                <a:lnTo>
                  <a:pt x="382397" y="194297"/>
                </a:lnTo>
                <a:lnTo>
                  <a:pt x="377347" y="149744"/>
                </a:lnTo>
                <a:lnTo>
                  <a:pt x="362964" y="108846"/>
                </a:lnTo>
                <a:lnTo>
                  <a:pt x="340394" y="72771"/>
                </a:lnTo>
                <a:lnTo>
                  <a:pt x="310785" y="42682"/>
                </a:lnTo>
                <a:lnTo>
                  <a:pt x="275284" y="19747"/>
                </a:lnTo>
                <a:lnTo>
                  <a:pt x="235039" y="5131"/>
                </a:lnTo>
                <a:lnTo>
                  <a:pt x="191198" y="0"/>
                </a:lnTo>
                <a:close/>
              </a:path>
            </a:pathLst>
          </a:custGeom>
          <a:solidFill>
            <a:srgbClr val="0E5C77">
              <a:alpha val="19999"/>
            </a:srgbClr>
          </a:solidFill>
        </p:spPr>
        <p:txBody>
          <a:bodyPr wrap="square" lIns="0" tIns="0" rIns="0" bIns="0" rtlCol="0"/>
          <a:lstStyle/>
          <a:p>
            <a:endParaRPr/>
          </a:p>
        </p:txBody>
      </p:sp>
      <p:sp>
        <p:nvSpPr>
          <p:cNvPr id="34" name="object 14">
            <a:extLst>
              <a:ext uri="{FF2B5EF4-FFF2-40B4-BE49-F238E27FC236}">
                <a16:creationId xmlns:a16="http://schemas.microsoft.com/office/drawing/2014/main" id="{BA238379-38B4-1ED0-2EBC-33F28CE277AE}"/>
              </a:ext>
            </a:extLst>
          </p:cNvPr>
          <p:cNvSpPr/>
          <p:nvPr/>
        </p:nvSpPr>
        <p:spPr>
          <a:xfrm rot="10800000">
            <a:off x="11127502" y="7012374"/>
            <a:ext cx="313382" cy="325822"/>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sp>
        <p:nvSpPr>
          <p:cNvPr id="30" name="Footer Placeholder 4">
            <a:extLst>
              <a:ext uri="{FF2B5EF4-FFF2-40B4-BE49-F238E27FC236}">
                <a16:creationId xmlns:a16="http://schemas.microsoft.com/office/drawing/2014/main" id="{02C401B5-B453-3BF0-01CE-3F0F63B03A02}"/>
              </a:ext>
            </a:extLst>
          </p:cNvPr>
          <p:cNvSpPr>
            <a:spLocks noGrp="1"/>
          </p:cNvSpPr>
          <p:nvPr userDrawn="1">
            <p:ph type="ftr" sz="quarter" idx="3"/>
          </p:nvPr>
        </p:nvSpPr>
        <p:spPr>
          <a:xfrm>
            <a:off x="735724" y="6114954"/>
            <a:ext cx="4929352" cy="365125"/>
          </a:xfrm>
          <a:prstGeom prst="rect">
            <a:avLst/>
          </a:prstGeom>
        </p:spPr>
        <p:txBody>
          <a:bodyPr/>
          <a:lstStyle>
            <a:lvl1pPr>
              <a:defRPr sz="1400">
                <a:solidFill>
                  <a:schemeClr val="tx2"/>
                </a:solidFill>
              </a:defRPr>
            </a:lvl1pPr>
          </a:lstStyle>
          <a:p>
            <a:endParaRPr lang="en-GB" dirty="0"/>
          </a:p>
        </p:txBody>
      </p:sp>
      <p:grpSp>
        <p:nvGrpSpPr>
          <p:cNvPr id="2" name="Group 1">
            <a:extLst>
              <a:ext uri="{FF2B5EF4-FFF2-40B4-BE49-F238E27FC236}">
                <a16:creationId xmlns:a16="http://schemas.microsoft.com/office/drawing/2014/main" id="{19D4B2F3-8059-DBA5-4D44-29894B41DAB0}"/>
              </a:ext>
            </a:extLst>
          </p:cNvPr>
          <p:cNvGrpSpPr/>
          <p:nvPr userDrawn="1"/>
        </p:nvGrpSpPr>
        <p:grpSpPr>
          <a:xfrm>
            <a:off x="-121920" y="-389572"/>
            <a:ext cx="5429576" cy="1714213"/>
            <a:chOff x="9598" y="0"/>
            <a:chExt cx="5429576" cy="1714213"/>
          </a:xfrm>
        </p:grpSpPr>
        <p:sp>
          <p:nvSpPr>
            <p:cNvPr id="4" name="object 3">
              <a:extLst>
                <a:ext uri="{FF2B5EF4-FFF2-40B4-BE49-F238E27FC236}">
                  <a16:creationId xmlns:a16="http://schemas.microsoft.com/office/drawing/2014/main" id="{E252FAA9-4B96-7A6B-6755-5360E5145F52}"/>
                </a:ext>
              </a:extLst>
            </p:cNvPr>
            <p:cNvSpPr/>
            <p:nvPr/>
          </p:nvSpPr>
          <p:spPr>
            <a:xfrm>
              <a:off x="807663" y="1115370"/>
              <a:ext cx="456048" cy="456048"/>
            </a:xfrm>
            <a:custGeom>
              <a:avLst/>
              <a:gdLst/>
              <a:ahLst/>
              <a:cxnLst/>
              <a:rect l="l" t="t" r="r" b="b"/>
              <a:pathLst>
                <a:path w="502919" h="502919">
                  <a:moveTo>
                    <a:pt x="251434" y="0"/>
                  </a:moveTo>
                  <a:lnTo>
                    <a:pt x="206239" y="4050"/>
                  </a:lnTo>
                  <a:lnTo>
                    <a:pt x="163701" y="15730"/>
                  </a:lnTo>
                  <a:lnTo>
                    <a:pt x="124531" y="34328"/>
                  </a:lnTo>
                  <a:lnTo>
                    <a:pt x="89439" y="59133"/>
                  </a:lnTo>
                  <a:lnTo>
                    <a:pt x="59134" y="89437"/>
                  </a:lnTo>
                  <a:lnTo>
                    <a:pt x="34328" y="124527"/>
                  </a:lnTo>
                  <a:lnTo>
                    <a:pt x="15730" y="163695"/>
                  </a:lnTo>
                  <a:lnTo>
                    <a:pt x="4051" y="206230"/>
                  </a:lnTo>
                  <a:lnTo>
                    <a:pt x="0" y="251421"/>
                  </a:lnTo>
                  <a:lnTo>
                    <a:pt x="4051" y="296617"/>
                  </a:lnTo>
                  <a:lnTo>
                    <a:pt x="15730" y="339154"/>
                  </a:lnTo>
                  <a:lnTo>
                    <a:pt x="34328" y="378325"/>
                  </a:lnTo>
                  <a:lnTo>
                    <a:pt x="59134" y="413417"/>
                  </a:lnTo>
                  <a:lnTo>
                    <a:pt x="89439" y="443721"/>
                  </a:lnTo>
                  <a:lnTo>
                    <a:pt x="124531" y="468527"/>
                  </a:lnTo>
                  <a:lnTo>
                    <a:pt x="163701" y="487125"/>
                  </a:lnTo>
                  <a:lnTo>
                    <a:pt x="206239" y="498805"/>
                  </a:lnTo>
                  <a:lnTo>
                    <a:pt x="251434" y="502856"/>
                  </a:lnTo>
                  <a:lnTo>
                    <a:pt x="296629" y="498805"/>
                  </a:lnTo>
                  <a:lnTo>
                    <a:pt x="339167" y="487125"/>
                  </a:lnTo>
                  <a:lnTo>
                    <a:pt x="378337" y="468527"/>
                  </a:lnTo>
                  <a:lnTo>
                    <a:pt x="413430" y="443721"/>
                  </a:lnTo>
                  <a:lnTo>
                    <a:pt x="443734" y="413417"/>
                  </a:lnTo>
                  <a:lnTo>
                    <a:pt x="468540" y="378325"/>
                  </a:lnTo>
                  <a:lnTo>
                    <a:pt x="487138" y="339154"/>
                  </a:lnTo>
                  <a:lnTo>
                    <a:pt x="498818" y="296617"/>
                  </a:lnTo>
                  <a:lnTo>
                    <a:pt x="502869" y="251421"/>
                  </a:lnTo>
                  <a:lnTo>
                    <a:pt x="498818" y="206230"/>
                  </a:lnTo>
                  <a:lnTo>
                    <a:pt x="487138" y="163695"/>
                  </a:lnTo>
                  <a:lnTo>
                    <a:pt x="468540" y="124527"/>
                  </a:lnTo>
                  <a:lnTo>
                    <a:pt x="443734" y="89437"/>
                  </a:lnTo>
                  <a:lnTo>
                    <a:pt x="413430" y="59133"/>
                  </a:lnTo>
                  <a:lnTo>
                    <a:pt x="378337" y="34328"/>
                  </a:lnTo>
                  <a:lnTo>
                    <a:pt x="339167" y="15730"/>
                  </a:lnTo>
                  <a:lnTo>
                    <a:pt x="296629" y="4050"/>
                  </a:lnTo>
                  <a:lnTo>
                    <a:pt x="251434" y="0"/>
                  </a:lnTo>
                  <a:close/>
                </a:path>
              </a:pathLst>
            </a:custGeom>
            <a:solidFill>
              <a:srgbClr val="00A79D">
                <a:alpha val="23999"/>
              </a:srgbClr>
            </a:solidFill>
          </p:spPr>
          <p:txBody>
            <a:bodyPr wrap="square" lIns="0" tIns="0" rIns="0" bIns="0" rtlCol="0"/>
            <a:lstStyle/>
            <a:p>
              <a:endParaRPr/>
            </a:p>
          </p:txBody>
        </p:sp>
        <p:sp>
          <p:nvSpPr>
            <p:cNvPr id="8" name="object 4">
              <a:extLst>
                <a:ext uri="{FF2B5EF4-FFF2-40B4-BE49-F238E27FC236}">
                  <a16:creationId xmlns:a16="http://schemas.microsoft.com/office/drawing/2014/main" id="{56DD7027-7ED1-92CB-BE49-E54EC1CD9B2F}"/>
                </a:ext>
              </a:extLst>
            </p:cNvPr>
            <p:cNvSpPr/>
            <p:nvPr/>
          </p:nvSpPr>
          <p:spPr>
            <a:xfrm>
              <a:off x="1705395" y="393384"/>
              <a:ext cx="456048" cy="456048"/>
            </a:xfrm>
            <a:custGeom>
              <a:avLst/>
              <a:gdLst/>
              <a:ahLst/>
              <a:cxnLst/>
              <a:rect l="l" t="t" r="r" b="b"/>
              <a:pathLst>
                <a:path w="502919" h="502919">
                  <a:moveTo>
                    <a:pt x="251434" y="0"/>
                  </a:moveTo>
                  <a:lnTo>
                    <a:pt x="206239" y="4050"/>
                  </a:lnTo>
                  <a:lnTo>
                    <a:pt x="163701" y="15730"/>
                  </a:lnTo>
                  <a:lnTo>
                    <a:pt x="124531" y="34328"/>
                  </a:lnTo>
                  <a:lnTo>
                    <a:pt x="89439" y="59133"/>
                  </a:lnTo>
                  <a:lnTo>
                    <a:pt x="59134" y="89437"/>
                  </a:lnTo>
                  <a:lnTo>
                    <a:pt x="34328" y="124527"/>
                  </a:lnTo>
                  <a:lnTo>
                    <a:pt x="15730" y="163695"/>
                  </a:lnTo>
                  <a:lnTo>
                    <a:pt x="4051" y="206230"/>
                  </a:lnTo>
                  <a:lnTo>
                    <a:pt x="0" y="251421"/>
                  </a:lnTo>
                  <a:lnTo>
                    <a:pt x="4051" y="296617"/>
                  </a:lnTo>
                  <a:lnTo>
                    <a:pt x="15730" y="339154"/>
                  </a:lnTo>
                  <a:lnTo>
                    <a:pt x="34328" y="378325"/>
                  </a:lnTo>
                  <a:lnTo>
                    <a:pt x="59134" y="413417"/>
                  </a:lnTo>
                  <a:lnTo>
                    <a:pt x="89439" y="443721"/>
                  </a:lnTo>
                  <a:lnTo>
                    <a:pt x="124531" y="468527"/>
                  </a:lnTo>
                  <a:lnTo>
                    <a:pt x="163701" y="487125"/>
                  </a:lnTo>
                  <a:lnTo>
                    <a:pt x="206239" y="498805"/>
                  </a:lnTo>
                  <a:lnTo>
                    <a:pt x="251434" y="502856"/>
                  </a:lnTo>
                  <a:lnTo>
                    <a:pt x="296629" y="498805"/>
                  </a:lnTo>
                  <a:lnTo>
                    <a:pt x="339167" y="487125"/>
                  </a:lnTo>
                  <a:lnTo>
                    <a:pt x="378337" y="468527"/>
                  </a:lnTo>
                  <a:lnTo>
                    <a:pt x="413430" y="443721"/>
                  </a:lnTo>
                  <a:lnTo>
                    <a:pt x="443734" y="413417"/>
                  </a:lnTo>
                  <a:lnTo>
                    <a:pt x="468540" y="378325"/>
                  </a:lnTo>
                  <a:lnTo>
                    <a:pt x="487138" y="339154"/>
                  </a:lnTo>
                  <a:lnTo>
                    <a:pt x="498818" y="296617"/>
                  </a:lnTo>
                  <a:lnTo>
                    <a:pt x="502869" y="251421"/>
                  </a:lnTo>
                  <a:lnTo>
                    <a:pt x="498818" y="206230"/>
                  </a:lnTo>
                  <a:lnTo>
                    <a:pt x="487138" y="163695"/>
                  </a:lnTo>
                  <a:lnTo>
                    <a:pt x="468540" y="124527"/>
                  </a:lnTo>
                  <a:lnTo>
                    <a:pt x="443734" y="89437"/>
                  </a:lnTo>
                  <a:lnTo>
                    <a:pt x="413430" y="59133"/>
                  </a:lnTo>
                  <a:lnTo>
                    <a:pt x="378337" y="34328"/>
                  </a:lnTo>
                  <a:lnTo>
                    <a:pt x="339167" y="15730"/>
                  </a:lnTo>
                  <a:lnTo>
                    <a:pt x="296629" y="4050"/>
                  </a:lnTo>
                  <a:lnTo>
                    <a:pt x="251434" y="0"/>
                  </a:lnTo>
                  <a:close/>
                </a:path>
              </a:pathLst>
            </a:custGeom>
            <a:solidFill>
              <a:srgbClr val="00A79D">
                <a:alpha val="23999"/>
              </a:srgbClr>
            </a:solidFill>
          </p:spPr>
          <p:txBody>
            <a:bodyPr wrap="square" lIns="0" tIns="0" rIns="0" bIns="0" rtlCol="0"/>
            <a:lstStyle/>
            <a:p>
              <a:endParaRPr/>
            </a:p>
          </p:txBody>
        </p:sp>
        <p:sp>
          <p:nvSpPr>
            <p:cNvPr id="9" name="object 5">
              <a:extLst>
                <a:ext uri="{FF2B5EF4-FFF2-40B4-BE49-F238E27FC236}">
                  <a16:creationId xmlns:a16="http://schemas.microsoft.com/office/drawing/2014/main" id="{574E6B3C-9B13-98CF-F82C-2B284F58AF9D}"/>
                </a:ext>
              </a:extLst>
            </p:cNvPr>
            <p:cNvSpPr/>
            <p:nvPr/>
          </p:nvSpPr>
          <p:spPr>
            <a:xfrm>
              <a:off x="3359317" y="1"/>
              <a:ext cx="2079857" cy="1714212"/>
            </a:xfrm>
            <a:custGeom>
              <a:avLst/>
              <a:gdLst/>
              <a:ahLst/>
              <a:cxnLst/>
              <a:rect l="l" t="t" r="r" b="b"/>
              <a:pathLst>
                <a:path w="2293620" h="1890395">
                  <a:moveTo>
                    <a:pt x="2019352" y="0"/>
                  </a:moveTo>
                  <a:lnTo>
                    <a:pt x="273886" y="0"/>
                  </a:lnTo>
                  <a:lnTo>
                    <a:pt x="260037" y="16206"/>
                  </a:lnTo>
                  <a:lnTo>
                    <a:pt x="232042" y="51695"/>
                  </a:lnTo>
                  <a:lnTo>
                    <a:pt x="205436" y="88294"/>
                  </a:lnTo>
                  <a:lnTo>
                    <a:pt x="180257" y="125963"/>
                  </a:lnTo>
                  <a:lnTo>
                    <a:pt x="156547" y="164662"/>
                  </a:lnTo>
                  <a:lnTo>
                    <a:pt x="134344" y="204351"/>
                  </a:lnTo>
                  <a:lnTo>
                    <a:pt x="113689" y="244991"/>
                  </a:lnTo>
                  <a:lnTo>
                    <a:pt x="94621" y="286541"/>
                  </a:lnTo>
                  <a:lnTo>
                    <a:pt x="77180" y="328963"/>
                  </a:lnTo>
                  <a:lnTo>
                    <a:pt x="61406" y="372215"/>
                  </a:lnTo>
                  <a:lnTo>
                    <a:pt x="47339" y="416259"/>
                  </a:lnTo>
                  <a:lnTo>
                    <a:pt x="35018" y="461055"/>
                  </a:lnTo>
                  <a:lnTo>
                    <a:pt x="24484" y="506562"/>
                  </a:lnTo>
                  <a:lnTo>
                    <a:pt x="15776" y="552741"/>
                  </a:lnTo>
                  <a:lnTo>
                    <a:pt x="8933" y="599553"/>
                  </a:lnTo>
                  <a:lnTo>
                    <a:pt x="3997" y="646957"/>
                  </a:lnTo>
                  <a:lnTo>
                    <a:pt x="1005" y="694913"/>
                  </a:lnTo>
                  <a:lnTo>
                    <a:pt x="0" y="743382"/>
                  </a:lnTo>
                  <a:lnTo>
                    <a:pt x="1005" y="791852"/>
                  </a:lnTo>
                  <a:lnTo>
                    <a:pt x="3997" y="839808"/>
                  </a:lnTo>
                  <a:lnTo>
                    <a:pt x="8933" y="887212"/>
                  </a:lnTo>
                  <a:lnTo>
                    <a:pt x="15776" y="934023"/>
                  </a:lnTo>
                  <a:lnTo>
                    <a:pt x="24484" y="980203"/>
                  </a:lnTo>
                  <a:lnTo>
                    <a:pt x="35018" y="1025710"/>
                  </a:lnTo>
                  <a:lnTo>
                    <a:pt x="47339" y="1070505"/>
                  </a:lnTo>
                  <a:lnTo>
                    <a:pt x="61406" y="1114549"/>
                  </a:lnTo>
                  <a:lnTo>
                    <a:pt x="77180" y="1157802"/>
                  </a:lnTo>
                  <a:lnTo>
                    <a:pt x="94621" y="1200224"/>
                  </a:lnTo>
                  <a:lnTo>
                    <a:pt x="113689" y="1241774"/>
                  </a:lnTo>
                  <a:lnTo>
                    <a:pt x="134344" y="1282414"/>
                  </a:lnTo>
                  <a:lnTo>
                    <a:pt x="156547" y="1322103"/>
                  </a:lnTo>
                  <a:lnTo>
                    <a:pt x="180257" y="1360802"/>
                  </a:lnTo>
                  <a:lnTo>
                    <a:pt x="205436" y="1398471"/>
                  </a:lnTo>
                  <a:lnTo>
                    <a:pt x="232042" y="1435069"/>
                  </a:lnTo>
                  <a:lnTo>
                    <a:pt x="260037" y="1470558"/>
                  </a:lnTo>
                  <a:lnTo>
                    <a:pt x="289380" y="1504898"/>
                  </a:lnTo>
                  <a:lnTo>
                    <a:pt x="320032" y="1538048"/>
                  </a:lnTo>
                  <a:lnTo>
                    <a:pt x="351953" y="1569969"/>
                  </a:lnTo>
                  <a:lnTo>
                    <a:pt x="385103" y="1600621"/>
                  </a:lnTo>
                  <a:lnTo>
                    <a:pt x="419443" y="1629964"/>
                  </a:lnTo>
                  <a:lnTo>
                    <a:pt x="454932" y="1657959"/>
                  </a:lnTo>
                  <a:lnTo>
                    <a:pt x="491531" y="1684566"/>
                  </a:lnTo>
                  <a:lnTo>
                    <a:pt x="529199" y="1709744"/>
                  </a:lnTo>
                  <a:lnTo>
                    <a:pt x="567898" y="1733455"/>
                  </a:lnTo>
                  <a:lnTo>
                    <a:pt x="607588" y="1755657"/>
                  </a:lnTo>
                  <a:lnTo>
                    <a:pt x="648227" y="1776313"/>
                  </a:lnTo>
                  <a:lnTo>
                    <a:pt x="689778" y="1795380"/>
                  </a:lnTo>
                  <a:lnTo>
                    <a:pt x="732199" y="1812821"/>
                  </a:lnTo>
                  <a:lnTo>
                    <a:pt x="775452" y="1828595"/>
                  </a:lnTo>
                  <a:lnTo>
                    <a:pt x="819496" y="1842662"/>
                  </a:lnTo>
                  <a:lnTo>
                    <a:pt x="864291" y="1854983"/>
                  </a:lnTo>
                  <a:lnTo>
                    <a:pt x="909799" y="1865517"/>
                  </a:lnTo>
                  <a:lnTo>
                    <a:pt x="955978" y="1874226"/>
                  </a:lnTo>
                  <a:lnTo>
                    <a:pt x="1002790" y="1881068"/>
                  </a:lnTo>
                  <a:lnTo>
                    <a:pt x="1050193" y="1886005"/>
                  </a:lnTo>
                  <a:lnTo>
                    <a:pt x="1098150" y="1888996"/>
                  </a:lnTo>
                  <a:lnTo>
                    <a:pt x="1146619" y="1890002"/>
                  </a:lnTo>
                  <a:lnTo>
                    <a:pt x="1195088" y="1888996"/>
                  </a:lnTo>
                  <a:lnTo>
                    <a:pt x="1243045" y="1886005"/>
                  </a:lnTo>
                  <a:lnTo>
                    <a:pt x="1290448" y="1881068"/>
                  </a:lnTo>
                  <a:lnTo>
                    <a:pt x="1337260" y="1874226"/>
                  </a:lnTo>
                  <a:lnTo>
                    <a:pt x="1383439" y="1865517"/>
                  </a:lnTo>
                  <a:lnTo>
                    <a:pt x="1428947" y="1854983"/>
                  </a:lnTo>
                  <a:lnTo>
                    <a:pt x="1473742" y="1842662"/>
                  </a:lnTo>
                  <a:lnTo>
                    <a:pt x="1517786" y="1828595"/>
                  </a:lnTo>
                  <a:lnTo>
                    <a:pt x="1561039" y="1812821"/>
                  </a:lnTo>
                  <a:lnTo>
                    <a:pt x="1603460" y="1795380"/>
                  </a:lnTo>
                  <a:lnTo>
                    <a:pt x="1645011" y="1776313"/>
                  </a:lnTo>
                  <a:lnTo>
                    <a:pt x="1685650" y="1755657"/>
                  </a:lnTo>
                  <a:lnTo>
                    <a:pt x="1725340" y="1733455"/>
                  </a:lnTo>
                  <a:lnTo>
                    <a:pt x="1764039" y="1709744"/>
                  </a:lnTo>
                  <a:lnTo>
                    <a:pt x="1801707" y="1684566"/>
                  </a:lnTo>
                  <a:lnTo>
                    <a:pt x="1838306" y="1657959"/>
                  </a:lnTo>
                  <a:lnTo>
                    <a:pt x="1873795" y="1629964"/>
                  </a:lnTo>
                  <a:lnTo>
                    <a:pt x="1908135" y="1600621"/>
                  </a:lnTo>
                  <a:lnTo>
                    <a:pt x="1941285" y="1569969"/>
                  </a:lnTo>
                  <a:lnTo>
                    <a:pt x="1973206" y="1538048"/>
                  </a:lnTo>
                  <a:lnTo>
                    <a:pt x="2003858" y="1504898"/>
                  </a:lnTo>
                  <a:lnTo>
                    <a:pt x="2033201" y="1470558"/>
                  </a:lnTo>
                  <a:lnTo>
                    <a:pt x="2061196" y="1435069"/>
                  </a:lnTo>
                  <a:lnTo>
                    <a:pt x="2087802" y="1398471"/>
                  </a:lnTo>
                  <a:lnTo>
                    <a:pt x="2112981" y="1360802"/>
                  </a:lnTo>
                  <a:lnTo>
                    <a:pt x="2136691" y="1322103"/>
                  </a:lnTo>
                  <a:lnTo>
                    <a:pt x="2158894" y="1282414"/>
                  </a:lnTo>
                  <a:lnTo>
                    <a:pt x="2179549" y="1241774"/>
                  </a:lnTo>
                  <a:lnTo>
                    <a:pt x="2198617" y="1200224"/>
                  </a:lnTo>
                  <a:lnTo>
                    <a:pt x="2216058" y="1157802"/>
                  </a:lnTo>
                  <a:lnTo>
                    <a:pt x="2231832" y="1114549"/>
                  </a:lnTo>
                  <a:lnTo>
                    <a:pt x="2245899" y="1070505"/>
                  </a:lnTo>
                  <a:lnTo>
                    <a:pt x="2258220" y="1025710"/>
                  </a:lnTo>
                  <a:lnTo>
                    <a:pt x="2268754" y="980203"/>
                  </a:lnTo>
                  <a:lnTo>
                    <a:pt x="2277462" y="934023"/>
                  </a:lnTo>
                  <a:lnTo>
                    <a:pt x="2284305" y="887212"/>
                  </a:lnTo>
                  <a:lnTo>
                    <a:pt x="2289241" y="839808"/>
                  </a:lnTo>
                  <a:lnTo>
                    <a:pt x="2292233" y="791852"/>
                  </a:lnTo>
                  <a:lnTo>
                    <a:pt x="2293238" y="743382"/>
                  </a:lnTo>
                  <a:lnTo>
                    <a:pt x="2292233" y="694913"/>
                  </a:lnTo>
                  <a:lnTo>
                    <a:pt x="2289241" y="646957"/>
                  </a:lnTo>
                  <a:lnTo>
                    <a:pt x="2284305" y="599553"/>
                  </a:lnTo>
                  <a:lnTo>
                    <a:pt x="2277462" y="552741"/>
                  </a:lnTo>
                  <a:lnTo>
                    <a:pt x="2268754" y="506562"/>
                  </a:lnTo>
                  <a:lnTo>
                    <a:pt x="2258220" y="461055"/>
                  </a:lnTo>
                  <a:lnTo>
                    <a:pt x="2245899" y="416259"/>
                  </a:lnTo>
                  <a:lnTo>
                    <a:pt x="2231832" y="372215"/>
                  </a:lnTo>
                  <a:lnTo>
                    <a:pt x="2216058" y="328963"/>
                  </a:lnTo>
                  <a:lnTo>
                    <a:pt x="2198617" y="286541"/>
                  </a:lnTo>
                  <a:lnTo>
                    <a:pt x="2179549" y="244991"/>
                  </a:lnTo>
                  <a:lnTo>
                    <a:pt x="2158894" y="204351"/>
                  </a:lnTo>
                  <a:lnTo>
                    <a:pt x="2136691" y="164662"/>
                  </a:lnTo>
                  <a:lnTo>
                    <a:pt x="2112981" y="125963"/>
                  </a:lnTo>
                  <a:lnTo>
                    <a:pt x="2087802" y="88294"/>
                  </a:lnTo>
                  <a:lnTo>
                    <a:pt x="2061196" y="51695"/>
                  </a:lnTo>
                  <a:lnTo>
                    <a:pt x="2033201" y="16206"/>
                  </a:lnTo>
                  <a:lnTo>
                    <a:pt x="2019352" y="0"/>
                  </a:lnTo>
                  <a:close/>
                </a:path>
              </a:pathLst>
            </a:custGeom>
            <a:solidFill>
              <a:srgbClr val="00A79D">
                <a:alpha val="23999"/>
              </a:srgbClr>
            </a:solidFill>
          </p:spPr>
          <p:txBody>
            <a:bodyPr wrap="square" lIns="0" tIns="0" rIns="0" bIns="0" rtlCol="0"/>
            <a:lstStyle/>
            <a:p>
              <a:endParaRPr/>
            </a:p>
          </p:txBody>
        </p:sp>
        <p:sp>
          <p:nvSpPr>
            <p:cNvPr id="10" name="object 6">
              <a:extLst>
                <a:ext uri="{FF2B5EF4-FFF2-40B4-BE49-F238E27FC236}">
                  <a16:creationId xmlns:a16="http://schemas.microsoft.com/office/drawing/2014/main" id="{E9FF9299-C740-B26B-8D45-170AAA2348AC}"/>
                </a:ext>
              </a:extLst>
            </p:cNvPr>
            <p:cNvSpPr/>
            <p:nvPr/>
          </p:nvSpPr>
          <p:spPr>
            <a:xfrm>
              <a:off x="9598" y="0"/>
              <a:ext cx="1638204" cy="1011138"/>
            </a:xfrm>
            <a:custGeom>
              <a:avLst/>
              <a:gdLst/>
              <a:ahLst/>
              <a:cxnLst/>
              <a:rect l="l" t="t" r="r" b="b"/>
              <a:pathLst>
                <a:path w="1806575" h="1115060">
                  <a:moveTo>
                    <a:pt x="1806575" y="0"/>
                  </a:moveTo>
                  <a:lnTo>
                    <a:pt x="0" y="0"/>
                  </a:lnTo>
                  <a:lnTo>
                    <a:pt x="0" y="905315"/>
                  </a:lnTo>
                  <a:lnTo>
                    <a:pt x="43197" y="934512"/>
                  </a:lnTo>
                  <a:lnTo>
                    <a:pt x="81896" y="958223"/>
                  </a:lnTo>
                  <a:lnTo>
                    <a:pt x="121585" y="980426"/>
                  </a:lnTo>
                  <a:lnTo>
                    <a:pt x="162225" y="1001081"/>
                  </a:lnTo>
                  <a:lnTo>
                    <a:pt x="203776" y="1020149"/>
                  </a:lnTo>
                  <a:lnTo>
                    <a:pt x="246197" y="1037590"/>
                  </a:lnTo>
                  <a:lnTo>
                    <a:pt x="289450" y="1053363"/>
                  </a:lnTo>
                  <a:lnTo>
                    <a:pt x="333494" y="1067431"/>
                  </a:lnTo>
                  <a:lnTo>
                    <a:pt x="378289" y="1079751"/>
                  </a:lnTo>
                  <a:lnTo>
                    <a:pt x="423796" y="1090286"/>
                  </a:lnTo>
                  <a:lnTo>
                    <a:pt x="469976" y="1098994"/>
                  </a:lnTo>
                  <a:lnTo>
                    <a:pt x="516787" y="1105836"/>
                  </a:lnTo>
                  <a:lnTo>
                    <a:pt x="564191" y="1110773"/>
                  </a:lnTo>
                  <a:lnTo>
                    <a:pt x="612147" y="1113764"/>
                  </a:lnTo>
                  <a:lnTo>
                    <a:pt x="660617" y="1114770"/>
                  </a:lnTo>
                  <a:lnTo>
                    <a:pt x="709086" y="1113764"/>
                  </a:lnTo>
                  <a:lnTo>
                    <a:pt x="757042" y="1110773"/>
                  </a:lnTo>
                  <a:lnTo>
                    <a:pt x="804446" y="1105836"/>
                  </a:lnTo>
                  <a:lnTo>
                    <a:pt x="851258" y="1098994"/>
                  </a:lnTo>
                  <a:lnTo>
                    <a:pt x="897437" y="1090286"/>
                  </a:lnTo>
                  <a:lnTo>
                    <a:pt x="942944" y="1079751"/>
                  </a:lnTo>
                  <a:lnTo>
                    <a:pt x="987740" y="1067431"/>
                  </a:lnTo>
                  <a:lnTo>
                    <a:pt x="1031784" y="1053363"/>
                  </a:lnTo>
                  <a:lnTo>
                    <a:pt x="1075036" y="1037590"/>
                  </a:lnTo>
                  <a:lnTo>
                    <a:pt x="1117458" y="1020149"/>
                  </a:lnTo>
                  <a:lnTo>
                    <a:pt x="1159008" y="1001081"/>
                  </a:lnTo>
                  <a:lnTo>
                    <a:pt x="1199648" y="980426"/>
                  </a:lnTo>
                  <a:lnTo>
                    <a:pt x="1239337" y="958223"/>
                  </a:lnTo>
                  <a:lnTo>
                    <a:pt x="1278036" y="934512"/>
                  </a:lnTo>
                  <a:lnTo>
                    <a:pt x="1315705" y="909334"/>
                  </a:lnTo>
                  <a:lnTo>
                    <a:pt x="1352304" y="882728"/>
                  </a:lnTo>
                  <a:lnTo>
                    <a:pt x="1387793" y="854733"/>
                  </a:lnTo>
                  <a:lnTo>
                    <a:pt x="1422132" y="825389"/>
                  </a:lnTo>
                  <a:lnTo>
                    <a:pt x="1455282" y="794737"/>
                  </a:lnTo>
                  <a:lnTo>
                    <a:pt x="1487203" y="762816"/>
                  </a:lnTo>
                  <a:lnTo>
                    <a:pt x="1517855" y="729666"/>
                  </a:lnTo>
                  <a:lnTo>
                    <a:pt x="1547199" y="695327"/>
                  </a:lnTo>
                  <a:lnTo>
                    <a:pt x="1575194" y="659838"/>
                  </a:lnTo>
                  <a:lnTo>
                    <a:pt x="1601800" y="623239"/>
                  </a:lnTo>
                  <a:lnTo>
                    <a:pt x="1626978" y="585570"/>
                  </a:lnTo>
                  <a:lnTo>
                    <a:pt x="1650689" y="546871"/>
                  </a:lnTo>
                  <a:lnTo>
                    <a:pt x="1672892" y="507182"/>
                  </a:lnTo>
                  <a:lnTo>
                    <a:pt x="1693547" y="466542"/>
                  </a:lnTo>
                  <a:lnTo>
                    <a:pt x="1712615" y="424992"/>
                  </a:lnTo>
                  <a:lnTo>
                    <a:pt x="1730056" y="382570"/>
                  </a:lnTo>
                  <a:lnTo>
                    <a:pt x="1745829" y="339318"/>
                  </a:lnTo>
                  <a:lnTo>
                    <a:pt x="1759897" y="295274"/>
                  </a:lnTo>
                  <a:lnTo>
                    <a:pt x="1772217" y="250478"/>
                  </a:lnTo>
                  <a:lnTo>
                    <a:pt x="1782752" y="204971"/>
                  </a:lnTo>
                  <a:lnTo>
                    <a:pt x="1791460" y="158792"/>
                  </a:lnTo>
                  <a:lnTo>
                    <a:pt x="1798302" y="111980"/>
                  </a:lnTo>
                  <a:lnTo>
                    <a:pt x="1803239" y="64576"/>
                  </a:lnTo>
                  <a:lnTo>
                    <a:pt x="1806230" y="16620"/>
                  </a:lnTo>
                  <a:lnTo>
                    <a:pt x="1806575" y="0"/>
                  </a:lnTo>
                  <a:close/>
                </a:path>
              </a:pathLst>
            </a:custGeom>
            <a:solidFill>
              <a:srgbClr val="00A79D">
                <a:alpha val="23999"/>
              </a:srgbClr>
            </a:solidFill>
          </p:spPr>
          <p:txBody>
            <a:bodyPr wrap="square" lIns="0" tIns="0" rIns="0" bIns="0" rtlCol="0"/>
            <a:lstStyle/>
            <a:p>
              <a:endParaRPr/>
            </a:p>
          </p:txBody>
        </p:sp>
        <p:sp>
          <p:nvSpPr>
            <p:cNvPr id="11" name="object 7">
              <a:extLst>
                <a:ext uri="{FF2B5EF4-FFF2-40B4-BE49-F238E27FC236}">
                  <a16:creationId xmlns:a16="http://schemas.microsoft.com/office/drawing/2014/main" id="{2B962E37-FE51-2FC3-86B1-3D569395D98C}"/>
                </a:ext>
              </a:extLst>
            </p:cNvPr>
            <p:cNvSpPr/>
            <p:nvPr/>
          </p:nvSpPr>
          <p:spPr>
            <a:xfrm>
              <a:off x="1974763" y="1"/>
              <a:ext cx="1240889" cy="301153"/>
            </a:xfrm>
            <a:custGeom>
              <a:avLst/>
              <a:gdLst/>
              <a:ahLst/>
              <a:cxnLst/>
              <a:rect l="l" t="t" r="r" b="b"/>
              <a:pathLst>
                <a:path w="1368425" h="332105">
                  <a:moveTo>
                    <a:pt x="1367940" y="0"/>
                  </a:moveTo>
                  <a:lnTo>
                    <a:pt x="0" y="0"/>
                  </a:lnTo>
                  <a:lnTo>
                    <a:pt x="8314" y="10755"/>
                  </a:lnTo>
                  <a:lnTo>
                    <a:pt x="37356" y="44607"/>
                  </a:lnTo>
                  <a:lnTo>
                    <a:pt x="68067" y="76923"/>
                  </a:lnTo>
                  <a:lnTo>
                    <a:pt x="100383" y="107634"/>
                  </a:lnTo>
                  <a:lnTo>
                    <a:pt x="134235" y="136676"/>
                  </a:lnTo>
                  <a:lnTo>
                    <a:pt x="169558" y="163982"/>
                  </a:lnTo>
                  <a:lnTo>
                    <a:pt x="206285" y="189484"/>
                  </a:lnTo>
                  <a:lnTo>
                    <a:pt x="244350" y="213118"/>
                  </a:lnTo>
                  <a:lnTo>
                    <a:pt x="283687" y="234816"/>
                  </a:lnTo>
                  <a:lnTo>
                    <a:pt x="324228" y="254512"/>
                  </a:lnTo>
                  <a:lnTo>
                    <a:pt x="365908" y="272139"/>
                  </a:lnTo>
                  <a:lnTo>
                    <a:pt x="408661" y="287632"/>
                  </a:lnTo>
                  <a:lnTo>
                    <a:pt x="452418" y="300924"/>
                  </a:lnTo>
                  <a:lnTo>
                    <a:pt x="497116" y="311947"/>
                  </a:lnTo>
                  <a:lnTo>
                    <a:pt x="542686" y="320637"/>
                  </a:lnTo>
                  <a:lnTo>
                    <a:pt x="589063" y="326926"/>
                  </a:lnTo>
                  <a:lnTo>
                    <a:pt x="636179" y="330748"/>
                  </a:lnTo>
                  <a:lnTo>
                    <a:pt x="683970" y="332037"/>
                  </a:lnTo>
                  <a:lnTo>
                    <a:pt x="731760" y="330748"/>
                  </a:lnTo>
                  <a:lnTo>
                    <a:pt x="778877" y="326926"/>
                  </a:lnTo>
                  <a:lnTo>
                    <a:pt x="825253" y="320637"/>
                  </a:lnTo>
                  <a:lnTo>
                    <a:pt x="870824" y="311947"/>
                  </a:lnTo>
                  <a:lnTo>
                    <a:pt x="915521" y="300924"/>
                  </a:lnTo>
                  <a:lnTo>
                    <a:pt x="959279" y="287632"/>
                  </a:lnTo>
                  <a:lnTo>
                    <a:pt x="1002031" y="272139"/>
                  </a:lnTo>
                  <a:lnTo>
                    <a:pt x="1043711" y="254512"/>
                  </a:lnTo>
                  <a:lnTo>
                    <a:pt x="1084253" y="234816"/>
                  </a:lnTo>
                  <a:lnTo>
                    <a:pt x="1123589" y="213118"/>
                  </a:lnTo>
                  <a:lnTo>
                    <a:pt x="1161654" y="189484"/>
                  </a:lnTo>
                  <a:lnTo>
                    <a:pt x="1198381" y="163982"/>
                  </a:lnTo>
                  <a:lnTo>
                    <a:pt x="1233704" y="136676"/>
                  </a:lnTo>
                  <a:lnTo>
                    <a:pt x="1267557" y="107634"/>
                  </a:lnTo>
                  <a:lnTo>
                    <a:pt x="1299872" y="76923"/>
                  </a:lnTo>
                  <a:lnTo>
                    <a:pt x="1330584" y="44607"/>
                  </a:lnTo>
                  <a:lnTo>
                    <a:pt x="1359626" y="10755"/>
                  </a:lnTo>
                  <a:lnTo>
                    <a:pt x="1367940" y="0"/>
                  </a:lnTo>
                  <a:close/>
                </a:path>
              </a:pathLst>
            </a:custGeom>
            <a:solidFill>
              <a:srgbClr val="00A79D">
                <a:alpha val="23999"/>
              </a:srgbClr>
            </a:solidFill>
          </p:spPr>
          <p:txBody>
            <a:bodyPr wrap="square" lIns="0" tIns="0" rIns="0" bIns="0" rtlCol="0"/>
            <a:lstStyle/>
            <a:p>
              <a:endParaRPr/>
            </a:p>
          </p:txBody>
        </p:sp>
        <p:sp>
          <p:nvSpPr>
            <p:cNvPr id="12" name="object 8">
              <a:extLst>
                <a:ext uri="{FF2B5EF4-FFF2-40B4-BE49-F238E27FC236}">
                  <a16:creationId xmlns:a16="http://schemas.microsoft.com/office/drawing/2014/main" id="{9B2A4857-919E-A8C5-E6FC-67973FDB4AF1}"/>
                </a:ext>
              </a:extLst>
            </p:cNvPr>
            <p:cNvSpPr/>
            <p:nvPr/>
          </p:nvSpPr>
          <p:spPr>
            <a:xfrm>
              <a:off x="2346635" y="488381"/>
              <a:ext cx="726683" cy="726683"/>
            </a:xfrm>
            <a:custGeom>
              <a:avLst/>
              <a:gdLst/>
              <a:ahLst/>
              <a:cxnLst/>
              <a:rect l="l" t="t" r="r" b="b"/>
              <a:pathLst>
                <a:path w="801370" h="801369">
                  <a:moveTo>
                    <a:pt x="400672" y="0"/>
                  </a:moveTo>
                  <a:lnTo>
                    <a:pt x="353945" y="2695"/>
                  </a:lnTo>
                  <a:lnTo>
                    <a:pt x="308801" y="10582"/>
                  </a:lnTo>
                  <a:lnTo>
                    <a:pt x="265542" y="23358"/>
                  </a:lnTo>
                  <a:lnTo>
                    <a:pt x="224466" y="40724"/>
                  </a:lnTo>
                  <a:lnTo>
                    <a:pt x="185876" y="62379"/>
                  </a:lnTo>
                  <a:lnTo>
                    <a:pt x="150072" y="88023"/>
                  </a:lnTo>
                  <a:lnTo>
                    <a:pt x="117354" y="117354"/>
                  </a:lnTo>
                  <a:lnTo>
                    <a:pt x="88023" y="150072"/>
                  </a:lnTo>
                  <a:lnTo>
                    <a:pt x="62379" y="185876"/>
                  </a:lnTo>
                  <a:lnTo>
                    <a:pt x="40724" y="224466"/>
                  </a:lnTo>
                  <a:lnTo>
                    <a:pt x="23358" y="265542"/>
                  </a:lnTo>
                  <a:lnTo>
                    <a:pt x="10582" y="308801"/>
                  </a:lnTo>
                  <a:lnTo>
                    <a:pt x="2695" y="353945"/>
                  </a:lnTo>
                  <a:lnTo>
                    <a:pt x="0" y="400672"/>
                  </a:lnTo>
                  <a:lnTo>
                    <a:pt x="2695" y="447396"/>
                  </a:lnTo>
                  <a:lnTo>
                    <a:pt x="10582" y="492537"/>
                  </a:lnTo>
                  <a:lnTo>
                    <a:pt x="23358" y="535795"/>
                  </a:lnTo>
                  <a:lnTo>
                    <a:pt x="40724" y="576869"/>
                  </a:lnTo>
                  <a:lnTo>
                    <a:pt x="62379" y="615458"/>
                  </a:lnTo>
                  <a:lnTo>
                    <a:pt x="88023" y="651261"/>
                  </a:lnTo>
                  <a:lnTo>
                    <a:pt x="117354" y="683979"/>
                  </a:lnTo>
                  <a:lnTo>
                    <a:pt x="150072" y="713309"/>
                  </a:lnTo>
                  <a:lnTo>
                    <a:pt x="185876" y="738952"/>
                  </a:lnTo>
                  <a:lnTo>
                    <a:pt x="224466" y="760607"/>
                  </a:lnTo>
                  <a:lnTo>
                    <a:pt x="265542" y="777973"/>
                  </a:lnTo>
                  <a:lnTo>
                    <a:pt x="308801" y="790749"/>
                  </a:lnTo>
                  <a:lnTo>
                    <a:pt x="353945" y="798636"/>
                  </a:lnTo>
                  <a:lnTo>
                    <a:pt x="400672" y="801331"/>
                  </a:lnTo>
                  <a:lnTo>
                    <a:pt x="447399" y="798636"/>
                  </a:lnTo>
                  <a:lnTo>
                    <a:pt x="492542" y="790749"/>
                  </a:lnTo>
                  <a:lnTo>
                    <a:pt x="535802" y="777973"/>
                  </a:lnTo>
                  <a:lnTo>
                    <a:pt x="576877" y="760607"/>
                  </a:lnTo>
                  <a:lnTo>
                    <a:pt x="615467" y="738952"/>
                  </a:lnTo>
                  <a:lnTo>
                    <a:pt x="651272" y="713309"/>
                  </a:lnTo>
                  <a:lnTo>
                    <a:pt x="683990" y="683979"/>
                  </a:lnTo>
                  <a:lnTo>
                    <a:pt x="713321" y="651261"/>
                  </a:lnTo>
                  <a:lnTo>
                    <a:pt x="738964" y="615458"/>
                  </a:lnTo>
                  <a:lnTo>
                    <a:pt x="760619" y="576869"/>
                  </a:lnTo>
                  <a:lnTo>
                    <a:pt x="777985" y="535795"/>
                  </a:lnTo>
                  <a:lnTo>
                    <a:pt x="790762" y="492537"/>
                  </a:lnTo>
                  <a:lnTo>
                    <a:pt x="798648" y="447396"/>
                  </a:lnTo>
                  <a:lnTo>
                    <a:pt x="801344" y="400672"/>
                  </a:lnTo>
                  <a:lnTo>
                    <a:pt x="798648" y="353945"/>
                  </a:lnTo>
                  <a:lnTo>
                    <a:pt x="790762" y="308801"/>
                  </a:lnTo>
                  <a:lnTo>
                    <a:pt x="777985" y="265542"/>
                  </a:lnTo>
                  <a:lnTo>
                    <a:pt x="760619" y="224466"/>
                  </a:lnTo>
                  <a:lnTo>
                    <a:pt x="738964" y="185876"/>
                  </a:lnTo>
                  <a:lnTo>
                    <a:pt x="713321" y="150072"/>
                  </a:lnTo>
                  <a:lnTo>
                    <a:pt x="683990" y="117354"/>
                  </a:lnTo>
                  <a:lnTo>
                    <a:pt x="651272" y="88023"/>
                  </a:lnTo>
                  <a:lnTo>
                    <a:pt x="615467" y="62379"/>
                  </a:lnTo>
                  <a:lnTo>
                    <a:pt x="576877" y="40724"/>
                  </a:lnTo>
                  <a:lnTo>
                    <a:pt x="535802" y="23358"/>
                  </a:lnTo>
                  <a:lnTo>
                    <a:pt x="492542" y="10582"/>
                  </a:lnTo>
                  <a:lnTo>
                    <a:pt x="447399" y="2695"/>
                  </a:lnTo>
                  <a:lnTo>
                    <a:pt x="400672" y="0"/>
                  </a:lnTo>
                  <a:close/>
                </a:path>
              </a:pathLst>
            </a:custGeom>
            <a:solidFill>
              <a:srgbClr val="00A79D">
                <a:alpha val="23999"/>
              </a:srgbClr>
            </a:solidFill>
          </p:spPr>
          <p:txBody>
            <a:bodyPr wrap="square" lIns="0" tIns="0" rIns="0" bIns="0" rtlCol="0"/>
            <a:lstStyle/>
            <a:p>
              <a:endParaRPr/>
            </a:p>
          </p:txBody>
        </p:sp>
      </p:grpSp>
      <p:sp>
        <p:nvSpPr>
          <p:cNvPr id="5" name="Picture Placeholder 2">
            <a:extLst>
              <a:ext uri="{FF2B5EF4-FFF2-40B4-BE49-F238E27FC236}">
                <a16:creationId xmlns:a16="http://schemas.microsoft.com/office/drawing/2014/main" id="{E6294C19-5D10-1A71-B204-31C0C2A5477A}"/>
              </a:ext>
            </a:extLst>
          </p:cNvPr>
          <p:cNvSpPr>
            <a:spLocks noGrp="1"/>
          </p:cNvSpPr>
          <p:nvPr>
            <p:ph type="pic" idx="10"/>
          </p:nvPr>
        </p:nvSpPr>
        <p:spPr>
          <a:xfrm>
            <a:off x="6169931" y="-897413"/>
            <a:ext cx="7293907" cy="7195979"/>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6" name="Text Placeholder 2">
            <a:extLst>
              <a:ext uri="{FF2B5EF4-FFF2-40B4-BE49-F238E27FC236}">
                <a16:creationId xmlns:a16="http://schemas.microsoft.com/office/drawing/2014/main" id="{E4356BD6-1C5C-9AA4-5362-F5FAC5EFE65F}"/>
              </a:ext>
            </a:extLst>
          </p:cNvPr>
          <p:cNvSpPr>
            <a:spLocks noGrp="1"/>
          </p:cNvSpPr>
          <p:nvPr>
            <p:ph type="body" idx="1"/>
          </p:nvPr>
        </p:nvSpPr>
        <p:spPr>
          <a:xfrm>
            <a:off x="735724" y="2184400"/>
            <a:ext cx="5360276" cy="3840480"/>
          </a:xfrm>
        </p:spPr>
        <p:txBody>
          <a:bodyPr>
            <a:normAutofit/>
          </a:bodyPr>
          <a:lstStyle>
            <a:lvl1pPr marL="0" indent="0" algn="l">
              <a:lnSpc>
                <a:spcPct val="100000"/>
              </a:lnSpc>
              <a:buNone/>
              <a:defRPr sz="2000">
                <a:solidFill>
                  <a:schemeClr val="bg1"/>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7" name="Title 1">
            <a:extLst>
              <a:ext uri="{FF2B5EF4-FFF2-40B4-BE49-F238E27FC236}">
                <a16:creationId xmlns:a16="http://schemas.microsoft.com/office/drawing/2014/main" id="{16EAF454-36EC-DCFE-55B7-5195E0BEFBCE}"/>
              </a:ext>
            </a:extLst>
          </p:cNvPr>
          <p:cNvSpPr>
            <a:spLocks noGrp="1"/>
          </p:cNvSpPr>
          <p:nvPr>
            <p:ph type="title"/>
          </p:nvPr>
        </p:nvSpPr>
        <p:spPr>
          <a:xfrm>
            <a:off x="751841" y="365125"/>
            <a:ext cx="6492239" cy="1325563"/>
          </a:xfrm>
        </p:spPr>
        <p:txBody>
          <a:bodyPr>
            <a:normAutofit/>
          </a:bodyPr>
          <a:lstStyle>
            <a:lvl1pPr>
              <a:defRPr sz="2800" b="1">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930763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1_Section Header">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2D00DCAC-C40F-C3B9-F022-BCEE66A66A0B}"/>
              </a:ext>
            </a:extLst>
          </p:cNvPr>
          <p:cNvSpPr/>
          <p:nvPr userDrawn="1"/>
        </p:nvSpPr>
        <p:spPr>
          <a:xfrm>
            <a:off x="0" y="-4957"/>
            <a:ext cx="12197847" cy="6908925"/>
          </a:xfrm>
          <a:custGeom>
            <a:avLst/>
            <a:gdLst/>
            <a:ahLst/>
            <a:cxnLst/>
            <a:rect l="l" t="t" r="r" b="b"/>
            <a:pathLst>
              <a:path w="13428344" h="7560309">
                <a:moveTo>
                  <a:pt x="13428002" y="0"/>
                </a:moveTo>
                <a:lnTo>
                  <a:pt x="0" y="0"/>
                </a:lnTo>
                <a:lnTo>
                  <a:pt x="0" y="7559992"/>
                </a:lnTo>
                <a:lnTo>
                  <a:pt x="13428002" y="7559992"/>
                </a:lnTo>
                <a:lnTo>
                  <a:pt x="13428002" y="0"/>
                </a:lnTo>
                <a:close/>
              </a:path>
            </a:pathLst>
          </a:custGeom>
          <a:solidFill>
            <a:schemeClr val="tx2"/>
          </a:solidFill>
          <a:ln>
            <a:solidFill>
              <a:schemeClr val="tx2"/>
            </a:solidFill>
          </a:ln>
        </p:spPr>
        <p:txBody>
          <a:bodyPr wrap="square" lIns="0" tIns="0" rIns="0" bIns="0" rtlCol="0"/>
          <a:lstStyle/>
          <a:p>
            <a:endParaRPr sz="2000" dirty="0"/>
          </a:p>
        </p:txBody>
      </p:sp>
      <p:sp>
        <p:nvSpPr>
          <p:cNvPr id="33" name="object 13">
            <a:extLst>
              <a:ext uri="{FF2B5EF4-FFF2-40B4-BE49-F238E27FC236}">
                <a16:creationId xmlns:a16="http://schemas.microsoft.com/office/drawing/2014/main" id="{A0C82D7B-43A0-E7DA-A947-D2D94D26026C}"/>
              </a:ext>
            </a:extLst>
          </p:cNvPr>
          <p:cNvSpPr/>
          <p:nvPr/>
        </p:nvSpPr>
        <p:spPr>
          <a:xfrm rot="10800000">
            <a:off x="11287374" y="7555196"/>
            <a:ext cx="371988" cy="386441"/>
          </a:xfrm>
          <a:custGeom>
            <a:avLst/>
            <a:gdLst/>
            <a:ahLst/>
            <a:cxnLst/>
            <a:rect l="l" t="t" r="r" b="b"/>
            <a:pathLst>
              <a:path w="382905" h="388619">
                <a:moveTo>
                  <a:pt x="191198" y="0"/>
                </a:moveTo>
                <a:lnTo>
                  <a:pt x="147361" y="5131"/>
                </a:lnTo>
                <a:lnTo>
                  <a:pt x="107117" y="19747"/>
                </a:lnTo>
                <a:lnTo>
                  <a:pt x="71617" y="42682"/>
                </a:lnTo>
                <a:lnTo>
                  <a:pt x="42006" y="72771"/>
                </a:lnTo>
                <a:lnTo>
                  <a:pt x="19435" y="108846"/>
                </a:lnTo>
                <a:lnTo>
                  <a:pt x="5050" y="149744"/>
                </a:lnTo>
                <a:lnTo>
                  <a:pt x="0" y="194297"/>
                </a:lnTo>
                <a:lnTo>
                  <a:pt x="5050" y="238850"/>
                </a:lnTo>
                <a:lnTo>
                  <a:pt x="19435" y="279750"/>
                </a:lnTo>
                <a:lnTo>
                  <a:pt x="42006" y="315828"/>
                </a:lnTo>
                <a:lnTo>
                  <a:pt x="71617" y="345919"/>
                </a:lnTo>
                <a:lnTo>
                  <a:pt x="107117" y="368857"/>
                </a:lnTo>
                <a:lnTo>
                  <a:pt x="147361" y="383475"/>
                </a:lnTo>
                <a:lnTo>
                  <a:pt x="191198" y="388607"/>
                </a:lnTo>
                <a:lnTo>
                  <a:pt x="235039" y="383475"/>
                </a:lnTo>
                <a:lnTo>
                  <a:pt x="275284" y="368857"/>
                </a:lnTo>
                <a:lnTo>
                  <a:pt x="310785" y="345919"/>
                </a:lnTo>
                <a:lnTo>
                  <a:pt x="340394" y="315828"/>
                </a:lnTo>
                <a:lnTo>
                  <a:pt x="362964" y="279750"/>
                </a:lnTo>
                <a:lnTo>
                  <a:pt x="377347" y="238850"/>
                </a:lnTo>
                <a:lnTo>
                  <a:pt x="382397" y="194297"/>
                </a:lnTo>
                <a:lnTo>
                  <a:pt x="377347" y="149744"/>
                </a:lnTo>
                <a:lnTo>
                  <a:pt x="362964" y="108846"/>
                </a:lnTo>
                <a:lnTo>
                  <a:pt x="340394" y="72771"/>
                </a:lnTo>
                <a:lnTo>
                  <a:pt x="310785" y="42682"/>
                </a:lnTo>
                <a:lnTo>
                  <a:pt x="275284" y="19747"/>
                </a:lnTo>
                <a:lnTo>
                  <a:pt x="235039" y="5131"/>
                </a:lnTo>
                <a:lnTo>
                  <a:pt x="191198" y="0"/>
                </a:lnTo>
                <a:close/>
              </a:path>
            </a:pathLst>
          </a:custGeom>
          <a:solidFill>
            <a:srgbClr val="0E5C77">
              <a:alpha val="19999"/>
            </a:srgbClr>
          </a:solidFill>
        </p:spPr>
        <p:txBody>
          <a:bodyPr wrap="square" lIns="0" tIns="0" rIns="0" bIns="0" rtlCol="0"/>
          <a:lstStyle/>
          <a:p>
            <a:endParaRPr/>
          </a:p>
        </p:txBody>
      </p:sp>
      <p:sp>
        <p:nvSpPr>
          <p:cNvPr id="34" name="object 14">
            <a:extLst>
              <a:ext uri="{FF2B5EF4-FFF2-40B4-BE49-F238E27FC236}">
                <a16:creationId xmlns:a16="http://schemas.microsoft.com/office/drawing/2014/main" id="{BA238379-38B4-1ED0-2EBC-33F28CE277AE}"/>
              </a:ext>
            </a:extLst>
          </p:cNvPr>
          <p:cNvSpPr/>
          <p:nvPr/>
        </p:nvSpPr>
        <p:spPr>
          <a:xfrm rot="10800000">
            <a:off x="11127502" y="7012374"/>
            <a:ext cx="313382" cy="325822"/>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grpSp>
        <p:nvGrpSpPr>
          <p:cNvPr id="5" name="object 41">
            <a:extLst>
              <a:ext uri="{FF2B5EF4-FFF2-40B4-BE49-F238E27FC236}">
                <a16:creationId xmlns:a16="http://schemas.microsoft.com/office/drawing/2014/main" id="{957BDDD7-B931-B769-D505-43BF2BAE0273}"/>
              </a:ext>
            </a:extLst>
          </p:cNvPr>
          <p:cNvGrpSpPr/>
          <p:nvPr userDrawn="1"/>
        </p:nvGrpSpPr>
        <p:grpSpPr>
          <a:xfrm>
            <a:off x="10681097" y="5820975"/>
            <a:ext cx="651156" cy="708550"/>
            <a:chOff x="5598848" y="1620229"/>
            <a:chExt cx="2190115" cy="2383155"/>
          </a:xfrm>
        </p:grpSpPr>
        <p:pic>
          <p:nvPicPr>
            <p:cNvPr id="6" name="object 42">
              <a:extLst>
                <a:ext uri="{FF2B5EF4-FFF2-40B4-BE49-F238E27FC236}">
                  <a16:creationId xmlns:a16="http://schemas.microsoft.com/office/drawing/2014/main" id="{B0316D10-AB7F-7247-2309-FF6E189194BC}"/>
                </a:ext>
              </a:extLst>
            </p:cNvPr>
            <p:cNvPicPr/>
            <p:nvPr/>
          </p:nvPicPr>
          <p:blipFill>
            <a:blip r:embed="rId2" cstate="print"/>
            <a:stretch>
              <a:fillRect/>
            </a:stretch>
          </p:blipFill>
          <p:spPr>
            <a:xfrm>
              <a:off x="7161630" y="1899091"/>
              <a:ext cx="113817" cy="115671"/>
            </a:xfrm>
            <a:prstGeom prst="rect">
              <a:avLst/>
            </a:prstGeom>
          </p:spPr>
        </p:pic>
        <p:pic>
          <p:nvPicPr>
            <p:cNvPr id="7" name="object 43">
              <a:extLst>
                <a:ext uri="{FF2B5EF4-FFF2-40B4-BE49-F238E27FC236}">
                  <a16:creationId xmlns:a16="http://schemas.microsoft.com/office/drawing/2014/main" id="{74F3DB94-6083-9227-318F-D47A76A048F2}"/>
                </a:ext>
              </a:extLst>
            </p:cNvPr>
            <p:cNvPicPr/>
            <p:nvPr/>
          </p:nvPicPr>
          <p:blipFill>
            <a:blip r:embed="rId3" cstate="print"/>
            <a:stretch>
              <a:fillRect/>
            </a:stretch>
          </p:blipFill>
          <p:spPr>
            <a:xfrm>
              <a:off x="5598848" y="1620229"/>
              <a:ext cx="2189904" cy="2382902"/>
            </a:xfrm>
            <a:prstGeom prst="rect">
              <a:avLst/>
            </a:prstGeom>
          </p:spPr>
        </p:pic>
        <p:pic>
          <p:nvPicPr>
            <p:cNvPr id="13" name="object 44">
              <a:extLst>
                <a:ext uri="{FF2B5EF4-FFF2-40B4-BE49-F238E27FC236}">
                  <a16:creationId xmlns:a16="http://schemas.microsoft.com/office/drawing/2014/main" id="{58167220-AAA0-C719-AE15-32888A8561F8}"/>
                </a:ext>
              </a:extLst>
            </p:cNvPr>
            <p:cNvPicPr/>
            <p:nvPr/>
          </p:nvPicPr>
          <p:blipFill>
            <a:blip r:embed="rId4" cstate="print"/>
            <a:stretch>
              <a:fillRect/>
            </a:stretch>
          </p:blipFill>
          <p:spPr>
            <a:xfrm>
              <a:off x="6871611" y="1669224"/>
              <a:ext cx="175945" cy="178803"/>
            </a:xfrm>
            <a:prstGeom prst="rect">
              <a:avLst/>
            </a:prstGeom>
          </p:spPr>
        </p:pic>
      </p:grpSp>
      <p:grpSp>
        <p:nvGrpSpPr>
          <p:cNvPr id="20" name="Group 19">
            <a:extLst>
              <a:ext uri="{FF2B5EF4-FFF2-40B4-BE49-F238E27FC236}">
                <a16:creationId xmlns:a16="http://schemas.microsoft.com/office/drawing/2014/main" id="{BA38F56F-30C0-B8AE-9A2D-75D458292098}"/>
              </a:ext>
            </a:extLst>
          </p:cNvPr>
          <p:cNvGrpSpPr/>
          <p:nvPr userDrawn="1"/>
        </p:nvGrpSpPr>
        <p:grpSpPr>
          <a:xfrm>
            <a:off x="6109850" y="-1"/>
            <a:ext cx="6097260" cy="1857721"/>
            <a:chOff x="6613002" y="0"/>
            <a:chExt cx="5573326" cy="1698088"/>
          </a:xfrm>
        </p:grpSpPr>
        <p:sp>
          <p:nvSpPr>
            <p:cNvPr id="21" name="object 3">
              <a:extLst>
                <a:ext uri="{FF2B5EF4-FFF2-40B4-BE49-F238E27FC236}">
                  <a16:creationId xmlns:a16="http://schemas.microsoft.com/office/drawing/2014/main" id="{17BFCD84-F3D5-2D67-1EF1-6EA656954F92}"/>
                </a:ext>
              </a:extLst>
            </p:cNvPr>
            <p:cNvSpPr/>
            <p:nvPr/>
          </p:nvSpPr>
          <p:spPr>
            <a:xfrm>
              <a:off x="7850787" y="1099048"/>
              <a:ext cx="456048" cy="456048"/>
            </a:xfrm>
            <a:custGeom>
              <a:avLst/>
              <a:gdLst/>
              <a:ahLst/>
              <a:cxnLst/>
              <a:rect l="l" t="t" r="r" b="b"/>
              <a:pathLst>
                <a:path w="502920" h="502919">
                  <a:moveTo>
                    <a:pt x="251434" y="0"/>
                  </a:moveTo>
                  <a:lnTo>
                    <a:pt x="206239" y="4050"/>
                  </a:lnTo>
                  <a:lnTo>
                    <a:pt x="163701" y="15730"/>
                  </a:lnTo>
                  <a:lnTo>
                    <a:pt x="124531" y="34328"/>
                  </a:lnTo>
                  <a:lnTo>
                    <a:pt x="89439" y="59133"/>
                  </a:lnTo>
                  <a:lnTo>
                    <a:pt x="59134" y="89437"/>
                  </a:lnTo>
                  <a:lnTo>
                    <a:pt x="34328" y="124527"/>
                  </a:lnTo>
                  <a:lnTo>
                    <a:pt x="15730" y="163695"/>
                  </a:lnTo>
                  <a:lnTo>
                    <a:pt x="4051" y="206230"/>
                  </a:lnTo>
                  <a:lnTo>
                    <a:pt x="0" y="251421"/>
                  </a:lnTo>
                  <a:lnTo>
                    <a:pt x="4051" y="296617"/>
                  </a:lnTo>
                  <a:lnTo>
                    <a:pt x="15730" y="339154"/>
                  </a:lnTo>
                  <a:lnTo>
                    <a:pt x="34328" y="378325"/>
                  </a:lnTo>
                  <a:lnTo>
                    <a:pt x="59134" y="413417"/>
                  </a:lnTo>
                  <a:lnTo>
                    <a:pt x="89439" y="443721"/>
                  </a:lnTo>
                  <a:lnTo>
                    <a:pt x="124531" y="468527"/>
                  </a:lnTo>
                  <a:lnTo>
                    <a:pt x="163701" y="487125"/>
                  </a:lnTo>
                  <a:lnTo>
                    <a:pt x="206239" y="498805"/>
                  </a:lnTo>
                  <a:lnTo>
                    <a:pt x="251434" y="502856"/>
                  </a:lnTo>
                  <a:lnTo>
                    <a:pt x="296629" y="498805"/>
                  </a:lnTo>
                  <a:lnTo>
                    <a:pt x="339165" y="487125"/>
                  </a:lnTo>
                  <a:lnTo>
                    <a:pt x="378334" y="468527"/>
                  </a:lnTo>
                  <a:lnTo>
                    <a:pt x="413424" y="443721"/>
                  </a:lnTo>
                  <a:lnTo>
                    <a:pt x="443726" y="413417"/>
                  </a:lnTo>
                  <a:lnTo>
                    <a:pt x="468531" y="378325"/>
                  </a:lnTo>
                  <a:lnTo>
                    <a:pt x="487127" y="339154"/>
                  </a:lnTo>
                  <a:lnTo>
                    <a:pt x="498805" y="296617"/>
                  </a:lnTo>
                  <a:lnTo>
                    <a:pt x="502856" y="251421"/>
                  </a:lnTo>
                  <a:lnTo>
                    <a:pt x="498805" y="206230"/>
                  </a:lnTo>
                  <a:lnTo>
                    <a:pt x="487127" y="163695"/>
                  </a:lnTo>
                  <a:lnTo>
                    <a:pt x="468531" y="124527"/>
                  </a:lnTo>
                  <a:lnTo>
                    <a:pt x="443726" y="89437"/>
                  </a:lnTo>
                  <a:lnTo>
                    <a:pt x="413424" y="59133"/>
                  </a:lnTo>
                  <a:lnTo>
                    <a:pt x="378334" y="34328"/>
                  </a:lnTo>
                  <a:lnTo>
                    <a:pt x="339165" y="15730"/>
                  </a:lnTo>
                  <a:lnTo>
                    <a:pt x="296629" y="4050"/>
                  </a:lnTo>
                  <a:lnTo>
                    <a:pt x="251434" y="0"/>
                  </a:lnTo>
                  <a:close/>
                </a:path>
              </a:pathLst>
            </a:custGeom>
            <a:solidFill>
              <a:srgbClr val="00AFFF">
                <a:alpha val="23999"/>
              </a:srgbClr>
            </a:solidFill>
          </p:spPr>
          <p:txBody>
            <a:bodyPr wrap="square" lIns="0" tIns="0" rIns="0" bIns="0" rtlCol="0"/>
            <a:lstStyle/>
            <a:p>
              <a:endParaRPr/>
            </a:p>
          </p:txBody>
        </p:sp>
        <p:sp>
          <p:nvSpPr>
            <p:cNvPr id="22" name="object 4">
              <a:extLst>
                <a:ext uri="{FF2B5EF4-FFF2-40B4-BE49-F238E27FC236}">
                  <a16:creationId xmlns:a16="http://schemas.microsoft.com/office/drawing/2014/main" id="{DC5B7BD2-C012-045B-C0AE-20165117D00C}"/>
                </a:ext>
              </a:extLst>
            </p:cNvPr>
            <p:cNvSpPr/>
            <p:nvPr/>
          </p:nvSpPr>
          <p:spPr>
            <a:xfrm>
              <a:off x="8748519" y="377061"/>
              <a:ext cx="456048" cy="456048"/>
            </a:xfrm>
            <a:custGeom>
              <a:avLst/>
              <a:gdLst/>
              <a:ahLst/>
              <a:cxnLst/>
              <a:rect l="l" t="t" r="r" b="b"/>
              <a:pathLst>
                <a:path w="502920" h="502919">
                  <a:moveTo>
                    <a:pt x="251434" y="0"/>
                  </a:moveTo>
                  <a:lnTo>
                    <a:pt x="206239" y="4050"/>
                  </a:lnTo>
                  <a:lnTo>
                    <a:pt x="163701" y="15730"/>
                  </a:lnTo>
                  <a:lnTo>
                    <a:pt x="124531" y="34328"/>
                  </a:lnTo>
                  <a:lnTo>
                    <a:pt x="89439" y="59133"/>
                  </a:lnTo>
                  <a:lnTo>
                    <a:pt x="59134" y="89437"/>
                  </a:lnTo>
                  <a:lnTo>
                    <a:pt x="34328" y="124527"/>
                  </a:lnTo>
                  <a:lnTo>
                    <a:pt x="15730" y="163695"/>
                  </a:lnTo>
                  <a:lnTo>
                    <a:pt x="4051" y="206230"/>
                  </a:lnTo>
                  <a:lnTo>
                    <a:pt x="0" y="251421"/>
                  </a:lnTo>
                  <a:lnTo>
                    <a:pt x="4051" y="296617"/>
                  </a:lnTo>
                  <a:lnTo>
                    <a:pt x="15730" y="339154"/>
                  </a:lnTo>
                  <a:lnTo>
                    <a:pt x="34328" y="378325"/>
                  </a:lnTo>
                  <a:lnTo>
                    <a:pt x="59134" y="413417"/>
                  </a:lnTo>
                  <a:lnTo>
                    <a:pt x="89439" y="443721"/>
                  </a:lnTo>
                  <a:lnTo>
                    <a:pt x="124531" y="468527"/>
                  </a:lnTo>
                  <a:lnTo>
                    <a:pt x="163701" y="487125"/>
                  </a:lnTo>
                  <a:lnTo>
                    <a:pt x="206239" y="498805"/>
                  </a:lnTo>
                  <a:lnTo>
                    <a:pt x="251434" y="502856"/>
                  </a:lnTo>
                  <a:lnTo>
                    <a:pt x="296629" y="498805"/>
                  </a:lnTo>
                  <a:lnTo>
                    <a:pt x="339165" y="487125"/>
                  </a:lnTo>
                  <a:lnTo>
                    <a:pt x="378334" y="468527"/>
                  </a:lnTo>
                  <a:lnTo>
                    <a:pt x="413424" y="443721"/>
                  </a:lnTo>
                  <a:lnTo>
                    <a:pt x="443726" y="413417"/>
                  </a:lnTo>
                  <a:lnTo>
                    <a:pt x="468531" y="378325"/>
                  </a:lnTo>
                  <a:lnTo>
                    <a:pt x="487127" y="339154"/>
                  </a:lnTo>
                  <a:lnTo>
                    <a:pt x="498805" y="296617"/>
                  </a:lnTo>
                  <a:lnTo>
                    <a:pt x="502856" y="251421"/>
                  </a:lnTo>
                  <a:lnTo>
                    <a:pt x="498805" y="206230"/>
                  </a:lnTo>
                  <a:lnTo>
                    <a:pt x="487127" y="163695"/>
                  </a:lnTo>
                  <a:lnTo>
                    <a:pt x="468531" y="124527"/>
                  </a:lnTo>
                  <a:lnTo>
                    <a:pt x="443726" y="89437"/>
                  </a:lnTo>
                  <a:lnTo>
                    <a:pt x="413424" y="59133"/>
                  </a:lnTo>
                  <a:lnTo>
                    <a:pt x="378334" y="34328"/>
                  </a:lnTo>
                  <a:lnTo>
                    <a:pt x="339165" y="15730"/>
                  </a:lnTo>
                  <a:lnTo>
                    <a:pt x="296629" y="4050"/>
                  </a:lnTo>
                  <a:lnTo>
                    <a:pt x="251434" y="0"/>
                  </a:lnTo>
                  <a:close/>
                </a:path>
              </a:pathLst>
            </a:custGeom>
            <a:solidFill>
              <a:srgbClr val="00AFFF">
                <a:alpha val="23999"/>
              </a:srgbClr>
            </a:solidFill>
          </p:spPr>
          <p:txBody>
            <a:bodyPr wrap="square" lIns="0" tIns="0" rIns="0" bIns="0" rtlCol="0"/>
            <a:lstStyle/>
            <a:p>
              <a:endParaRPr/>
            </a:p>
          </p:txBody>
        </p:sp>
        <p:sp>
          <p:nvSpPr>
            <p:cNvPr id="23" name="object 5">
              <a:extLst>
                <a:ext uri="{FF2B5EF4-FFF2-40B4-BE49-F238E27FC236}">
                  <a16:creationId xmlns:a16="http://schemas.microsoft.com/office/drawing/2014/main" id="{46C39FBD-DAAB-94DF-35DC-C352F1542076}"/>
                </a:ext>
              </a:extLst>
            </p:cNvPr>
            <p:cNvSpPr/>
            <p:nvPr/>
          </p:nvSpPr>
          <p:spPr>
            <a:xfrm>
              <a:off x="10402442" y="0"/>
              <a:ext cx="1783886" cy="1698088"/>
            </a:xfrm>
            <a:custGeom>
              <a:avLst/>
              <a:gdLst/>
              <a:ahLst/>
              <a:cxnLst/>
              <a:rect l="l" t="t" r="r" b="b"/>
              <a:pathLst>
                <a:path w="1967230" h="1872614">
                  <a:moveTo>
                    <a:pt x="1966964" y="0"/>
                  </a:moveTo>
                  <a:lnTo>
                    <a:pt x="258627" y="0"/>
                  </a:lnTo>
                  <a:lnTo>
                    <a:pt x="232042" y="33701"/>
                  </a:lnTo>
                  <a:lnTo>
                    <a:pt x="205436" y="70300"/>
                  </a:lnTo>
                  <a:lnTo>
                    <a:pt x="180257" y="107969"/>
                  </a:lnTo>
                  <a:lnTo>
                    <a:pt x="156547" y="146667"/>
                  </a:lnTo>
                  <a:lnTo>
                    <a:pt x="134344" y="186357"/>
                  </a:lnTo>
                  <a:lnTo>
                    <a:pt x="113689" y="226996"/>
                  </a:lnTo>
                  <a:lnTo>
                    <a:pt x="94621" y="268547"/>
                  </a:lnTo>
                  <a:lnTo>
                    <a:pt x="77180" y="310968"/>
                  </a:lnTo>
                  <a:lnTo>
                    <a:pt x="61406" y="354221"/>
                  </a:lnTo>
                  <a:lnTo>
                    <a:pt x="47339" y="398265"/>
                  </a:lnTo>
                  <a:lnTo>
                    <a:pt x="35018" y="443061"/>
                  </a:lnTo>
                  <a:lnTo>
                    <a:pt x="24484" y="488568"/>
                  </a:lnTo>
                  <a:lnTo>
                    <a:pt x="15776" y="534747"/>
                  </a:lnTo>
                  <a:lnTo>
                    <a:pt x="8933" y="581559"/>
                  </a:lnTo>
                  <a:lnTo>
                    <a:pt x="3997" y="628963"/>
                  </a:lnTo>
                  <a:lnTo>
                    <a:pt x="1005" y="676919"/>
                  </a:lnTo>
                  <a:lnTo>
                    <a:pt x="0" y="725388"/>
                  </a:lnTo>
                  <a:lnTo>
                    <a:pt x="1005" y="773857"/>
                  </a:lnTo>
                  <a:lnTo>
                    <a:pt x="3997" y="821814"/>
                  </a:lnTo>
                  <a:lnTo>
                    <a:pt x="8933" y="869218"/>
                  </a:lnTo>
                  <a:lnTo>
                    <a:pt x="15776" y="916029"/>
                  </a:lnTo>
                  <a:lnTo>
                    <a:pt x="24484" y="962208"/>
                  </a:lnTo>
                  <a:lnTo>
                    <a:pt x="35018" y="1007716"/>
                  </a:lnTo>
                  <a:lnTo>
                    <a:pt x="47339" y="1052511"/>
                  </a:lnTo>
                  <a:lnTo>
                    <a:pt x="61406" y="1096555"/>
                  </a:lnTo>
                  <a:lnTo>
                    <a:pt x="77180" y="1139808"/>
                  </a:lnTo>
                  <a:lnTo>
                    <a:pt x="94621" y="1182229"/>
                  </a:lnTo>
                  <a:lnTo>
                    <a:pt x="113689" y="1223780"/>
                  </a:lnTo>
                  <a:lnTo>
                    <a:pt x="134344" y="1264420"/>
                  </a:lnTo>
                  <a:lnTo>
                    <a:pt x="156547" y="1304109"/>
                  </a:lnTo>
                  <a:lnTo>
                    <a:pt x="180257" y="1342808"/>
                  </a:lnTo>
                  <a:lnTo>
                    <a:pt x="205436" y="1380476"/>
                  </a:lnTo>
                  <a:lnTo>
                    <a:pt x="232042" y="1417075"/>
                  </a:lnTo>
                  <a:lnTo>
                    <a:pt x="260037" y="1452564"/>
                  </a:lnTo>
                  <a:lnTo>
                    <a:pt x="289380" y="1486904"/>
                  </a:lnTo>
                  <a:lnTo>
                    <a:pt x="320032" y="1520054"/>
                  </a:lnTo>
                  <a:lnTo>
                    <a:pt x="351953" y="1551975"/>
                  </a:lnTo>
                  <a:lnTo>
                    <a:pt x="385103" y="1582627"/>
                  </a:lnTo>
                  <a:lnTo>
                    <a:pt x="419443" y="1611970"/>
                  </a:lnTo>
                  <a:lnTo>
                    <a:pt x="454932" y="1639965"/>
                  </a:lnTo>
                  <a:lnTo>
                    <a:pt x="491531" y="1666572"/>
                  </a:lnTo>
                  <a:lnTo>
                    <a:pt x="529199" y="1691750"/>
                  </a:lnTo>
                  <a:lnTo>
                    <a:pt x="567898" y="1715460"/>
                  </a:lnTo>
                  <a:lnTo>
                    <a:pt x="607588" y="1737663"/>
                  </a:lnTo>
                  <a:lnTo>
                    <a:pt x="648227" y="1758318"/>
                  </a:lnTo>
                  <a:lnTo>
                    <a:pt x="689778" y="1777386"/>
                  </a:lnTo>
                  <a:lnTo>
                    <a:pt x="732199" y="1794827"/>
                  </a:lnTo>
                  <a:lnTo>
                    <a:pt x="775452" y="1810601"/>
                  </a:lnTo>
                  <a:lnTo>
                    <a:pt x="819496" y="1824668"/>
                  </a:lnTo>
                  <a:lnTo>
                    <a:pt x="864291" y="1836989"/>
                  </a:lnTo>
                  <a:lnTo>
                    <a:pt x="909799" y="1847523"/>
                  </a:lnTo>
                  <a:lnTo>
                    <a:pt x="955978" y="1856231"/>
                  </a:lnTo>
                  <a:lnTo>
                    <a:pt x="1002790" y="1863074"/>
                  </a:lnTo>
                  <a:lnTo>
                    <a:pt x="1050193" y="1868011"/>
                  </a:lnTo>
                  <a:lnTo>
                    <a:pt x="1098150" y="1871002"/>
                  </a:lnTo>
                  <a:lnTo>
                    <a:pt x="1146619" y="1872008"/>
                  </a:lnTo>
                  <a:lnTo>
                    <a:pt x="1195088" y="1871002"/>
                  </a:lnTo>
                  <a:lnTo>
                    <a:pt x="1243045" y="1868011"/>
                  </a:lnTo>
                  <a:lnTo>
                    <a:pt x="1290448" y="1863074"/>
                  </a:lnTo>
                  <a:lnTo>
                    <a:pt x="1337260" y="1856231"/>
                  </a:lnTo>
                  <a:lnTo>
                    <a:pt x="1383439" y="1847523"/>
                  </a:lnTo>
                  <a:lnTo>
                    <a:pt x="1428947" y="1836989"/>
                  </a:lnTo>
                  <a:lnTo>
                    <a:pt x="1473742" y="1824668"/>
                  </a:lnTo>
                  <a:lnTo>
                    <a:pt x="1517786" y="1810601"/>
                  </a:lnTo>
                  <a:lnTo>
                    <a:pt x="1561039" y="1794827"/>
                  </a:lnTo>
                  <a:lnTo>
                    <a:pt x="1603460" y="1777386"/>
                  </a:lnTo>
                  <a:lnTo>
                    <a:pt x="1645011" y="1758318"/>
                  </a:lnTo>
                  <a:lnTo>
                    <a:pt x="1685650" y="1737663"/>
                  </a:lnTo>
                  <a:lnTo>
                    <a:pt x="1725340" y="1715460"/>
                  </a:lnTo>
                  <a:lnTo>
                    <a:pt x="1764039" y="1691750"/>
                  </a:lnTo>
                  <a:lnTo>
                    <a:pt x="1801707" y="1666572"/>
                  </a:lnTo>
                  <a:lnTo>
                    <a:pt x="1838306" y="1639965"/>
                  </a:lnTo>
                  <a:lnTo>
                    <a:pt x="1873795" y="1611970"/>
                  </a:lnTo>
                  <a:lnTo>
                    <a:pt x="1908135" y="1582627"/>
                  </a:lnTo>
                  <a:lnTo>
                    <a:pt x="1941285" y="1551975"/>
                  </a:lnTo>
                  <a:lnTo>
                    <a:pt x="1966964" y="1526295"/>
                  </a:lnTo>
                  <a:lnTo>
                    <a:pt x="1966964" y="0"/>
                  </a:lnTo>
                  <a:close/>
                </a:path>
              </a:pathLst>
            </a:custGeom>
            <a:solidFill>
              <a:srgbClr val="00AFFF">
                <a:alpha val="23999"/>
              </a:srgbClr>
            </a:solidFill>
          </p:spPr>
          <p:txBody>
            <a:bodyPr wrap="square" lIns="0" tIns="0" rIns="0" bIns="0" rtlCol="0"/>
            <a:lstStyle/>
            <a:p>
              <a:endParaRPr/>
            </a:p>
          </p:txBody>
        </p:sp>
        <p:sp>
          <p:nvSpPr>
            <p:cNvPr id="24" name="object 6">
              <a:extLst>
                <a:ext uri="{FF2B5EF4-FFF2-40B4-BE49-F238E27FC236}">
                  <a16:creationId xmlns:a16="http://schemas.microsoft.com/office/drawing/2014/main" id="{5658E3DE-4D80-E3F3-9EBE-7C75B09AA30F}"/>
                </a:ext>
              </a:extLst>
            </p:cNvPr>
            <p:cNvSpPr/>
            <p:nvPr/>
          </p:nvSpPr>
          <p:spPr>
            <a:xfrm>
              <a:off x="6613002" y="0"/>
              <a:ext cx="2077554" cy="995015"/>
            </a:xfrm>
            <a:custGeom>
              <a:avLst/>
              <a:gdLst/>
              <a:ahLst/>
              <a:cxnLst/>
              <a:rect l="l" t="t" r="r" b="b"/>
              <a:pathLst>
                <a:path w="2291079" h="1097280">
                  <a:moveTo>
                    <a:pt x="2291054" y="0"/>
                  </a:moveTo>
                  <a:lnTo>
                    <a:pt x="0" y="0"/>
                  </a:lnTo>
                  <a:lnTo>
                    <a:pt x="2904" y="46573"/>
                  </a:lnTo>
                  <a:lnTo>
                    <a:pt x="7841" y="93977"/>
                  </a:lnTo>
                  <a:lnTo>
                    <a:pt x="14684" y="140789"/>
                  </a:lnTo>
                  <a:lnTo>
                    <a:pt x="23392" y="186968"/>
                  </a:lnTo>
                  <a:lnTo>
                    <a:pt x="33926" y="232475"/>
                  </a:lnTo>
                  <a:lnTo>
                    <a:pt x="46247" y="277271"/>
                  </a:lnTo>
                  <a:lnTo>
                    <a:pt x="60314" y="321315"/>
                  </a:lnTo>
                  <a:lnTo>
                    <a:pt x="76088" y="364568"/>
                  </a:lnTo>
                  <a:lnTo>
                    <a:pt x="93529" y="406989"/>
                  </a:lnTo>
                  <a:lnTo>
                    <a:pt x="112597" y="448540"/>
                  </a:lnTo>
                  <a:lnTo>
                    <a:pt x="133252" y="489179"/>
                  </a:lnTo>
                  <a:lnTo>
                    <a:pt x="155455" y="528868"/>
                  </a:lnTo>
                  <a:lnTo>
                    <a:pt x="179165" y="567567"/>
                  </a:lnTo>
                  <a:lnTo>
                    <a:pt x="204343" y="605236"/>
                  </a:lnTo>
                  <a:lnTo>
                    <a:pt x="230950" y="641835"/>
                  </a:lnTo>
                  <a:lnTo>
                    <a:pt x="258945" y="677324"/>
                  </a:lnTo>
                  <a:lnTo>
                    <a:pt x="288288" y="711663"/>
                  </a:lnTo>
                  <a:lnTo>
                    <a:pt x="318940" y="744813"/>
                  </a:lnTo>
                  <a:lnTo>
                    <a:pt x="350861" y="776734"/>
                  </a:lnTo>
                  <a:lnTo>
                    <a:pt x="384011" y="807387"/>
                  </a:lnTo>
                  <a:lnTo>
                    <a:pt x="418351" y="836730"/>
                  </a:lnTo>
                  <a:lnTo>
                    <a:pt x="453840" y="864725"/>
                  </a:lnTo>
                  <a:lnTo>
                    <a:pt x="490439" y="891331"/>
                  </a:lnTo>
                  <a:lnTo>
                    <a:pt x="528107" y="916510"/>
                  </a:lnTo>
                  <a:lnTo>
                    <a:pt x="566806" y="940220"/>
                  </a:lnTo>
                  <a:lnTo>
                    <a:pt x="606495" y="962423"/>
                  </a:lnTo>
                  <a:lnTo>
                    <a:pt x="647135" y="983078"/>
                  </a:lnTo>
                  <a:lnTo>
                    <a:pt x="688686" y="1002146"/>
                  </a:lnTo>
                  <a:lnTo>
                    <a:pt x="731107" y="1019587"/>
                  </a:lnTo>
                  <a:lnTo>
                    <a:pt x="774360" y="1035361"/>
                  </a:lnTo>
                  <a:lnTo>
                    <a:pt x="818404" y="1049428"/>
                  </a:lnTo>
                  <a:lnTo>
                    <a:pt x="863199" y="1061748"/>
                  </a:lnTo>
                  <a:lnTo>
                    <a:pt x="908707" y="1072283"/>
                  </a:lnTo>
                  <a:lnTo>
                    <a:pt x="954886" y="1080991"/>
                  </a:lnTo>
                  <a:lnTo>
                    <a:pt x="1001697" y="1087834"/>
                  </a:lnTo>
                  <a:lnTo>
                    <a:pt x="1049101" y="1092770"/>
                  </a:lnTo>
                  <a:lnTo>
                    <a:pt x="1097058" y="1095761"/>
                  </a:lnTo>
                  <a:lnTo>
                    <a:pt x="1145527" y="1096767"/>
                  </a:lnTo>
                  <a:lnTo>
                    <a:pt x="1193996" y="1095761"/>
                  </a:lnTo>
                  <a:lnTo>
                    <a:pt x="1241952" y="1092770"/>
                  </a:lnTo>
                  <a:lnTo>
                    <a:pt x="1289356" y="1087834"/>
                  </a:lnTo>
                  <a:lnTo>
                    <a:pt x="1336168" y="1080991"/>
                  </a:lnTo>
                  <a:lnTo>
                    <a:pt x="1382347" y="1072283"/>
                  </a:lnTo>
                  <a:lnTo>
                    <a:pt x="1427854" y="1061748"/>
                  </a:lnTo>
                  <a:lnTo>
                    <a:pt x="1472650" y="1049428"/>
                  </a:lnTo>
                  <a:lnTo>
                    <a:pt x="1516694" y="1035361"/>
                  </a:lnTo>
                  <a:lnTo>
                    <a:pt x="1559947" y="1019587"/>
                  </a:lnTo>
                  <a:lnTo>
                    <a:pt x="1602368" y="1002146"/>
                  </a:lnTo>
                  <a:lnTo>
                    <a:pt x="1643919" y="983078"/>
                  </a:lnTo>
                  <a:lnTo>
                    <a:pt x="1684558" y="962423"/>
                  </a:lnTo>
                  <a:lnTo>
                    <a:pt x="1724248" y="940220"/>
                  </a:lnTo>
                  <a:lnTo>
                    <a:pt x="1762946" y="916510"/>
                  </a:lnTo>
                  <a:lnTo>
                    <a:pt x="1800615" y="891331"/>
                  </a:lnTo>
                  <a:lnTo>
                    <a:pt x="1837214" y="864725"/>
                  </a:lnTo>
                  <a:lnTo>
                    <a:pt x="1872703" y="836730"/>
                  </a:lnTo>
                  <a:lnTo>
                    <a:pt x="1907042" y="807387"/>
                  </a:lnTo>
                  <a:lnTo>
                    <a:pt x="1940193" y="776734"/>
                  </a:lnTo>
                  <a:lnTo>
                    <a:pt x="1972114" y="744813"/>
                  </a:lnTo>
                  <a:lnTo>
                    <a:pt x="2002766" y="711663"/>
                  </a:lnTo>
                  <a:lnTo>
                    <a:pt x="2032109" y="677324"/>
                  </a:lnTo>
                  <a:lnTo>
                    <a:pt x="2060104" y="641835"/>
                  </a:lnTo>
                  <a:lnTo>
                    <a:pt x="2086710" y="605236"/>
                  </a:lnTo>
                  <a:lnTo>
                    <a:pt x="2111889" y="567567"/>
                  </a:lnTo>
                  <a:lnTo>
                    <a:pt x="2135599" y="528868"/>
                  </a:lnTo>
                  <a:lnTo>
                    <a:pt x="2157802" y="489179"/>
                  </a:lnTo>
                  <a:lnTo>
                    <a:pt x="2178457" y="448540"/>
                  </a:lnTo>
                  <a:lnTo>
                    <a:pt x="2197525" y="406989"/>
                  </a:lnTo>
                  <a:lnTo>
                    <a:pt x="2214966" y="364568"/>
                  </a:lnTo>
                  <a:lnTo>
                    <a:pt x="2230740" y="321315"/>
                  </a:lnTo>
                  <a:lnTo>
                    <a:pt x="2244807" y="277271"/>
                  </a:lnTo>
                  <a:lnTo>
                    <a:pt x="2257128" y="232475"/>
                  </a:lnTo>
                  <a:lnTo>
                    <a:pt x="2267662" y="186968"/>
                  </a:lnTo>
                  <a:lnTo>
                    <a:pt x="2276370" y="140789"/>
                  </a:lnTo>
                  <a:lnTo>
                    <a:pt x="2283213" y="93977"/>
                  </a:lnTo>
                  <a:lnTo>
                    <a:pt x="2288149" y="46573"/>
                  </a:lnTo>
                  <a:lnTo>
                    <a:pt x="2291054" y="0"/>
                  </a:lnTo>
                  <a:close/>
                </a:path>
              </a:pathLst>
            </a:custGeom>
            <a:solidFill>
              <a:srgbClr val="00AFFF">
                <a:alpha val="23999"/>
              </a:srgbClr>
            </a:solidFill>
          </p:spPr>
          <p:txBody>
            <a:bodyPr wrap="square" lIns="0" tIns="0" rIns="0" bIns="0" rtlCol="0"/>
            <a:lstStyle/>
            <a:p>
              <a:endParaRPr/>
            </a:p>
          </p:txBody>
        </p:sp>
        <p:sp>
          <p:nvSpPr>
            <p:cNvPr id="25" name="object 7">
              <a:extLst>
                <a:ext uri="{FF2B5EF4-FFF2-40B4-BE49-F238E27FC236}">
                  <a16:creationId xmlns:a16="http://schemas.microsoft.com/office/drawing/2014/main" id="{591B4FBF-72FE-5A76-77F5-9B370934F24C}"/>
                </a:ext>
              </a:extLst>
            </p:cNvPr>
            <p:cNvSpPr/>
            <p:nvPr/>
          </p:nvSpPr>
          <p:spPr>
            <a:xfrm>
              <a:off x="9031060" y="1"/>
              <a:ext cx="1214402" cy="285030"/>
            </a:xfrm>
            <a:custGeom>
              <a:avLst/>
              <a:gdLst/>
              <a:ahLst/>
              <a:cxnLst/>
              <a:rect l="l" t="t" r="r" b="b"/>
              <a:pathLst>
                <a:path w="1339215" h="314325">
                  <a:moveTo>
                    <a:pt x="1338888" y="0"/>
                  </a:moveTo>
                  <a:lnTo>
                    <a:pt x="0" y="0"/>
                  </a:lnTo>
                  <a:lnTo>
                    <a:pt x="22830" y="26611"/>
                  </a:lnTo>
                  <a:lnTo>
                    <a:pt x="53542" y="58927"/>
                  </a:lnTo>
                  <a:lnTo>
                    <a:pt x="85857" y="89639"/>
                  </a:lnTo>
                  <a:lnTo>
                    <a:pt x="119709" y="118680"/>
                  </a:lnTo>
                  <a:lnTo>
                    <a:pt x="155032" y="145986"/>
                  </a:lnTo>
                  <a:lnTo>
                    <a:pt x="191759" y="171489"/>
                  </a:lnTo>
                  <a:lnTo>
                    <a:pt x="229825" y="195122"/>
                  </a:lnTo>
                  <a:lnTo>
                    <a:pt x="269161" y="216820"/>
                  </a:lnTo>
                  <a:lnTo>
                    <a:pt x="309703" y="236516"/>
                  </a:lnTo>
                  <a:lnTo>
                    <a:pt x="351383" y="254144"/>
                  </a:lnTo>
                  <a:lnTo>
                    <a:pt x="394135" y="269636"/>
                  </a:lnTo>
                  <a:lnTo>
                    <a:pt x="437893" y="282928"/>
                  </a:lnTo>
                  <a:lnTo>
                    <a:pt x="482590" y="293951"/>
                  </a:lnTo>
                  <a:lnTo>
                    <a:pt x="528160" y="302641"/>
                  </a:lnTo>
                  <a:lnTo>
                    <a:pt x="574537" y="308930"/>
                  </a:lnTo>
                  <a:lnTo>
                    <a:pt x="621654" y="312752"/>
                  </a:lnTo>
                  <a:lnTo>
                    <a:pt x="669444" y="314041"/>
                  </a:lnTo>
                  <a:lnTo>
                    <a:pt x="717234" y="312752"/>
                  </a:lnTo>
                  <a:lnTo>
                    <a:pt x="764351" y="308930"/>
                  </a:lnTo>
                  <a:lnTo>
                    <a:pt x="810728" y="302641"/>
                  </a:lnTo>
                  <a:lnTo>
                    <a:pt x="856298" y="293951"/>
                  </a:lnTo>
                  <a:lnTo>
                    <a:pt x="900995" y="282928"/>
                  </a:lnTo>
                  <a:lnTo>
                    <a:pt x="944753" y="269636"/>
                  </a:lnTo>
                  <a:lnTo>
                    <a:pt x="987505" y="254144"/>
                  </a:lnTo>
                  <a:lnTo>
                    <a:pt x="1029185" y="236516"/>
                  </a:lnTo>
                  <a:lnTo>
                    <a:pt x="1069727" y="216820"/>
                  </a:lnTo>
                  <a:lnTo>
                    <a:pt x="1109063" y="195122"/>
                  </a:lnTo>
                  <a:lnTo>
                    <a:pt x="1147129" y="171489"/>
                  </a:lnTo>
                  <a:lnTo>
                    <a:pt x="1183856" y="145986"/>
                  </a:lnTo>
                  <a:lnTo>
                    <a:pt x="1219179" y="118680"/>
                  </a:lnTo>
                  <a:lnTo>
                    <a:pt x="1253031" y="89639"/>
                  </a:lnTo>
                  <a:lnTo>
                    <a:pt x="1285346" y="58927"/>
                  </a:lnTo>
                  <a:lnTo>
                    <a:pt x="1316058" y="26611"/>
                  </a:lnTo>
                  <a:lnTo>
                    <a:pt x="1338888" y="0"/>
                  </a:lnTo>
                  <a:close/>
                </a:path>
              </a:pathLst>
            </a:custGeom>
            <a:solidFill>
              <a:srgbClr val="00AFFF">
                <a:alpha val="23999"/>
              </a:srgbClr>
            </a:solidFill>
          </p:spPr>
          <p:txBody>
            <a:bodyPr wrap="square" lIns="0" tIns="0" rIns="0" bIns="0" rtlCol="0"/>
            <a:lstStyle/>
            <a:p>
              <a:endParaRPr/>
            </a:p>
          </p:txBody>
        </p:sp>
        <p:sp>
          <p:nvSpPr>
            <p:cNvPr id="26" name="object 8">
              <a:extLst>
                <a:ext uri="{FF2B5EF4-FFF2-40B4-BE49-F238E27FC236}">
                  <a16:creationId xmlns:a16="http://schemas.microsoft.com/office/drawing/2014/main" id="{A151A684-DA1D-804F-5426-4B4A7A6B4C86}"/>
                </a:ext>
              </a:extLst>
            </p:cNvPr>
            <p:cNvSpPr/>
            <p:nvPr/>
          </p:nvSpPr>
          <p:spPr>
            <a:xfrm>
              <a:off x="9389760" y="472058"/>
              <a:ext cx="726683" cy="726683"/>
            </a:xfrm>
            <a:custGeom>
              <a:avLst/>
              <a:gdLst/>
              <a:ahLst/>
              <a:cxnLst/>
              <a:rect l="l" t="t" r="r" b="b"/>
              <a:pathLst>
                <a:path w="801370" h="801369">
                  <a:moveTo>
                    <a:pt x="400672" y="0"/>
                  </a:moveTo>
                  <a:lnTo>
                    <a:pt x="353945" y="2695"/>
                  </a:lnTo>
                  <a:lnTo>
                    <a:pt x="308801" y="10582"/>
                  </a:lnTo>
                  <a:lnTo>
                    <a:pt x="265542" y="23358"/>
                  </a:lnTo>
                  <a:lnTo>
                    <a:pt x="224466" y="40724"/>
                  </a:lnTo>
                  <a:lnTo>
                    <a:pt x="185876" y="62379"/>
                  </a:lnTo>
                  <a:lnTo>
                    <a:pt x="150072" y="88023"/>
                  </a:lnTo>
                  <a:lnTo>
                    <a:pt x="117354" y="117354"/>
                  </a:lnTo>
                  <a:lnTo>
                    <a:pt x="88023" y="150072"/>
                  </a:lnTo>
                  <a:lnTo>
                    <a:pt x="62379" y="185876"/>
                  </a:lnTo>
                  <a:lnTo>
                    <a:pt x="40724" y="224466"/>
                  </a:lnTo>
                  <a:lnTo>
                    <a:pt x="23358" y="265542"/>
                  </a:lnTo>
                  <a:lnTo>
                    <a:pt x="10582" y="308801"/>
                  </a:lnTo>
                  <a:lnTo>
                    <a:pt x="2695" y="353945"/>
                  </a:lnTo>
                  <a:lnTo>
                    <a:pt x="0" y="400672"/>
                  </a:lnTo>
                  <a:lnTo>
                    <a:pt x="2695" y="447396"/>
                  </a:lnTo>
                  <a:lnTo>
                    <a:pt x="10582" y="492537"/>
                  </a:lnTo>
                  <a:lnTo>
                    <a:pt x="23358" y="535795"/>
                  </a:lnTo>
                  <a:lnTo>
                    <a:pt x="40724" y="576869"/>
                  </a:lnTo>
                  <a:lnTo>
                    <a:pt x="62379" y="615458"/>
                  </a:lnTo>
                  <a:lnTo>
                    <a:pt x="88023" y="651261"/>
                  </a:lnTo>
                  <a:lnTo>
                    <a:pt x="117354" y="683979"/>
                  </a:lnTo>
                  <a:lnTo>
                    <a:pt x="150072" y="713309"/>
                  </a:lnTo>
                  <a:lnTo>
                    <a:pt x="185876" y="738952"/>
                  </a:lnTo>
                  <a:lnTo>
                    <a:pt x="224466" y="760607"/>
                  </a:lnTo>
                  <a:lnTo>
                    <a:pt x="265542" y="777973"/>
                  </a:lnTo>
                  <a:lnTo>
                    <a:pt x="308801" y="790749"/>
                  </a:lnTo>
                  <a:lnTo>
                    <a:pt x="353945" y="798636"/>
                  </a:lnTo>
                  <a:lnTo>
                    <a:pt x="400672" y="801331"/>
                  </a:lnTo>
                  <a:lnTo>
                    <a:pt x="447399" y="798636"/>
                  </a:lnTo>
                  <a:lnTo>
                    <a:pt x="492542" y="790749"/>
                  </a:lnTo>
                  <a:lnTo>
                    <a:pt x="535802" y="777973"/>
                  </a:lnTo>
                  <a:lnTo>
                    <a:pt x="576877" y="760607"/>
                  </a:lnTo>
                  <a:lnTo>
                    <a:pt x="615467" y="738952"/>
                  </a:lnTo>
                  <a:lnTo>
                    <a:pt x="651272" y="713309"/>
                  </a:lnTo>
                  <a:lnTo>
                    <a:pt x="683990" y="683979"/>
                  </a:lnTo>
                  <a:lnTo>
                    <a:pt x="713321" y="651261"/>
                  </a:lnTo>
                  <a:lnTo>
                    <a:pt x="738964" y="615458"/>
                  </a:lnTo>
                  <a:lnTo>
                    <a:pt x="760619" y="576869"/>
                  </a:lnTo>
                  <a:lnTo>
                    <a:pt x="777985" y="535795"/>
                  </a:lnTo>
                  <a:lnTo>
                    <a:pt x="790762" y="492537"/>
                  </a:lnTo>
                  <a:lnTo>
                    <a:pt x="798648" y="447396"/>
                  </a:lnTo>
                  <a:lnTo>
                    <a:pt x="801344" y="400672"/>
                  </a:lnTo>
                  <a:lnTo>
                    <a:pt x="798648" y="353945"/>
                  </a:lnTo>
                  <a:lnTo>
                    <a:pt x="790762" y="308801"/>
                  </a:lnTo>
                  <a:lnTo>
                    <a:pt x="777985" y="265542"/>
                  </a:lnTo>
                  <a:lnTo>
                    <a:pt x="760619" y="224466"/>
                  </a:lnTo>
                  <a:lnTo>
                    <a:pt x="738964" y="185876"/>
                  </a:lnTo>
                  <a:lnTo>
                    <a:pt x="713321" y="150072"/>
                  </a:lnTo>
                  <a:lnTo>
                    <a:pt x="683990" y="117354"/>
                  </a:lnTo>
                  <a:lnTo>
                    <a:pt x="651272" y="88023"/>
                  </a:lnTo>
                  <a:lnTo>
                    <a:pt x="615467" y="62379"/>
                  </a:lnTo>
                  <a:lnTo>
                    <a:pt x="576877" y="40724"/>
                  </a:lnTo>
                  <a:lnTo>
                    <a:pt x="535802" y="23358"/>
                  </a:lnTo>
                  <a:lnTo>
                    <a:pt x="492542" y="10582"/>
                  </a:lnTo>
                  <a:lnTo>
                    <a:pt x="447399" y="2695"/>
                  </a:lnTo>
                  <a:lnTo>
                    <a:pt x="400672" y="0"/>
                  </a:lnTo>
                  <a:close/>
                </a:path>
              </a:pathLst>
            </a:custGeom>
            <a:solidFill>
              <a:srgbClr val="00AFFF">
                <a:alpha val="23999"/>
              </a:srgbClr>
            </a:solidFill>
          </p:spPr>
          <p:txBody>
            <a:bodyPr wrap="square" lIns="0" tIns="0" rIns="0" bIns="0" rtlCol="0"/>
            <a:lstStyle/>
            <a:p>
              <a:endParaRPr/>
            </a:p>
          </p:txBody>
        </p:sp>
      </p:grpSp>
      <p:sp>
        <p:nvSpPr>
          <p:cNvPr id="2" name="Picture Placeholder 2">
            <a:extLst>
              <a:ext uri="{FF2B5EF4-FFF2-40B4-BE49-F238E27FC236}">
                <a16:creationId xmlns:a16="http://schemas.microsoft.com/office/drawing/2014/main" id="{06A941DA-EEFE-1DF4-35CF-14C8B0F4F254}"/>
              </a:ext>
            </a:extLst>
          </p:cNvPr>
          <p:cNvSpPr>
            <a:spLocks noGrp="1"/>
          </p:cNvSpPr>
          <p:nvPr>
            <p:ph type="pic" idx="10"/>
          </p:nvPr>
        </p:nvSpPr>
        <p:spPr>
          <a:xfrm>
            <a:off x="-1635760" y="-683147"/>
            <a:ext cx="7573873" cy="7212597"/>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2">
            <a:extLst>
              <a:ext uri="{FF2B5EF4-FFF2-40B4-BE49-F238E27FC236}">
                <a16:creationId xmlns:a16="http://schemas.microsoft.com/office/drawing/2014/main" id="{318BAC3E-9C24-5719-CA3D-F7A0323717E8}"/>
              </a:ext>
            </a:extLst>
          </p:cNvPr>
          <p:cNvSpPr>
            <a:spLocks noGrp="1"/>
          </p:cNvSpPr>
          <p:nvPr>
            <p:ph type="body" idx="1"/>
          </p:nvPr>
        </p:nvSpPr>
        <p:spPr>
          <a:xfrm>
            <a:off x="6323724" y="2103120"/>
            <a:ext cx="5634596" cy="3637280"/>
          </a:xfrm>
        </p:spPr>
        <p:txBody>
          <a:bodyPr>
            <a:normAutofit/>
          </a:bodyPr>
          <a:lstStyle>
            <a:lvl1pPr marL="0" indent="0" algn="l">
              <a:lnSpc>
                <a:spcPct val="100000"/>
              </a:lnSpc>
              <a:buNone/>
              <a:defRPr sz="2000">
                <a:solidFill>
                  <a:schemeClr val="accent3"/>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Title 1">
            <a:extLst>
              <a:ext uri="{FF2B5EF4-FFF2-40B4-BE49-F238E27FC236}">
                <a16:creationId xmlns:a16="http://schemas.microsoft.com/office/drawing/2014/main" id="{759A3552-8D5D-6609-37CC-BB86F389BE47}"/>
              </a:ext>
            </a:extLst>
          </p:cNvPr>
          <p:cNvSpPr>
            <a:spLocks noGrp="1"/>
          </p:cNvSpPr>
          <p:nvPr>
            <p:ph type="title"/>
          </p:nvPr>
        </p:nvSpPr>
        <p:spPr>
          <a:xfrm>
            <a:off x="6350001" y="771525"/>
            <a:ext cx="5709919" cy="1325563"/>
          </a:xfrm>
        </p:spPr>
        <p:txBody>
          <a:bodyPr>
            <a:normAutofit/>
          </a:bodyPr>
          <a:lstStyle>
            <a:lvl1pPr>
              <a:defRPr sz="2800" b="1">
                <a:solidFill>
                  <a:schemeClr val="accent3"/>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61260050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3_Section Header">
    <p:spTree>
      <p:nvGrpSpPr>
        <p:cNvPr id="1" name=""/>
        <p:cNvGrpSpPr/>
        <p:nvPr/>
      </p:nvGrpSpPr>
      <p:grpSpPr>
        <a:xfrm>
          <a:off x="0" y="0"/>
          <a:ext cx="0" cy="0"/>
          <a:chOff x="0" y="0"/>
          <a:chExt cx="0" cy="0"/>
        </a:xfrm>
      </p:grpSpPr>
      <p:sp>
        <p:nvSpPr>
          <p:cNvPr id="16" name="object 7">
            <a:extLst>
              <a:ext uri="{FF2B5EF4-FFF2-40B4-BE49-F238E27FC236}">
                <a16:creationId xmlns:a16="http://schemas.microsoft.com/office/drawing/2014/main" id="{C5CC3C5B-20F5-EDF1-6350-FE204957F054}"/>
              </a:ext>
            </a:extLst>
          </p:cNvPr>
          <p:cNvSpPr/>
          <p:nvPr/>
        </p:nvSpPr>
        <p:spPr>
          <a:xfrm>
            <a:off x="15163" y="2303"/>
            <a:ext cx="12271379" cy="6908925"/>
          </a:xfrm>
          <a:custGeom>
            <a:avLst/>
            <a:gdLst/>
            <a:ahLst/>
            <a:cxnLst/>
            <a:rect l="l" t="t" r="r" b="b"/>
            <a:pathLst>
              <a:path w="13428344" h="7560309">
                <a:moveTo>
                  <a:pt x="226669" y="6831254"/>
                </a:moveTo>
                <a:lnTo>
                  <a:pt x="223977" y="6784530"/>
                </a:lnTo>
                <a:lnTo>
                  <a:pt x="216090" y="6739382"/>
                </a:lnTo>
                <a:lnTo>
                  <a:pt x="203314" y="6696126"/>
                </a:lnTo>
                <a:lnTo>
                  <a:pt x="185940" y="6655054"/>
                </a:lnTo>
                <a:lnTo>
                  <a:pt x="164287" y="6616459"/>
                </a:lnTo>
                <a:lnTo>
                  <a:pt x="138645" y="6580657"/>
                </a:lnTo>
                <a:lnTo>
                  <a:pt x="109308" y="6547929"/>
                </a:lnTo>
                <a:lnTo>
                  <a:pt x="76593" y="6518605"/>
                </a:lnTo>
                <a:lnTo>
                  <a:pt x="40792" y="6492964"/>
                </a:lnTo>
                <a:lnTo>
                  <a:pt x="2197" y="6471310"/>
                </a:lnTo>
                <a:lnTo>
                  <a:pt x="0" y="6470370"/>
                </a:lnTo>
                <a:lnTo>
                  <a:pt x="0" y="7192124"/>
                </a:lnTo>
                <a:lnTo>
                  <a:pt x="40792" y="7169531"/>
                </a:lnTo>
                <a:lnTo>
                  <a:pt x="76593" y="7143890"/>
                </a:lnTo>
                <a:lnTo>
                  <a:pt x="109308" y="7114565"/>
                </a:lnTo>
                <a:lnTo>
                  <a:pt x="138645" y="7081837"/>
                </a:lnTo>
                <a:lnTo>
                  <a:pt x="164287" y="7046036"/>
                </a:lnTo>
                <a:lnTo>
                  <a:pt x="185940" y="7007453"/>
                </a:lnTo>
                <a:lnTo>
                  <a:pt x="203314" y="6966382"/>
                </a:lnTo>
                <a:lnTo>
                  <a:pt x="216090" y="6923125"/>
                </a:lnTo>
                <a:lnTo>
                  <a:pt x="223977" y="6877977"/>
                </a:lnTo>
                <a:lnTo>
                  <a:pt x="226669" y="6831254"/>
                </a:lnTo>
                <a:close/>
              </a:path>
              <a:path w="13428344" h="7560309">
                <a:moveTo>
                  <a:pt x="570217" y="5353024"/>
                </a:moveTo>
                <a:lnTo>
                  <a:pt x="568934" y="5305234"/>
                </a:lnTo>
                <a:lnTo>
                  <a:pt x="565111" y="5258117"/>
                </a:lnTo>
                <a:lnTo>
                  <a:pt x="558812" y="5211737"/>
                </a:lnTo>
                <a:lnTo>
                  <a:pt x="550125" y="5166169"/>
                </a:lnTo>
                <a:lnTo>
                  <a:pt x="539102" y="5121478"/>
                </a:lnTo>
                <a:lnTo>
                  <a:pt x="525818" y="5077714"/>
                </a:lnTo>
                <a:lnTo>
                  <a:pt x="510324" y="5034966"/>
                </a:lnTo>
                <a:lnTo>
                  <a:pt x="492696" y="4993284"/>
                </a:lnTo>
                <a:lnTo>
                  <a:pt x="472998" y="4952746"/>
                </a:lnTo>
                <a:lnTo>
                  <a:pt x="451294" y="4913401"/>
                </a:lnTo>
                <a:lnTo>
                  <a:pt x="427659" y="4875339"/>
                </a:lnTo>
                <a:lnTo>
                  <a:pt x="402158" y="4838611"/>
                </a:lnTo>
                <a:lnTo>
                  <a:pt x="374853" y="4803292"/>
                </a:lnTo>
                <a:lnTo>
                  <a:pt x="345821" y="4769434"/>
                </a:lnTo>
                <a:lnTo>
                  <a:pt x="315099" y="4737125"/>
                </a:lnTo>
                <a:lnTo>
                  <a:pt x="282790" y="4706417"/>
                </a:lnTo>
                <a:lnTo>
                  <a:pt x="248932" y="4677372"/>
                </a:lnTo>
                <a:lnTo>
                  <a:pt x="213614" y="4650067"/>
                </a:lnTo>
                <a:lnTo>
                  <a:pt x="176885" y="4624565"/>
                </a:lnTo>
                <a:lnTo>
                  <a:pt x="138823" y="4600930"/>
                </a:lnTo>
                <a:lnTo>
                  <a:pt x="99479" y="4579226"/>
                </a:lnTo>
                <a:lnTo>
                  <a:pt x="58940" y="4559541"/>
                </a:lnTo>
                <a:lnTo>
                  <a:pt x="17259" y="4541913"/>
                </a:lnTo>
                <a:lnTo>
                  <a:pt x="0" y="4535652"/>
                </a:lnTo>
                <a:lnTo>
                  <a:pt x="0" y="6170409"/>
                </a:lnTo>
                <a:lnTo>
                  <a:pt x="58940" y="6146520"/>
                </a:lnTo>
                <a:lnTo>
                  <a:pt x="99479" y="6126823"/>
                </a:lnTo>
                <a:lnTo>
                  <a:pt x="138823" y="6105118"/>
                </a:lnTo>
                <a:lnTo>
                  <a:pt x="176885" y="6081496"/>
                </a:lnTo>
                <a:lnTo>
                  <a:pt x="213614" y="6055982"/>
                </a:lnTo>
                <a:lnTo>
                  <a:pt x="248932" y="6028677"/>
                </a:lnTo>
                <a:lnTo>
                  <a:pt x="282790" y="5999645"/>
                </a:lnTo>
                <a:lnTo>
                  <a:pt x="315099" y="5968924"/>
                </a:lnTo>
                <a:lnTo>
                  <a:pt x="345821" y="5936615"/>
                </a:lnTo>
                <a:lnTo>
                  <a:pt x="374853" y="5902757"/>
                </a:lnTo>
                <a:lnTo>
                  <a:pt x="402158" y="5867438"/>
                </a:lnTo>
                <a:lnTo>
                  <a:pt x="427659" y="5830709"/>
                </a:lnTo>
                <a:lnTo>
                  <a:pt x="451294" y="5792648"/>
                </a:lnTo>
                <a:lnTo>
                  <a:pt x="472998" y="5753316"/>
                </a:lnTo>
                <a:lnTo>
                  <a:pt x="492696" y="5712765"/>
                </a:lnTo>
                <a:lnTo>
                  <a:pt x="510324" y="5671083"/>
                </a:lnTo>
                <a:lnTo>
                  <a:pt x="525818" y="5628335"/>
                </a:lnTo>
                <a:lnTo>
                  <a:pt x="539102" y="5584583"/>
                </a:lnTo>
                <a:lnTo>
                  <a:pt x="550125" y="5539879"/>
                </a:lnTo>
                <a:lnTo>
                  <a:pt x="558812" y="5494312"/>
                </a:lnTo>
                <a:lnTo>
                  <a:pt x="565111" y="5447931"/>
                </a:lnTo>
                <a:lnTo>
                  <a:pt x="568934" y="5400814"/>
                </a:lnTo>
                <a:lnTo>
                  <a:pt x="570217" y="5353024"/>
                </a:lnTo>
                <a:close/>
              </a:path>
              <a:path w="13428344" h="7560309">
                <a:moveTo>
                  <a:pt x="2835325" y="6635394"/>
                </a:moveTo>
                <a:lnTo>
                  <a:pt x="2834322" y="6586918"/>
                </a:lnTo>
                <a:lnTo>
                  <a:pt x="2831325" y="6538963"/>
                </a:lnTo>
                <a:lnTo>
                  <a:pt x="2826397" y="6491567"/>
                </a:lnTo>
                <a:lnTo>
                  <a:pt x="2819552" y="6444755"/>
                </a:lnTo>
                <a:lnTo>
                  <a:pt x="2810840" y="6398565"/>
                </a:lnTo>
                <a:lnTo>
                  <a:pt x="2800312" y="6353061"/>
                </a:lnTo>
                <a:lnTo>
                  <a:pt x="2787980" y="6308268"/>
                </a:lnTo>
                <a:lnTo>
                  <a:pt x="2773921" y="6264224"/>
                </a:lnTo>
                <a:lnTo>
                  <a:pt x="2758148" y="6220968"/>
                </a:lnTo>
                <a:lnTo>
                  <a:pt x="2740698" y="6178550"/>
                </a:lnTo>
                <a:lnTo>
                  <a:pt x="2721635" y="6136995"/>
                </a:lnTo>
                <a:lnTo>
                  <a:pt x="2700985" y="6096355"/>
                </a:lnTo>
                <a:lnTo>
                  <a:pt x="2678773" y="6056668"/>
                </a:lnTo>
                <a:lnTo>
                  <a:pt x="2655062" y="6017971"/>
                </a:lnTo>
                <a:lnTo>
                  <a:pt x="2629890" y="5980303"/>
                </a:lnTo>
                <a:lnTo>
                  <a:pt x="2603284" y="5943701"/>
                </a:lnTo>
                <a:lnTo>
                  <a:pt x="2575293" y="5908218"/>
                </a:lnTo>
                <a:lnTo>
                  <a:pt x="2545943" y="5873877"/>
                </a:lnTo>
                <a:lnTo>
                  <a:pt x="2515298" y="5840730"/>
                </a:lnTo>
                <a:lnTo>
                  <a:pt x="2483370" y="5808802"/>
                </a:lnTo>
                <a:lnTo>
                  <a:pt x="2450223" y="5778157"/>
                </a:lnTo>
                <a:lnTo>
                  <a:pt x="2415883" y="5748807"/>
                </a:lnTo>
                <a:lnTo>
                  <a:pt x="2380399" y="5720816"/>
                </a:lnTo>
                <a:lnTo>
                  <a:pt x="2343797" y="5694210"/>
                </a:lnTo>
                <a:lnTo>
                  <a:pt x="2306129" y="5669026"/>
                </a:lnTo>
                <a:lnTo>
                  <a:pt x="2267432" y="5645315"/>
                </a:lnTo>
                <a:lnTo>
                  <a:pt x="2227732" y="5623115"/>
                </a:lnTo>
                <a:lnTo>
                  <a:pt x="2187092" y="5602465"/>
                </a:lnTo>
                <a:lnTo>
                  <a:pt x="2145550" y="5583390"/>
                </a:lnTo>
                <a:lnTo>
                  <a:pt x="2103120" y="5565953"/>
                </a:lnTo>
                <a:lnTo>
                  <a:pt x="2059876" y="5550179"/>
                </a:lnTo>
                <a:lnTo>
                  <a:pt x="2015832" y="5536108"/>
                </a:lnTo>
                <a:lnTo>
                  <a:pt x="1971040" y="5523789"/>
                </a:lnTo>
                <a:lnTo>
                  <a:pt x="1925523" y="5513260"/>
                </a:lnTo>
                <a:lnTo>
                  <a:pt x="1879346" y="5504548"/>
                </a:lnTo>
                <a:lnTo>
                  <a:pt x="1832533" y="5497703"/>
                </a:lnTo>
                <a:lnTo>
                  <a:pt x="1785137" y="5492762"/>
                </a:lnTo>
                <a:lnTo>
                  <a:pt x="1737169" y="5489778"/>
                </a:lnTo>
                <a:lnTo>
                  <a:pt x="1688706" y="5488775"/>
                </a:lnTo>
                <a:lnTo>
                  <a:pt x="1640243" y="5489778"/>
                </a:lnTo>
                <a:lnTo>
                  <a:pt x="1592275" y="5492762"/>
                </a:lnTo>
                <a:lnTo>
                  <a:pt x="1544878" y="5497703"/>
                </a:lnTo>
                <a:lnTo>
                  <a:pt x="1498066" y="5504548"/>
                </a:lnTo>
                <a:lnTo>
                  <a:pt x="1451889" y="5513260"/>
                </a:lnTo>
                <a:lnTo>
                  <a:pt x="1406372" y="5523789"/>
                </a:lnTo>
                <a:lnTo>
                  <a:pt x="1361579" y="5536108"/>
                </a:lnTo>
                <a:lnTo>
                  <a:pt x="1317536" y="5550179"/>
                </a:lnTo>
                <a:lnTo>
                  <a:pt x="1274292" y="5565953"/>
                </a:lnTo>
                <a:lnTo>
                  <a:pt x="1231861" y="5583390"/>
                </a:lnTo>
                <a:lnTo>
                  <a:pt x="1190320" y="5602465"/>
                </a:lnTo>
                <a:lnTo>
                  <a:pt x="1149680" y="5623115"/>
                </a:lnTo>
                <a:lnTo>
                  <a:pt x="1109980" y="5645315"/>
                </a:lnTo>
                <a:lnTo>
                  <a:pt x="1071283" y="5669026"/>
                </a:lnTo>
                <a:lnTo>
                  <a:pt x="1033614" y="5694210"/>
                </a:lnTo>
                <a:lnTo>
                  <a:pt x="997013" y="5720816"/>
                </a:lnTo>
                <a:lnTo>
                  <a:pt x="961529" y="5748807"/>
                </a:lnTo>
                <a:lnTo>
                  <a:pt x="927188" y="5778157"/>
                </a:lnTo>
                <a:lnTo>
                  <a:pt x="894041" y="5808802"/>
                </a:lnTo>
                <a:lnTo>
                  <a:pt x="862114" y="5840730"/>
                </a:lnTo>
                <a:lnTo>
                  <a:pt x="831469" y="5873877"/>
                </a:lnTo>
                <a:lnTo>
                  <a:pt x="802119" y="5908218"/>
                </a:lnTo>
                <a:lnTo>
                  <a:pt x="774128" y="5943701"/>
                </a:lnTo>
                <a:lnTo>
                  <a:pt x="747522" y="5980303"/>
                </a:lnTo>
                <a:lnTo>
                  <a:pt x="722350" y="6017971"/>
                </a:lnTo>
                <a:lnTo>
                  <a:pt x="698639" y="6056668"/>
                </a:lnTo>
                <a:lnTo>
                  <a:pt x="676427" y="6096355"/>
                </a:lnTo>
                <a:lnTo>
                  <a:pt x="655777" y="6136995"/>
                </a:lnTo>
                <a:lnTo>
                  <a:pt x="636714" y="6178550"/>
                </a:lnTo>
                <a:lnTo>
                  <a:pt x="619264" y="6220968"/>
                </a:lnTo>
                <a:lnTo>
                  <a:pt x="603491" y="6264224"/>
                </a:lnTo>
                <a:lnTo>
                  <a:pt x="589432" y="6308268"/>
                </a:lnTo>
                <a:lnTo>
                  <a:pt x="577100" y="6353061"/>
                </a:lnTo>
                <a:lnTo>
                  <a:pt x="566572" y="6398565"/>
                </a:lnTo>
                <a:lnTo>
                  <a:pt x="557860" y="6444755"/>
                </a:lnTo>
                <a:lnTo>
                  <a:pt x="551014" y="6491567"/>
                </a:lnTo>
                <a:lnTo>
                  <a:pt x="546087" y="6538963"/>
                </a:lnTo>
                <a:lnTo>
                  <a:pt x="543090" y="6586918"/>
                </a:lnTo>
                <a:lnTo>
                  <a:pt x="542086" y="6635394"/>
                </a:lnTo>
                <a:lnTo>
                  <a:pt x="543090" y="6683857"/>
                </a:lnTo>
                <a:lnTo>
                  <a:pt x="546087" y="6731813"/>
                </a:lnTo>
                <a:lnTo>
                  <a:pt x="551014" y="6779222"/>
                </a:lnTo>
                <a:lnTo>
                  <a:pt x="557860" y="6826034"/>
                </a:lnTo>
                <a:lnTo>
                  <a:pt x="566572" y="6872211"/>
                </a:lnTo>
                <a:lnTo>
                  <a:pt x="577100" y="6917715"/>
                </a:lnTo>
                <a:lnTo>
                  <a:pt x="589432" y="6962508"/>
                </a:lnTo>
                <a:lnTo>
                  <a:pt x="603491" y="7006552"/>
                </a:lnTo>
                <a:lnTo>
                  <a:pt x="619264" y="7049808"/>
                </a:lnTo>
                <a:lnTo>
                  <a:pt x="636714" y="7092226"/>
                </a:lnTo>
                <a:lnTo>
                  <a:pt x="655777" y="7133780"/>
                </a:lnTo>
                <a:lnTo>
                  <a:pt x="676427" y="7174420"/>
                </a:lnTo>
                <a:lnTo>
                  <a:pt x="698639" y="7214108"/>
                </a:lnTo>
                <a:lnTo>
                  <a:pt x="722350" y="7252805"/>
                </a:lnTo>
                <a:lnTo>
                  <a:pt x="747522" y="7290473"/>
                </a:lnTo>
                <a:lnTo>
                  <a:pt x="774128" y="7327074"/>
                </a:lnTo>
                <a:lnTo>
                  <a:pt x="802119" y="7362571"/>
                </a:lnTo>
                <a:lnTo>
                  <a:pt x="831469" y="7396912"/>
                </a:lnTo>
                <a:lnTo>
                  <a:pt x="862114" y="7430059"/>
                </a:lnTo>
                <a:lnTo>
                  <a:pt x="894041" y="7461974"/>
                </a:lnTo>
                <a:lnTo>
                  <a:pt x="927188" y="7492632"/>
                </a:lnTo>
                <a:lnTo>
                  <a:pt x="961529" y="7521969"/>
                </a:lnTo>
                <a:lnTo>
                  <a:pt x="997013" y="7549972"/>
                </a:lnTo>
                <a:lnTo>
                  <a:pt x="1010831" y="7560005"/>
                </a:lnTo>
                <a:lnTo>
                  <a:pt x="2366581" y="7560005"/>
                </a:lnTo>
                <a:lnTo>
                  <a:pt x="2415883" y="7521969"/>
                </a:lnTo>
                <a:lnTo>
                  <a:pt x="2450223" y="7492632"/>
                </a:lnTo>
                <a:lnTo>
                  <a:pt x="2483370" y="7461974"/>
                </a:lnTo>
                <a:lnTo>
                  <a:pt x="2515298" y="7430059"/>
                </a:lnTo>
                <a:lnTo>
                  <a:pt x="2545943" y="7396912"/>
                </a:lnTo>
                <a:lnTo>
                  <a:pt x="2575293" y="7362571"/>
                </a:lnTo>
                <a:lnTo>
                  <a:pt x="2603284" y="7327074"/>
                </a:lnTo>
                <a:lnTo>
                  <a:pt x="2629890" y="7290473"/>
                </a:lnTo>
                <a:lnTo>
                  <a:pt x="2655062" y="7252805"/>
                </a:lnTo>
                <a:lnTo>
                  <a:pt x="2678773" y="7214108"/>
                </a:lnTo>
                <a:lnTo>
                  <a:pt x="2700985" y="7174420"/>
                </a:lnTo>
                <a:lnTo>
                  <a:pt x="2721635" y="7133780"/>
                </a:lnTo>
                <a:lnTo>
                  <a:pt x="2740698" y="7092226"/>
                </a:lnTo>
                <a:lnTo>
                  <a:pt x="2758148" y="7049808"/>
                </a:lnTo>
                <a:lnTo>
                  <a:pt x="2773921" y="7006552"/>
                </a:lnTo>
                <a:lnTo>
                  <a:pt x="2787980" y="6962508"/>
                </a:lnTo>
                <a:lnTo>
                  <a:pt x="2800312" y="6917715"/>
                </a:lnTo>
                <a:lnTo>
                  <a:pt x="2810840" y="6872211"/>
                </a:lnTo>
                <a:lnTo>
                  <a:pt x="2819552" y="6826034"/>
                </a:lnTo>
                <a:lnTo>
                  <a:pt x="2826397" y="6779222"/>
                </a:lnTo>
                <a:lnTo>
                  <a:pt x="2831325" y="6731813"/>
                </a:lnTo>
                <a:lnTo>
                  <a:pt x="2834322" y="6683857"/>
                </a:lnTo>
                <a:lnTo>
                  <a:pt x="2835325" y="6635394"/>
                </a:lnTo>
                <a:close/>
              </a:path>
              <a:path w="13428344" h="7560309">
                <a:moveTo>
                  <a:pt x="2872587" y="5132197"/>
                </a:moveTo>
                <a:lnTo>
                  <a:pt x="2869895" y="5085473"/>
                </a:lnTo>
                <a:lnTo>
                  <a:pt x="2862008" y="5040338"/>
                </a:lnTo>
                <a:lnTo>
                  <a:pt x="2849232" y="4997069"/>
                </a:lnTo>
                <a:lnTo>
                  <a:pt x="2831858" y="4955997"/>
                </a:lnTo>
                <a:lnTo>
                  <a:pt x="2810205" y="4917402"/>
                </a:lnTo>
                <a:lnTo>
                  <a:pt x="2784564" y="4881600"/>
                </a:lnTo>
                <a:lnTo>
                  <a:pt x="2755239" y="4848885"/>
                </a:lnTo>
                <a:lnTo>
                  <a:pt x="2722511" y="4819548"/>
                </a:lnTo>
                <a:lnTo>
                  <a:pt x="2686710" y="4793907"/>
                </a:lnTo>
                <a:lnTo>
                  <a:pt x="2648115" y="4772253"/>
                </a:lnTo>
                <a:lnTo>
                  <a:pt x="2607043" y="4754892"/>
                </a:lnTo>
                <a:lnTo>
                  <a:pt x="2563787" y="4742116"/>
                </a:lnTo>
                <a:lnTo>
                  <a:pt x="2518638" y="4734230"/>
                </a:lnTo>
                <a:lnTo>
                  <a:pt x="2471915" y="4731524"/>
                </a:lnTo>
                <a:lnTo>
                  <a:pt x="2425192" y="4734230"/>
                </a:lnTo>
                <a:lnTo>
                  <a:pt x="2380043" y="4742116"/>
                </a:lnTo>
                <a:lnTo>
                  <a:pt x="2336787" y="4754892"/>
                </a:lnTo>
                <a:lnTo>
                  <a:pt x="2295715" y="4772253"/>
                </a:lnTo>
                <a:lnTo>
                  <a:pt x="2257120" y="4793907"/>
                </a:lnTo>
                <a:lnTo>
                  <a:pt x="2221319" y="4819548"/>
                </a:lnTo>
                <a:lnTo>
                  <a:pt x="2188603" y="4848885"/>
                </a:lnTo>
                <a:lnTo>
                  <a:pt x="2159266" y="4881600"/>
                </a:lnTo>
                <a:lnTo>
                  <a:pt x="2133625" y="4917402"/>
                </a:lnTo>
                <a:lnTo>
                  <a:pt x="2111972" y="4955997"/>
                </a:lnTo>
                <a:lnTo>
                  <a:pt x="2094598" y="4997069"/>
                </a:lnTo>
                <a:lnTo>
                  <a:pt x="2081822" y="5040338"/>
                </a:lnTo>
                <a:lnTo>
                  <a:pt x="2073935" y="5085473"/>
                </a:lnTo>
                <a:lnTo>
                  <a:pt x="2071243" y="5132197"/>
                </a:lnTo>
                <a:lnTo>
                  <a:pt x="2073935" y="5178933"/>
                </a:lnTo>
                <a:lnTo>
                  <a:pt x="2081822" y="5224069"/>
                </a:lnTo>
                <a:lnTo>
                  <a:pt x="2094598" y="5267337"/>
                </a:lnTo>
                <a:lnTo>
                  <a:pt x="2111972" y="5308409"/>
                </a:lnTo>
                <a:lnTo>
                  <a:pt x="2133625" y="5346992"/>
                </a:lnTo>
                <a:lnTo>
                  <a:pt x="2159266" y="5382793"/>
                </a:lnTo>
                <a:lnTo>
                  <a:pt x="2188603" y="5415508"/>
                </a:lnTo>
                <a:lnTo>
                  <a:pt x="2221319" y="5444845"/>
                </a:lnTo>
                <a:lnTo>
                  <a:pt x="2257120" y="5470487"/>
                </a:lnTo>
                <a:lnTo>
                  <a:pt x="2295715" y="5492140"/>
                </a:lnTo>
                <a:lnTo>
                  <a:pt x="2336787" y="5509501"/>
                </a:lnTo>
                <a:lnTo>
                  <a:pt x="2380043" y="5522277"/>
                </a:lnTo>
                <a:lnTo>
                  <a:pt x="2425192" y="5530164"/>
                </a:lnTo>
                <a:lnTo>
                  <a:pt x="2471915" y="5532856"/>
                </a:lnTo>
                <a:lnTo>
                  <a:pt x="2518638" y="5530164"/>
                </a:lnTo>
                <a:lnTo>
                  <a:pt x="2563787" y="5522277"/>
                </a:lnTo>
                <a:lnTo>
                  <a:pt x="2607043" y="5509501"/>
                </a:lnTo>
                <a:lnTo>
                  <a:pt x="2648115" y="5492140"/>
                </a:lnTo>
                <a:lnTo>
                  <a:pt x="2686710" y="5470487"/>
                </a:lnTo>
                <a:lnTo>
                  <a:pt x="2722511" y="5444845"/>
                </a:lnTo>
                <a:lnTo>
                  <a:pt x="2755239" y="5415508"/>
                </a:lnTo>
                <a:lnTo>
                  <a:pt x="2784564" y="5382793"/>
                </a:lnTo>
                <a:lnTo>
                  <a:pt x="2810205" y="5346992"/>
                </a:lnTo>
                <a:lnTo>
                  <a:pt x="2831858" y="5308409"/>
                </a:lnTo>
                <a:lnTo>
                  <a:pt x="2849232" y="5267337"/>
                </a:lnTo>
                <a:lnTo>
                  <a:pt x="2862008" y="5224069"/>
                </a:lnTo>
                <a:lnTo>
                  <a:pt x="2869895" y="5178933"/>
                </a:lnTo>
                <a:lnTo>
                  <a:pt x="2872587" y="5132197"/>
                </a:lnTo>
                <a:close/>
              </a:path>
              <a:path w="13428344" h="7560309">
                <a:moveTo>
                  <a:pt x="3311982" y="5582005"/>
                </a:moveTo>
                <a:lnTo>
                  <a:pt x="3307931" y="5536819"/>
                </a:lnTo>
                <a:lnTo>
                  <a:pt x="3296259" y="5494274"/>
                </a:lnTo>
                <a:lnTo>
                  <a:pt x="3277666" y="5455107"/>
                </a:lnTo>
                <a:lnTo>
                  <a:pt x="3252863" y="5420017"/>
                </a:lnTo>
                <a:lnTo>
                  <a:pt x="3222561" y="5389715"/>
                </a:lnTo>
                <a:lnTo>
                  <a:pt x="3187471" y="5364912"/>
                </a:lnTo>
                <a:lnTo>
                  <a:pt x="3148292" y="5346319"/>
                </a:lnTo>
                <a:lnTo>
                  <a:pt x="3105759" y="5334635"/>
                </a:lnTo>
                <a:lnTo>
                  <a:pt x="3060560" y="5330583"/>
                </a:lnTo>
                <a:lnTo>
                  <a:pt x="3015373" y="5334635"/>
                </a:lnTo>
                <a:lnTo>
                  <a:pt x="2972828" y="5346319"/>
                </a:lnTo>
                <a:lnTo>
                  <a:pt x="2933662" y="5364912"/>
                </a:lnTo>
                <a:lnTo>
                  <a:pt x="2898571" y="5389715"/>
                </a:lnTo>
                <a:lnTo>
                  <a:pt x="2868269" y="5420017"/>
                </a:lnTo>
                <a:lnTo>
                  <a:pt x="2843453" y="5455107"/>
                </a:lnTo>
                <a:lnTo>
                  <a:pt x="2824861" y="5494274"/>
                </a:lnTo>
                <a:lnTo>
                  <a:pt x="2813177" y="5536819"/>
                </a:lnTo>
                <a:lnTo>
                  <a:pt x="2809125" y="5582005"/>
                </a:lnTo>
                <a:lnTo>
                  <a:pt x="2813177" y="5627205"/>
                </a:lnTo>
                <a:lnTo>
                  <a:pt x="2824861" y="5669737"/>
                </a:lnTo>
                <a:lnTo>
                  <a:pt x="2843453" y="5708904"/>
                </a:lnTo>
                <a:lnTo>
                  <a:pt x="2868269" y="5744007"/>
                </a:lnTo>
                <a:lnTo>
                  <a:pt x="2898571" y="5774309"/>
                </a:lnTo>
                <a:lnTo>
                  <a:pt x="2933662" y="5799112"/>
                </a:lnTo>
                <a:lnTo>
                  <a:pt x="2972828" y="5817705"/>
                </a:lnTo>
                <a:lnTo>
                  <a:pt x="3015373" y="5829389"/>
                </a:lnTo>
                <a:lnTo>
                  <a:pt x="3060560" y="5833440"/>
                </a:lnTo>
                <a:lnTo>
                  <a:pt x="3105759" y="5829389"/>
                </a:lnTo>
                <a:lnTo>
                  <a:pt x="3148292" y="5817705"/>
                </a:lnTo>
                <a:lnTo>
                  <a:pt x="3187471" y="5799112"/>
                </a:lnTo>
                <a:lnTo>
                  <a:pt x="3222561" y="5774309"/>
                </a:lnTo>
                <a:lnTo>
                  <a:pt x="3252863" y="5744007"/>
                </a:lnTo>
                <a:lnTo>
                  <a:pt x="3277666" y="5708904"/>
                </a:lnTo>
                <a:lnTo>
                  <a:pt x="3296259" y="5669737"/>
                </a:lnTo>
                <a:lnTo>
                  <a:pt x="3307931" y="5627205"/>
                </a:lnTo>
                <a:lnTo>
                  <a:pt x="3311982" y="5582005"/>
                </a:lnTo>
                <a:close/>
              </a:path>
              <a:path w="13428344" h="7560309">
                <a:moveTo>
                  <a:pt x="6244856" y="2232571"/>
                </a:moveTo>
                <a:lnTo>
                  <a:pt x="6240805" y="2187384"/>
                </a:lnTo>
                <a:lnTo>
                  <a:pt x="6229121" y="2144852"/>
                </a:lnTo>
                <a:lnTo>
                  <a:pt x="6210528" y="2105685"/>
                </a:lnTo>
                <a:lnTo>
                  <a:pt x="6185725" y="2070595"/>
                </a:lnTo>
                <a:lnTo>
                  <a:pt x="6155423" y="2040280"/>
                </a:lnTo>
                <a:lnTo>
                  <a:pt x="6120320" y="2015477"/>
                </a:lnTo>
                <a:lnTo>
                  <a:pt x="6081153" y="1996884"/>
                </a:lnTo>
                <a:lnTo>
                  <a:pt x="6038621" y="1985200"/>
                </a:lnTo>
                <a:lnTo>
                  <a:pt x="5993422" y="1981149"/>
                </a:lnTo>
                <a:lnTo>
                  <a:pt x="5948223" y="1985200"/>
                </a:lnTo>
                <a:lnTo>
                  <a:pt x="5905690" y="1996884"/>
                </a:lnTo>
                <a:lnTo>
                  <a:pt x="5866523" y="2015477"/>
                </a:lnTo>
                <a:lnTo>
                  <a:pt x="5831433" y="2040280"/>
                </a:lnTo>
                <a:lnTo>
                  <a:pt x="5801118" y="2070595"/>
                </a:lnTo>
                <a:lnTo>
                  <a:pt x="5776315" y="2105685"/>
                </a:lnTo>
                <a:lnTo>
                  <a:pt x="5757723" y="2144852"/>
                </a:lnTo>
                <a:lnTo>
                  <a:pt x="5746039" y="2187384"/>
                </a:lnTo>
                <a:lnTo>
                  <a:pt x="5741987" y="2232571"/>
                </a:lnTo>
                <a:lnTo>
                  <a:pt x="5746039" y="2277770"/>
                </a:lnTo>
                <a:lnTo>
                  <a:pt x="5757723" y="2320302"/>
                </a:lnTo>
                <a:lnTo>
                  <a:pt x="5776315" y="2359482"/>
                </a:lnTo>
                <a:lnTo>
                  <a:pt x="5801118" y="2394572"/>
                </a:lnTo>
                <a:lnTo>
                  <a:pt x="5831433" y="2424874"/>
                </a:lnTo>
                <a:lnTo>
                  <a:pt x="5866523" y="2449677"/>
                </a:lnTo>
                <a:lnTo>
                  <a:pt x="5905690" y="2468283"/>
                </a:lnTo>
                <a:lnTo>
                  <a:pt x="5948223" y="2479954"/>
                </a:lnTo>
                <a:lnTo>
                  <a:pt x="5993422" y="2484005"/>
                </a:lnTo>
                <a:lnTo>
                  <a:pt x="6038621" y="2479954"/>
                </a:lnTo>
                <a:lnTo>
                  <a:pt x="6081153" y="2468283"/>
                </a:lnTo>
                <a:lnTo>
                  <a:pt x="6120320" y="2449677"/>
                </a:lnTo>
                <a:lnTo>
                  <a:pt x="6155423" y="2424874"/>
                </a:lnTo>
                <a:lnTo>
                  <a:pt x="6185725" y="2394572"/>
                </a:lnTo>
                <a:lnTo>
                  <a:pt x="6210528" y="2359482"/>
                </a:lnTo>
                <a:lnTo>
                  <a:pt x="6229121" y="2320302"/>
                </a:lnTo>
                <a:lnTo>
                  <a:pt x="6240805" y="2277770"/>
                </a:lnTo>
                <a:lnTo>
                  <a:pt x="6244856" y="2232571"/>
                </a:lnTo>
                <a:close/>
              </a:path>
              <a:path w="13428344" h="7560309">
                <a:moveTo>
                  <a:pt x="6511226" y="750633"/>
                </a:moveTo>
                <a:lnTo>
                  <a:pt x="6510223" y="702170"/>
                </a:lnTo>
                <a:lnTo>
                  <a:pt x="6507239" y="654202"/>
                </a:lnTo>
                <a:lnTo>
                  <a:pt x="6502298" y="606806"/>
                </a:lnTo>
                <a:lnTo>
                  <a:pt x="6495453" y="559993"/>
                </a:lnTo>
                <a:lnTo>
                  <a:pt x="6486741" y="513816"/>
                </a:lnTo>
                <a:lnTo>
                  <a:pt x="6476212" y="468299"/>
                </a:lnTo>
                <a:lnTo>
                  <a:pt x="6463893" y="423506"/>
                </a:lnTo>
                <a:lnTo>
                  <a:pt x="6449822" y="379463"/>
                </a:lnTo>
                <a:lnTo>
                  <a:pt x="6434048" y="336219"/>
                </a:lnTo>
                <a:lnTo>
                  <a:pt x="6416611" y="293789"/>
                </a:lnTo>
                <a:lnTo>
                  <a:pt x="6397536" y="252247"/>
                </a:lnTo>
                <a:lnTo>
                  <a:pt x="6376886" y="211607"/>
                </a:lnTo>
                <a:lnTo>
                  <a:pt x="6354686" y="171907"/>
                </a:lnTo>
                <a:lnTo>
                  <a:pt x="6330975" y="133210"/>
                </a:lnTo>
                <a:lnTo>
                  <a:pt x="6305791" y="95542"/>
                </a:lnTo>
                <a:lnTo>
                  <a:pt x="6279185" y="58940"/>
                </a:lnTo>
                <a:lnTo>
                  <a:pt x="6251194" y="23456"/>
                </a:lnTo>
                <a:lnTo>
                  <a:pt x="6231153" y="0"/>
                </a:lnTo>
                <a:lnTo>
                  <a:pt x="4498073" y="0"/>
                </a:lnTo>
                <a:lnTo>
                  <a:pt x="4450029" y="58940"/>
                </a:lnTo>
                <a:lnTo>
                  <a:pt x="4423422" y="95542"/>
                </a:lnTo>
                <a:lnTo>
                  <a:pt x="4398251" y="133210"/>
                </a:lnTo>
                <a:lnTo>
                  <a:pt x="4374540" y="171907"/>
                </a:lnTo>
                <a:lnTo>
                  <a:pt x="4352341" y="211607"/>
                </a:lnTo>
                <a:lnTo>
                  <a:pt x="4331678" y="252247"/>
                </a:lnTo>
                <a:lnTo>
                  <a:pt x="4312615" y="293789"/>
                </a:lnTo>
                <a:lnTo>
                  <a:pt x="4295178" y="336219"/>
                </a:lnTo>
                <a:lnTo>
                  <a:pt x="4279404" y="379463"/>
                </a:lnTo>
                <a:lnTo>
                  <a:pt x="4265333" y="423506"/>
                </a:lnTo>
                <a:lnTo>
                  <a:pt x="4253014" y="468299"/>
                </a:lnTo>
                <a:lnTo>
                  <a:pt x="4242473" y="513816"/>
                </a:lnTo>
                <a:lnTo>
                  <a:pt x="4233773" y="559993"/>
                </a:lnTo>
                <a:lnTo>
                  <a:pt x="4226928" y="606806"/>
                </a:lnTo>
                <a:lnTo>
                  <a:pt x="4221988" y="654202"/>
                </a:lnTo>
                <a:lnTo>
                  <a:pt x="4219003" y="702170"/>
                </a:lnTo>
                <a:lnTo>
                  <a:pt x="4217987" y="750633"/>
                </a:lnTo>
                <a:lnTo>
                  <a:pt x="4219003" y="799096"/>
                </a:lnTo>
                <a:lnTo>
                  <a:pt x="4221988" y="847064"/>
                </a:lnTo>
                <a:lnTo>
                  <a:pt x="4226928" y="894461"/>
                </a:lnTo>
                <a:lnTo>
                  <a:pt x="4233773" y="941273"/>
                </a:lnTo>
                <a:lnTo>
                  <a:pt x="4242473" y="987450"/>
                </a:lnTo>
                <a:lnTo>
                  <a:pt x="4253014" y="1032967"/>
                </a:lnTo>
                <a:lnTo>
                  <a:pt x="4265333" y="1077760"/>
                </a:lnTo>
                <a:lnTo>
                  <a:pt x="4279404" y="1121803"/>
                </a:lnTo>
                <a:lnTo>
                  <a:pt x="4295178" y="1165047"/>
                </a:lnTo>
                <a:lnTo>
                  <a:pt x="4312615" y="1207477"/>
                </a:lnTo>
                <a:lnTo>
                  <a:pt x="4331678" y="1249019"/>
                </a:lnTo>
                <a:lnTo>
                  <a:pt x="4352341" y="1289659"/>
                </a:lnTo>
                <a:lnTo>
                  <a:pt x="4374540" y="1329359"/>
                </a:lnTo>
                <a:lnTo>
                  <a:pt x="4398251" y="1368056"/>
                </a:lnTo>
                <a:lnTo>
                  <a:pt x="4423422" y="1405724"/>
                </a:lnTo>
                <a:lnTo>
                  <a:pt x="4450029" y="1442326"/>
                </a:lnTo>
                <a:lnTo>
                  <a:pt x="4478032" y="1477810"/>
                </a:lnTo>
                <a:lnTo>
                  <a:pt x="4507369" y="1512150"/>
                </a:lnTo>
                <a:lnTo>
                  <a:pt x="4538027" y="1545297"/>
                </a:lnTo>
                <a:lnTo>
                  <a:pt x="4569942" y="1577225"/>
                </a:lnTo>
                <a:lnTo>
                  <a:pt x="4603102" y="1607870"/>
                </a:lnTo>
                <a:lnTo>
                  <a:pt x="4637430" y="1637220"/>
                </a:lnTo>
                <a:lnTo>
                  <a:pt x="4672927" y="1665211"/>
                </a:lnTo>
                <a:lnTo>
                  <a:pt x="4709528" y="1691817"/>
                </a:lnTo>
                <a:lnTo>
                  <a:pt x="4747196" y="1716989"/>
                </a:lnTo>
                <a:lnTo>
                  <a:pt x="4785893" y="1740700"/>
                </a:lnTo>
                <a:lnTo>
                  <a:pt x="4825581" y="1762912"/>
                </a:lnTo>
                <a:lnTo>
                  <a:pt x="4866221" y="1783562"/>
                </a:lnTo>
                <a:lnTo>
                  <a:pt x="4907775" y="1802625"/>
                </a:lnTo>
                <a:lnTo>
                  <a:pt x="4950193" y="1820075"/>
                </a:lnTo>
                <a:lnTo>
                  <a:pt x="4993449" y="1835848"/>
                </a:lnTo>
                <a:lnTo>
                  <a:pt x="5037493" y="1849907"/>
                </a:lnTo>
                <a:lnTo>
                  <a:pt x="5082286" y="1862239"/>
                </a:lnTo>
                <a:lnTo>
                  <a:pt x="5127790" y="1872767"/>
                </a:lnTo>
                <a:lnTo>
                  <a:pt x="5173967" y="1881479"/>
                </a:lnTo>
                <a:lnTo>
                  <a:pt x="5220779" y="1888324"/>
                </a:lnTo>
                <a:lnTo>
                  <a:pt x="5268188" y="1893252"/>
                </a:lnTo>
                <a:lnTo>
                  <a:pt x="5316144" y="1896249"/>
                </a:lnTo>
                <a:lnTo>
                  <a:pt x="5364607" y="1897253"/>
                </a:lnTo>
                <a:lnTo>
                  <a:pt x="5413083" y="1896249"/>
                </a:lnTo>
                <a:lnTo>
                  <a:pt x="5461038" y="1893252"/>
                </a:lnTo>
                <a:lnTo>
                  <a:pt x="5508447" y="1888324"/>
                </a:lnTo>
                <a:lnTo>
                  <a:pt x="5555246" y="1881479"/>
                </a:lnTo>
                <a:lnTo>
                  <a:pt x="5601436" y="1872767"/>
                </a:lnTo>
                <a:lnTo>
                  <a:pt x="5646940" y="1862239"/>
                </a:lnTo>
                <a:lnTo>
                  <a:pt x="5691733" y="1849907"/>
                </a:lnTo>
                <a:lnTo>
                  <a:pt x="5735777" y="1835848"/>
                </a:lnTo>
                <a:lnTo>
                  <a:pt x="5779033" y="1820075"/>
                </a:lnTo>
                <a:lnTo>
                  <a:pt x="5821451" y="1802625"/>
                </a:lnTo>
                <a:lnTo>
                  <a:pt x="5863006" y="1783562"/>
                </a:lnTo>
                <a:lnTo>
                  <a:pt x="5903646" y="1762912"/>
                </a:lnTo>
                <a:lnTo>
                  <a:pt x="5943333" y="1740700"/>
                </a:lnTo>
                <a:lnTo>
                  <a:pt x="5982030" y="1716989"/>
                </a:lnTo>
                <a:lnTo>
                  <a:pt x="6019698" y="1691817"/>
                </a:lnTo>
                <a:lnTo>
                  <a:pt x="6056300" y="1665211"/>
                </a:lnTo>
                <a:lnTo>
                  <a:pt x="6091783" y="1637220"/>
                </a:lnTo>
                <a:lnTo>
                  <a:pt x="6126124" y="1607870"/>
                </a:lnTo>
                <a:lnTo>
                  <a:pt x="6159271" y="1577225"/>
                </a:lnTo>
                <a:lnTo>
                  <a:pt x="6191199" y="1545297"/>
                </a:lnTo>
                <a:lnTo>
                  <a:pt x="6221857" y="1512150"/>
                </a:lnTo>
                <a:lnTo>
                  <a:pt x="6251194" y="1477810"/>
                </a:lnTo>
                <a:lnTo>
                  <a:pt x="6279185" y="1442326"/>
                </a:lnTo>
                <a:lnTo>
                  <a:pt x="6305791" y="1405724"/>
                </a:lnTo>
                <a:lnTo>
                  <a:pt x="6330975" y="1368056"/>
                </a:lnTo>
                <a:lnTo>
                  <a:pt x="6354686" y="1329359"/>
                </a:lnTo>
                <a:lnTo>
                  <a:pt x="6376886" y="1289659"/>
                </a:lnTo>
                <a:lnTo>
                  <a:pt x="6397536" y="1249019"/>
                </a:lnTo>
                <a:lnTo>
                  <a:pt x="6416611" y="1207477"/>
                </a:lnTo>
                <a:lnTo>
                  <a:pt x="6434048" y="1165047"/>
                </a:lnTo>
                <a:lnTo>
                  <a:pt x="6449822" y="1121803"/>
                </a:lnTo>
                <a:lnTo>
                  <a:pt x="6463893" y="1077760"/>
                </a:lnTo>
                <a:lnTo>
                  <a:pt x="6476212" y="1032967"/>
                </a:lnTo>
                <a:lnTo>
                  <a:pt x="6486741" y="987450"/>
                </a:lnTo>
                <a:lnTo>
                  <a:pt x="6495453" y="941273"/>
                </a:lnTo>
                <a:lnTo>
                  <a:pt x="6502298" y="894461"/>
                </a:lnTo>
                <a:lnTo>
                  <a:pt x="6507239" y="847064"/>
                </a:lnTo>
                <a:lnTo>
                  <a:pt x="6510223" y="799096"/>
                </a:lnTo>
                <a:lnTo>
                  <a:pt x="6511226" y="750633"/>
                </a:lnTo>
                <a:close/>
              </a:path>
              <a:path w="13428344" h="7560309">
                <a:moveTo>
                  <a:pt x="7263955" y="2331961"/>
                </a:moveTo>
                <a:lnTo>
                  <a:pt x="7261212" y="2284628"/>
                </a:lnTo>
                <a:lnTo>
                  <a:pt x="7253224" y="2238883"/>
                </a:lnTo>
                <a:lnTo>
                  <a:pt x="7240283" y="2195055"/>
                </a:lnTo>
                <a:lnTo>
                  <a:pt x="7222693" y="2153437"/>
                </a:lnTo>
                <a:lnTo>
                  <a:pt x="7200747" y="2114334"/>
                </a:lnTo>
                <a:lnTo>
                  <a:pt x="7174763" y="2078062"/>
                </a:lnTo>
                <a:lnTo>
                  <a:pt x="7145045" y="2044915"/>
                </a:lnTo>
                <a:lnTo>
                  <a:pt x="7111898" y="2015197"/>
                </a:lnTo>
                <a:lnTo>
                  <a:pt x="7075627" y="1989213"/>
                </a:lnTo>
                <a:lnTo>
                  <a:pt x="7036524" y="1967268"/>
                </a:lnTo>
                <a:lnTo>
                  <a:pt x="6994906" y="1949678"/>
                </a:lnTo>
                <a:lnTo>
                  <a:pt x="6951078" y="1936737"/>
                </a:lnTo>
                <a:lnTo>
                  <a:pt x="6905333" y="1928736"/>
                </a:lnTo>
                <a:lnTo>
                  <a:pt x="6858000" y="1926005"/>
                </a:lnTo>
                <a:lnTo>
                  <a:pt x="6810654" y="1928736"/>
                </a:lnTo>
                <a:lnTo>
                  <a:pt x="6764909" y="1936737"/>
                </a:lnTo>
                <a:lnTo>
                  <a:pt x="6721081" y="1949678"/>
                </a:lnTo>
                <a:lnTo>
                  <a:pt x="6679463" y="1967268"/>
                </a:lnTo>
                <a:lnTo>
                  <a:pt x="6640360" y="1989213"/>
                </a:lnTo>
                <a:lnTo>
                  <a:pt x="6604089" y="2015197"/>
                </a:lnTo>
                <a:lnTo>
                  <a:pt x="6570942" y="2044915"/>
                </a:lnTo>
                <a:lnTo>
                  <a:pt x="6541224" y="2078062"/>
                </a:lnTo>
                <a:lnTo>
                  <a:pt x="6515240" y="2114334"/>
                </a:lnTo>
                <a:lnTo>
                  <a:pt x="6493294" y="2153437"/>
                </a:lnTo>
                <a:lnTo>
                  <a:pt x="6475704" y="2195055"/>
                </a:lnTo>
                <a:lnTo>
                  <a:pt x="6462763" y="2238883"/>
                </a:lnTo>
                <a:lnTo>
                  <a:pt x="6454775" y="2284628"/>
                </a:lnTo>
                <a:lnTo>
                  <a:pt x="6452044" y="2331961"/>
                </a:lnTo>
                <a:lnTo>
                  <a:pt x="6454775" y="2379307"/>
                </a:lnTo>
                <a:lnTo>
                  <a:pt x="6462763" y="2425039"/>
                </a:lnTo>
                <a:lnTo>
                  <a:pt x="6475704" y="2468867"/>
                </a:lnTo>
                <a:lnTo>
                  <a:pt x="6493294" y="2510485"/>
                </a:lnTo>
                <a:lnTo>
                  <a:pt x="6515240" y="2549588"/>
                </a:lnTo>
                <a:lnTo>
                  <a:pt x="6541224" y="2585859"/>
                </a:lnTo>
                <a:lnTo>
                  <a:pt x="6570942" y="2619006"/>
                </a:lnTo>
                <a:lnTo>
                  <a:pt x="6604089" y="2648724"/>
                </a:lnTo>
                <a:lnTo>
                  <a:pt x="6640360" y="2674709"/>
                </a:lnTo>
                <a:lnTo>
                  <a:pt x="6679463" y="2696654"/>
                </a:lnTo>
                <a:lnTo>
                  <a:pt x="6721081" y="2714244"/>
                </a:lnTo>
                <a:lnTo>
                  <a:pt x="6764909" y="2727185"/>
                </a:lnTo>
                <a:lnTo>
                  <a:pt x="6810654" y="2735173"/>
                </a:lnTo>
                <a:lnTo>
                  <a:pt x="6858000" y="2737904"/>
                </a:lnTo>
                <a:lnTo>
                  <a:pt x="6905333" y="2735173"/>
                </a:lnTo>
                <a:lnTo>
                  <a:pt x="6951078" y="2727185"/>
                </a:lnTo>
                <a:lnTo>
                  <a:pt x="6994906" y="2714244"/>
                </a:lnTo>
                <a:lnTo>
                  <a:pt x="7036524" y="2696654"/>
                </a:lnTo>
                <a:lnTo>
                  <a:pt x="7075627" y="2674709"/>
                </a:lnTo>
                <a:lnTo>
                  <a:pt x="7111898" y="2648724"/>
                </a:lnTo>
                <a:lnTo>
                  <a:pt x="7145045" y="2619006"/>
                </a:lnTo>
                <a:lnTo>
                  <a:pt x="7174763" y="2585859"/>
                </a:lnTo>
                <a:lnTo>
                  <a:pt x="7200747" y="2549588"/>
                </a:lnTo>
                <a:lnTo>
                  <a:pt x="7222693" y="2510485"/>
                </a:lnTo>
                <a:lnTo>
                  <a:pt x="7240283" y="2468867"/>
                </a:lnTo>
                <a:lnTo>
                  <a:pt x="7253224" y="2425039"/>
                </a:lnTo>
                <a:lnTo>
                  <a:pt x="7261212" y="2379307"/>
                </a:lnTo>
                <a:lnTo>
                  <a:pt x="7263955" y="2331961"/>
                </a:lnTo>
                <a:close/>
              </a:path>
              <a:path w="13428344" h="7560309">
                <a:moveTo>
                  <a:pt x="9683991" y="6804571"/>
                </a:moveTo>
                <a:lnTo>
                  <a:pt x="9679940" y="6759384"/>
                </a:lnTo>
                <a:lnTo>
                  <a:pt x="9668256" y="6716852"/>
                </a:lnTo>
                <a:lnTo>
                  <a:pt x="9649663" y="6677685"/>
                </a:lnTo>
                <a:lnTo>
                  <a:pt x="9624860" y="6642595"/>
                </a:lnTo>
                <a:lnTo>
                  <a:pt x="9594558" y="6612280"/>
                </a:lnTo>
                <a:lnTo>
                  <a:pt x="9559468" y="6587477"/>
                </a:lnTo>
                <a:lnTo>
                  <a:pt x="9520301" y="6568884"/>
                </a:lnTo>
                <a:lnTo>
                  <a:pt x="9477756" y="6557200"/>
                </a:lnTo>
                <a:lnTo>
                  <a:pt x="9432569" y="6553149"/>
                </a:lnTo>
                <a:lnTo>
                  <a:pt x="9387370" y="6557200"/>
                </a:lnTo>
                <a:lnTo>
                  <a:pt x="9344838" y="6568884"/>
                </a:lnTo>
                <a:lnTo>
                  <a:pt x="9305658" y="6587477"/>
                </a:lnTo>
                <a:lnTo>
                  <a:pt x="9270568" y="6612280"/>
                </a:lnTo>
                <a:lnTo>
                  <a:pt x="9240266" y="6642595"/>
                </a:lnTo>
                <a:lnTo>
                  <a:pt x="9215463" y="6677685"/>
                </a:lnTo>
                <a:lnTo>
                  <a:pt x="9196857" y="6716852"/>
                </a:lnTo>
                <a:lnTo>
                  <a:pt x="9185186" y="6759384"/>
                </a:lnTo>
                <a:lnTo>
                  <a:pt x="9181135" y="6804571"/>
                </a:lnTo>
                <a:lnTo>
                  <a:pt x="9185186" y="6849770"/>
                </a:lnTo>
                <a:lnTo>
                  <a:pt x="9196857" y="6892303"/>
                </a:lnTo>
                <a:lnTo>
                  <a:pt x="9215463" y="6931482"/>
                </a:lnTo>
                <a:lnTo>
                  <a:pt x="9240266" y="6966572"/>
                </a:lnTo>
                <a:lnTo>
                  <a:pt x="9270568" y="6996874"/>
                </a:lnTo>
                <a:lnTo>
                  <a:pt x="9305658" y="7021677"/>
                </a:lnTo>
                <a:lnTo>
                  <a:pt x="9344838" y="7040283"/>
                </a:lnTo>
                <a:lnTo>
                  <a:pt x="9387370" y="7051954"/>
                </a:lnTo>
                <a:lnTo>
                  <a:pt x="9432569" y="7056006"/>
                </a:lnTo>
                <a:lnTo>
                  <a:pt x="9477756" y="7051954"/>
                </a:lnTo>
                <a:lnTo>
                  <a:pt x="9520301" y="7040283"/>
                </a:lnTo>
                <a:lnTo>
                  <a:pt x="9559468" y="7021677"/>
                </a:lnTo>
                <a:lnTo>
                  <a:pt x="9594558" y="6996874"/>
                </a:lnTo>
                <a:lnTo>
                  <a:pt x="9624860" y="6966572"/>
                </a:lnTo>
                <a:lnTo>
                  <a:pt x="9649663" y="6931482"/>
                </a:lnTo>
                <a:lnTo>
                  <a:pt x="9668256" y="6892303"/>
                </a:lnTo>
                <a:lnTo>
                  <a:pt x="9679940" y="6849770"/>
                </a:lnTo>
                <a:lnTo>
                  <a:pt x="9683991" y="6804571"/>
                </a:lnTo>
                <a:close/>
              </a:path>
              <a:path w="13428344" h="7560309">
                <a:moveTo>
                  <a:pt x="10395331" y="7534681"/>
                </a:moveTo>
                <a:lnTo>
                  <a:pt x="10392639" y="7487958"/>
                </a:lnTo>
                <a:lnTo>
                  <a:pt x="10384752" y="7442809"/>
                </a:lnTo>
                <a:lnTo>
                  <a:pt x="10371976" y="7399553"/>
                </a:lnTo>
                <a:lnTo>
                  <a:pt x="10354615" y="7358481"/>
                </a:lnTo>
                <a:lnTo>
                  <a:pt x="10332949" y="7319886"/>
                </a:lnTo>
                <a:lnTo>
                  <a:pt x="10307307" y="7284085"/>
                </a:lnTo>
                <a:lnTo>
                  <a:pt x="10277983" y="7251370"/>
                </a:lnTo>
                <a:lnTo>
                  <a:pt x="10245268" y="7222033"/>
                </a:lnTo>
                <a:lnTo>
                  <a:pt x="10209454" y="7196391"/>
                </a:lnTo>
                <a:lnTo>
                  <a:pt x="10170871" y="7174738"/>
                </a:lnTo>
                <a:lnTo>
                  <a:pt x="10129787" y="7157377"/>
                </a:lnTo>
                <a:lnTo>
                  <a:pt x="10086530" y="7144601"/>
                </a:lnTo>
                <a:lnTo>
                  <a:pt x="10041395" y="7136714"/>
                </a:lnTo>
                <a:lnTo>
                  <a:pt x="9994659" y="7134009"/>
                </a:lnTo>
                <a:lnTo>
                  <a:pt x="9947935" y="7136714"/>
                </a:lnTo>
                <a:lnTo>
                  <a:pt x="9902787" y="7144601"/>
                </a:lnTo>
                <a:lnTo>
                  <a:pt x="9859531" y="7157377"/>
                </a:lnTo>
                <a:lnTo>
                  <a:pt x="9818459" y="7174738"/>
                </a:lnTo>
                <a:lnTo>
                  <a:pt x="9779864" y="7196391"/>
                </a:lnTo>
                <a:lnTo>
                  <a:pt x="9744062" y="7222033"/>
                </a:lnTo>
                <a:lnTo>
                  <a:pt x="9711347" y="7251370"/>
                </a:lnTo>
                <a:lnTo>
                  <a:pt x="9682010" y="7284085"/>
                </a:lnTo>
                <a:lnTo>
                  <a:pt x="9656369" y="7319886"/>
                </a:lnTo>
                <a:lnTo>
                  <a:pt x="9634715" y="7358481"/>
                </a:lnTo>
                <a:lnTo>
                  <a:pt x="9617354" y="7399553"/>
                </a:lnTo>
                <a:lnTo>
                  <a:pt x="9604578" y="7442809"/>
                </a:lnTo>
                <a:lnTo>
                  <a:pt x="9596691" y="7487958"/>
                </a:lnTo>
                <a:lnTo>
                  <a:pt x="9593986" y="7534681"/>
                </a:lnTo>
                <a:lnTo>
                  <a:pt x="9595447" y="7560005"/>
                </a:lnTo>
                <a:lnTo>
                  <a:pt x="10393870" y="7560005"/>
                </a:lnTo>
                <a:lnTo>
                  <a:pt x="10395331" y="7534681"/>
                </a:lnTo>
                <a:close/>
              </a:path>
              <a:path w="13428344" h="7560309">
                <a:moveTo>
                  <a:pt x="10611333" y="6562687"/>
                </a:moveTo>
                <a:lnTo>
                  <a:pt x="10608640" y="6515963"/>
                </a:lnTo>
                <a:lnTo>
                  <a:pt x="10600754" y="6470815"/>
                </a:lnTo>
                <a:lnTo>
                  <a:pt x="10587977" y="6427559"/>
                </a:lnTo>
                <a:lnTo>
                  <a:pt x="10570604" y="6386474"/>
                </a:lnTo>
                <a:lnTo>
                  <a:pt x="10548950" y="6347892"/>
                </a:lnTo>
                <a:lnTo>
                  <a:pt x="10523309" y="6312090"/>
                </a:lnTo>
                <a:lnTo>
                  <a:pt x="10493985" y="6279362"/>
                </a:lnTo>
                <a:lnTo>
                  <a:pt x="10461257" y="6250038"/>
                </a:lnTo>
                <a:lnTo>
                  <a:pt x="10425455" y="6224397"/>
                </a:lnTo>
                <a:lnTo>
                  <a:pt x="10386873" y="6202731"/>
                </a:lnTo>
                <a:lnTo>
                  <a:pt x="10345788" y="6185370"/>
                </a:lnTo>
                <a:lnTo>
                  <a:pt x="10302532" y="6172593"/>
                </a:lnTo>
                <a:lnTo>
                  <a:pt x="10257384" y="6164707"/>
                </a:lnTo>
                <a:lnTo>
                  <a:pt x="10210660" y="6162014"/>
                </a:lnTo>
                <a:lnTo>
                  <a:pt x="10163937" y="6164707"/>
                </a:lnTo>
                <a:lnTo>
                  <a:pt x="10118788" y="6172593"/>
                </a:lnTo>
                <a:lnTo>
                  <a:pt x="10075532" y="6185370"/>
                </a:lnTo>
                <a:lnTo>
                  <a:pt x="10034460" y="6202731"/>
                </a:lnTo>
                <a:lnTo>
                  <a:pt x="9995865" y="6224397"/>
                </a:lnTo>
                <a:lnTo>
                  <a:pt x="9960064" y="6250038"/>
                </a:lnTo>
                <a:lnTo>
                  <a:pt x="9927349" y="6279362"/>
                </a:lnTo>
                <a:lnTo>
                  <a:pt x="9898012" y="6312090"/>
                </a:lnTo>
                <a:lnTo>
                  <a:pt x="9872370" y="6347892"/>
                </a:lnTo>
                <a:lnTo>
                  <a:pt x="9850717" y="6386474"/>
                </a:lnTo>
                <a:lnTo>
                  <a:pt x="9833343" y="6427559"/>
                </a:lnTo>
                <a:lnTo>
                  <a:pt x="9820567" y="6470815"/>
                </a:lnTo>
                <a:lnTo>
                  <a:pt x="9812680" y="6515963"/>
                </a:lnTo>
                <a:lnTo>
                  <a:pt x="9809988" y="6562687"/>
                </a:lnTo>
                <a:lnTo>
                  <a:pt x="9812680" y="6609410"/>
                </a:lnTo>
                <a:lnTo>
                  <a:pt x="9820567" y="6654559"/>
                </a:lnTo>
                <a:lnTo>
                  <a:pt x="9833343" y="6697815"/>
                </a:lnTo>
                <a:lnTo>
                  <a:pt x="9850717" y="6738887"/>
                </a:lnTo>
                <a:lnTo>
                  <a:pt x="9872370" y="6777482"/>
                </a:lnTo>
                <a:lnTo>
                  <a:pt x="9898012" y="6813283"/>
                </a:lnTo>
                <a:lnTo>
                  <a:pt x="9927349" y="6845998"/>
                </a:lnTo>
                <a:lnTo>
                  <a:pt x="9960064" y="6875323"/>
                </a:lnTo>
                <a:lnTo>
                  <a:pt x="9995865" y="6900964"/>
                </a:lnTo>
                <a:lnTo>
                  <a:pt x="10034460" y="6922617"/>
                </a:lnTo>
                <a:lnTo>
                  <a:pt x="10075532" y="6939991"/>
                </a:lnTo>
                <a:lnTo>
                  <a:pt x="10118788" y="6952767"/>
                </a:lnTo>
                <a:lnTo>
                  <a:pt x="10163937" y="6960654"/>
                </a:lnTo>
                <a:lnTo>
                  <a:pt x="10210660" y="6963346"/>
                </a:lnTo>
                <a:lnTo>
                  <a:pt x="10257384" y="6960654"/>
                </a:lnTo>
                <a:lnTo>
                  <a:pt x="10302532" y="6952767"/>
                </a:lnTo>
                <a:lnTo>
                  <a:pt x="10345788" y="6939991"/>
                </a:lnTo>
                <a:lnTo>
                  <a:pt x="10386873" y="6922617"/>
                </a:lnTo>
                <a:lnTo>
                  <a:pt x="10425455" y="6900964"/>
                </a:lnTo>
                <a:lnTo>
                  <a:pt x="10461257" y="6875323"/>
                </a:lnTo>
                <a:lnTo>
                  <a:pt x="10493985" y="6845998"/>
                </a:lnTo>
                <a:lnTo>
                  <a:pt x="10523309" y="6813283"/>
                </a:lnTo>
                <a:lnTo>
                  <a:pt x="10548950" y="6777482"/>
                </a:lnTo>
                <a:lnTo>
                  <a:pt x="10570604" y="6738887"/>
                </a:lnTo>
                <a:lnTo>
                  <a:pt x="10587977" y="6697815"/>
                </a:lnTo>
                <a:lnTo>
                  <a:pt x="10600754" y="6654559"/>
                </a:lnTo>
                <a:lnTo>
                  <a:pt x="10608640" y="6609410"/>
                </a:lnTo>
                <a:lnTo>
                  <a:pt x="10611333" y="6562687"/>
                </a:lnTo>
                <a:close/>
              </a:path>
              <a:path w="13428344" h="7560309">
                <a:moveTo>
                  <a:pt x="13427951" y="4216793"/>
                </a:moveTo>
                <a:lnTo>
                  <a:pt x="13384009" y="4191304"/>
                </a:lnTo>
                <a:lnTo>
                  <a:pt x="13342938" y="4173944"/>
                </a:lnTo>
                <a:lnTo>
                  <a:pt x="13299669" y="4161167"/>
                </a:lnTo>
                <a:lnTo>
                  <a:pt x="13254533" y="4153281"/>
                </a:lnTo>
                <a:lnTo>
                  <a:pt x="13207810" y="4150576"/>
                </a:lnTo>
                <a:lnTo>
                  <a:pt x="13161074" y="4153281"/>
                </a:lnTo>
                <a:lnTo>
                  <a:pt x="13115938" y="4161167"/>
                </a:lnTo>
                <a:lnTo>
                  <a:pt x="13072669" y="4173944"/>
                </a:lnTo>
                <a:lnTo>
                  <a:pt x="13031597" y="4191304"/>
                </a:lnTo>
                <a:lnTo>
                  <a:pt x="12993015" y="4212958"/>
                </a:lnTo>
                <a:lnTo>
                  <a:pt x="12957201" y="4238599"/>
                </a:lnTo>
                <a:lnTo>
                  <a:pt x="12924485" y="4267936"/>
                </a:lnTo>
                <a:lnTo>
                  <a:pt x="12895161" y="4300652"/>
                </a:lnTo>
                <a:lnTo>
                  <a:pt x="12869507" y="4336453"/>
                </a:lnTo>
                <a:lnTo>
                  <a:pt x="12847854" y="4375048"/>
                </a:lnTo>
                <a:lnTo>
                  <a:pt x="12830493" y="4416120"/>
                </a:lnTo>
                <a:lnTo>
                  <a:pt x="12817716" y="4459389"/>
                </a:lnTo>
                <a:lnTo>
                  <a:pt x="12809830" y="4504525"/>
                </a:lnTo>
                <a:lnTo>
                  <a:pt x="12807137" y="4551248"/>
                </a:lnTo>
                <a:lnTo>
                  <a:pt x="12809830" y="4597971"/>
                </a:lnTo>
                <a:lnTo>
                  <a:pt x="12817716" y="4643120"/>
                </a:lnTo>
                <a:lnTo>
                  <a:pt x="12830493" y="4686376"/>
                </a:lnTo>
                <a:lnTo>
                  <a:pt x="12847854" y="4727448"/>
                </a:lnTo>
                <a:lnTo>
                  <a:pt x="12869507" y="4766043"/>
                </a:lnTo>
                <a:lnTo>
                  <a:pt x="12895161" y="4801844"/>
                </a:lnTo>
                <a:lnTo>
                  <a:pt x="12924485" y="4834560"/>
                </a:lnTo>
                <a:lnTo>
                  <a:pt x="12957201" y="4863897"/>
                </a:lnTo>
                <a:lnTo>
                  <a:pt x="12993015" y="4889538"/>
                </a:lnTo>
                <a:lnTo>
                  <a:pt x="13031597" y="4911191"/>
                </a:lnTo>
                <a:lnTo>
                  <a:pt x="13072669" y="4928552"/>
                </a:lnTo>
                <a:lnTo>
                  <a:pt x="13115938" y="4941328"/>
                </a:lnTo>
                <a:lnTo>
                  <a:pt x="13161074" y="4949215"/>
                </a:lnTo>
                <a:lnTo>
                  <a:pt x="13207810" y="4951908"/>
                </a:lnTo>
                <a:lnTo>
                  <a:pt x="13254533" y="4949215"/>
                </a:lnTo>
                <a:lnTo>
                  <a:pt x="13299669" y="4941328"/>
                </a:lnTo>
                <a:lnTo>
                  <a:pt x="13342938" y="4928552"/>
                </a:lnTo>
                <a:lnTo>
                  <a:pt x="13384009" y="4911191"/>
                </a:lnTo>
                <a:lnTo>
                  <a:pt x="13422605" y="4889538"/>
                </a:lnTo>
                <a:lnTo>
                  <a:pt x="13427951" y="4885702"/>
                </a:lnTo>
                <a:lnTo>
                  <a:pt x="13427951" y="4216793"/>
                </a:lnTo>
                <a:close/>
              </a:path>
              <a:path w="13428344" h="7560309">
                <a:moveTo>
                  <a:pt x="13427951" y="2274125"/>
                </a:moveTo>
                <a:lnTo>
                  <a:pt x="13356323" y="2246414"/>
                </a:lnTo>
                <a:lnTo>
                  <a:pt x="13312559" y="2233130"/>
                </a:lnTo>
                <a:lnTo>
                  <a:pt x="13267868" y="2222106"/>
                </a:lnTo>
                <a:lnTo>
                  <a:pt x="13222300" y="2213419"/>
                </a:lnTo>
                <a:lnTo>
                  <a:pt x="13175920" y="2207120"/>
                </a:lnTo>
                <a:lnTo>
                  <a:pt x="13128803" y="2203297"/>
                </a:lnTo>
                <a:lnTo>
                  <a:pt x="13081013" y="2202015"/>
                </a:lnTo>
                <a:lnTo>
                  <a:pt x="13033223" y="2203297"/>
                </a:lnTo>
                <a:lnTo>
                  <a:pt x="12986106" y="2207120"/>
                </a:lnTo>
                <a:lnTo>
                  <a:pt x="12939725" y="2213419"/>
                </a:lnTo>
                <a:lnTo>
                  <a:pt x="12894158" y="2222106"/>
                </a:lnTo>
                <a:lnTo>
                  <a:pt x="12849454" y="2233130"/>
                </a:lnTo>
                <a:lnTo>
                  <a:pt x="12805702" y="2246414"/>
                </a:lnTo>
                <a:lnTo>
                  <a:pt x="12762954" y="2261908"/>
                </a:lnTo>
                <a:lnTo>
                  <a:pt x="12721273" y="2279535"/>
                </a:lnTo>
                <a:lnTo>
                  <a:pt x="12680722" y="2299233"/>
                </a:lnTo>
                <a:lnTo>
                  <a:pt x="12641390" y="2320937"/>
                </a:lnTo>
                <a:lnTo>
                  <a:pt x="12603328" y="2344572"/>
                </a:lnTo>
                <a:lnTo>
                  <a:pt x="12566599" y="2370074"/>
                </a:lnTo>
                <a:lnTo>
                  <a:pt x="12531281" y="2397379"/>
                </a:lnTo>
                <a:lnTo>
                  <a:pt x="12497422" y="2426411"/>
                </a:lnTo>
                <a:lnTo>
                  <a:pt x="12465114" y="2457132"/>
                </a:lnTo>
                <a:lnTo>
                  <a:pt x="12434392" y="2489441"/>
                </a:lnTo>
                <a:lnTo>
                  <a:pt x="12405360" y="2523299"/>
                </a:lnTo>
                <a:lnTo>
                  <a:pt x="12378055" y="2558618"/>
                </a:lnTo>
                <a:lnTo>
                  <a:pt x="12352541" y="2595346"/>
                </a:lnTo>
                <a:lnTo>
                  <a:pt x="12328919" y="2633408"/>
                </a:lnTo>
                <a:lnTo>
                  <a:pt x="12307214" y="2672753"/>
                </a:lnTo>
                <a:lnTo>
                  <a:pt x="12287517" y="2713291"/>
                </a:lnTo>
                <a:lnTo>
                  <a:pt x="12269889" y="2754973"/>
                </a:lnTo>
                <a:lnTo>
                  <a:pt x="12254395" y="2797721"/>
                </a:lnTo>
                <a:lnTo>
                  <a:pt x="12241111" y="2841485"/>
                </a:lnTo>
                <a:lnTo>
                  <a:pt x="12230087" y="2886176"/>
                </a:lnTo>
                <a:lnTo>
                  <a:pt x="12221388" y="2931744"/>
                </a:lnTo>
                <a:lnTo>
                  <a:pt x="12215101" y="2978124"/>
                </a:lnTo>
                <a:lnTo>
                  <a:pt x="12211279" y="3025241"/>
                </a:lnTo>
                <a:lnTo>
                  <a:pt x="12209996" y="3073031"/>
                </a:lnTo>
                <a:lnTo>
                  <a:pt x="12211279" y="3120821"/>
                </a:lnTo>
                <a:lnTo>
                  <a:pt x="12215101" y="3167938"/>
                </a:lnTo>
                <a:lnTo>
                  <a:pt x="12221388" y="3214319"/>
                </a:lnTo>
                <a:lnTo>
                  <a:pt x="12230087" y="3259886"/>
                </a:lnTo>
                <a:lnTo>
                  <a:pt x="12241111" y="3304578"/>
                </a:lnTo>
                <a:lnTo>
                  <a:pt x="12254395" y="3348342"/>
                </a:lnTo>
                <a:lnTo>
                  <a:pt x="12269889" y="3391090"/>
                </a:lnTo>
                <a:lnTo>
                  <a:pt x="12287517" y="3432772"/>
                </a:lnTo>
                <a:lnTo>
                  <a:pt x="12307214" y="3473310"/>
                </a:lnTo>
                <a:lnTo>
                  <a:pt x="12328919" y="3512655"/>
                </a:lnTo>
                <a:lnTo>
                  <a:pt x="12352541" y="3550716"/>
                </a:lnTo>
                <a:lnTo>
                  <a:pt x="12378055" y="3587445"/>
                </a:lnTo>
                <a:lnTo>
                  <a:pt x="12405360" y="3622764"/>
                </a:lnTo>
                <a:lnTo>
                  <a:pt x="12434392" y="3656622"/>
                </a:lnTo>
                <a:lnTo>
                  <a:pt x="12465114" y="3688931"/>
                </a:lnTo>
                <a:lnTo>
                  <a:pt x="12497422" y="3719639"/>
                </a:lnTo>
                <a:lnTo>
                  <a:pt x="12531281" y="3748684"/>
                </a:lnTo>
                <a:lnTo>
                  <a:pt x="12566599" y="3775989"/>
                </a:lnTo>
                <a:lnTo>
                  <a:pt x="12603328" y="3801491"/>
                </a:lnTo>
                <a:lnTo>
                  <a:pt x="12641390" y="3825125"/>
                </a:lnTo>
                <a:lnTo>
                  <a:pt x="12680722" y="3846830"/>
                </a:lnTo>
                <a:lnTo>
                  <a:pt x="12721273" y="3866527"/>
                </a:lnTo>
                <a:lnTo>
                  <a:pt x="12762954" y="3884155"/>
                </a:lnTo>
                <a:lnTo>
                  <a:pt x="12805702" y="3899636"/>
                </a:lnTo>
                <a:lnTo>
                  <a:pt x="12849454" y="3912933"/>
                </a:lnTo>
                <a:lnTo>
                  <a:pt x="12894158" y="3923957"/>
                </a:lnTo>
                <a:lnTo>
                  <a:pt x="12939725" y="3932644"/>
                </a:lnTo>
                <a:lnTo>
                  <a:pt x="12986106" y="3938930"/>
                </a:lnTo>
                <a:lnTo>
                  <a:pt x="13033223" y="3942753"/>
                </a:lnTo>
                <a:lnTo>
                  <a:pt x="13081013" y="3944048"/>
                </a:lnTo>
                <a:lnTo>
                  <a:pt x="13128803" y="3942753"/>
                </a:lnTo>
                <a:lnTo>
                  <a:pt x="13175920" y="3938930"/>
                </a:lnTo>
                <a:lnTo>
                  <a:pt x="13222300" y="3932644"/>
                </a:lnTo>
                <a:lnTo>
                  <a:pt x="13267868" y="3923957"/>
                </a:lnTo>
                <a:lnTo>
                  <a:pt x="13312559" y="3912933"/>
                </a:lnTo>
                <a:lnTo>
                  <a:pt x="13356323" y="3899636"/>
                </a:lnTo>
                <a:lnTo>
                  <a:pt x="13399072" y="3884155"/>
                </a:lnTo>
                <a:lnTo>
                  <a:pt x="13427951" y="3871938"/>
                </a:lnTo>
                <a:lnTo>
                  <a:pt x="13427951" y="2274125"/>
                </a:lnTo>
                <a:close/>
              </a:path>
            </a:pathLst>
          </a:custGeom>
          <a:solidFill>
            <a:srgbClr val="00AFFF">
              <a:alpha val="23999"/>
            </a:srgbClr>
          </a:solidFill>
        </p:spPr>
        <p:txBody>
          <a:bodyPr wrap="square" lIns="0" tIns="0" rIns="0" bIns="0" rtlCol="0"/>
          <a:lstStyle/>
          <a:p>
            <a:endParaRPr/>
          </a:p>
        </p:txBody>
      </p:sp>
      <p:sp>
        <p:nvSpPr>
          <p:cNvPr id="33" name="object 13">
            <a:extLst>
              <a:ext uri="{FF2B5EF4-FFF2-40B4-BE49-F238E27FC236}">
                <a16:creationId xmlns:a16="http://schemas.microsoft.com/office/drawing/2014/main" id="{A0C82D7B-43A0-E7DA-A947-D2D94D26026C}"/>
              </a:ext>
            </a:extLst>
          </p:cNvPr>
          <p:cNvSpPr/>
          <p:nvPr/>
        </p:nvSpPr>
        <p:spPr>
          <a:xfrm rot="10800000">
            <a:off x="11287374" y="7555196"/>
            <a:ext cx="371988" cy="386441"/>
          </a:xfrm>
          <a:custGeom>
            <a:avLst/>
            <a:gdLst/>
            <a:ahLst/>
            <a:cxnLst/>
            <a:rect l="l" t="t" r="r" b="b"/>
            <a:pathLst>
              <a:path w="382905" h="388619">
                <a:moveTo>
                  <a:pt x="191198" y="0"/>
                </a:moveTo>
                <a:lnTo>
                  <a:pt x="147361" y="5131"/>
                </a:lnTo>
                <a:lnTo>
                  <a:pt x="107117" y="19747"/>
                </a:lnTo>
                <a:lnTo>
                  <a:pt x="71617" y="42682"/>
                </a:lnTo>
                <a:lnTo>
                  <a:pt x="42006" y="72771"/>
                </a:lnTo>
                <a:lnTo>
                  <a:pt x="19435" y="108846"/>
                </a:lnTo>
                <a:lnTo>
                  <a:pt x="5050" y="149744"/>
                </a:lnTo>
                <a:lnTo>
                  <a:pt x="0" y="194297"/>
                </a:lnTo>
                <a:lnTo>
                  <a:pt x="5050" y="238850"/>
                </a:lnTo>
                <a:lnTo>
                  <a:pt x="19435" y="279750"/>
                </a:lnTo>
                <a:lnTo>
                  <a:pt x="42006" y="315828"/>
                </a:lnTo>
                <a:lnTo>
                  <a:pt x="71617" y="345919"/>
                </a:lnTo>
                <a:lnTo>
                  <a:pt x="107117" y="368857"/>
                </a:lnTo>
                <a:lnTo>
                  <a:pt x="147361" y="383475"/>
                </a:lnTo>
                <a:lnTo>
                  <a:pt x="191198" y="388607"/>
                </a:lnTo>
                <a:lnTo>
                  <a:pt x="235039" y="383475"/>
                </a:lnTo>
                <a:lnTo>
                  <a:pt x="275284" y="368857"/>
                </a:lnTo>
                <a:lnTo>
                  <a:pt x="310785" y="345919"/>
                </a:lnTo>
                <a:lnTo>
                  <a:pt x="340394" y="315828"/>
                </a:lnTo>
                <a:lnTo>
                  <a:pt x="362964" y="279750"/>
                </a:lnTo>
                <a:lnTo>
                  <a:pt x="377347" y="238850"/>
                </a:lnTo>
                <a:lnTo>
                  <a:pt x="382397" y="194297"/>
                </a:lnTo>
                <a:lnTo>
                  <a:pt x="377347" y="149744"/>
                </a:lnTo>
                <a:lnTo>
                  <a:pt x="362964" y="108846"/>
                </a:lnTo>
                <a:lnTo>
                  <a:pt x="340394" y="72771"/>
                </a:lnTo>
                <a:lnTo>
                  <a:pt x="310785" y="42682"/>
                </a:lnTo>
                <a:lnTo>
                  <a:pt x="275284" y="19747"/>
                </a:lnTo>
                <a:lnTo>
                  <a:pt x="235039" y="5131"/>
                </a:lnTo>
                <a:lnTo>
                  <a:pt x="191198" y="0"/>
                </a:lnTo>
                <a:close/>
              </a:path>
            </a:pathLst>
          </a:custGeom>
          <a:solidFill>
            <a:srgbClr val="0E5C77">
              <a:alpha val="19999"/>
            </a:srgbClr>
          </a:solidFill>
        </p:spPr>
        <p:txBody>
          <a:bodyPr wrap="square" lIns="0" tIns="0" rIns="0" bIns="0" rtlCol="0"/>
          <a:lstStyle/>
          <a:p>
            <a:endParaRPr/>
          </a:p>
        </p:txBody>
      </p:sp>
      <p:sp>
        <p:nvSpPr>
          <p:cNvPr id="34" name="object 14">
            <a:extLst>
              <a:ext uri="{FF2B5EF4-FFF2-40B4-BE49-F238E27FC236}">
                <a16:creationId xmlns:a16="http://schemas.microsoft.com/office/drawing/2014/main" id="{BA238379-38B4-1ED0-2EBC-33F28CE277AE}"/>
              </a:ext>
            </a:extLst>
          </p:cNvPr>
          <p:cNvSpPr/>
          <p:nvPr/>
        </p:nvSpPr>
        <p:spPr>
          <a:xfrm rot="10800000">
            <a:off x="11127502" y="7012374"/>
            <a:ext cx="313382" cy="325822"/>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grpSp>
        <p:nvGrpSpPr>
          <p:cNvPr id="5" name="object 41">
            <a:extLst>
              <a:ext uri="{FF2B5EF4-FFF2-40B4-BE49-F238E27FC236}">
                <a16:creationId xmlns:a16="http://schemas.microsoft.com/office/drawing/2014/main" id="{957BDDD7-B931-B769-D505-43BF2BAE0273}"/>
              </a:ext>
            </a:extLst>
          </p:cNvPr>
          <p:cNvGrpSpPr/>
          <p:nvPr userDrawn="1"/>
        </p:nvGrpSpPr>
        <p:grpSpPr>
          <a:xfrm>
            <a:off x="10681097" y="5820975"/>
            <a:ext cx="651156" cy="708550"/>
            <a:chOff x="5598848" y="1620229"/>
            <a:chExt cx="2190115" cy="2383155"/>
          </a:xfrm>
        </p:grpSpPr>
        <p:pic>
          <p:nvPicPr>
            <p:cNvPr id="6" name="object 42">
              <a:extLst>
                <a:ext uri="{FF2B5EF4-FFF2-40B4-BE49-F238E27FC236}">
                  <a16:creationId xmlns:a16="http://schemas.microsoft.com/office/drawing/2014/main" id="{B0316D10-AB7F-7247-2309-FF6E189194BC}"/>
                </a:ext>
              </a:extLst>
            </p:cNvPr>
            <p:cNvPicPr/>
            <p:nvPr/>
          </p:nvPicPr>
          <p:blipFill>
            <a:blip r:embed="rId2" cstate="print"/>
            <a:stretch>
              <a:fillRect/>
            </a:stretch>
          </p:blipFill>
          <p:spPr>
            <a:xfrm>
              <a:off x="7161630" y="1899091"/>
              <a:ext cx="113817" cy="115671"/>
            </a:xfrm>
            <a:prstGeom prst="rect">
              <a:avLst/>
            </a:prstGeom>
          </p:spPr>
        </p:pic>
        <p:pic>
          <p:nvPicPr>
            <p:cNvPr id="7" name="object 43">
              <a:extLst>
                <a:ext uri="{FF2B5EF4-FFF2-40B4-BE49-F238E27FC236}">
                  <a16:creationId xmlns:a16="http://schemas.microsoft.com/office/drawing/2014/main" id="{74F3DB94-6083-9227-318F-D47A76A048F2}"/>
                </a:ext>
              </a:extLst>
            </p:cNvPr>
            <p:cNvPicPr/>
            <p:nvPr/>
          </p:nvPicPr>
          <p:blipFill>
            <a:blip r:embed="rId3" cstate="print"/>
            <a:stretch>
              <a:fillRect/>
            </a:stretch>
          </p:blipFill>
          <p:spPr>
            <a:xfrm>
              <a:off x="5598848" y="1620229"/>
              <a:ext cx="2189904" cy="2382902"/>
            </a:xfrm>
            <a:prstGeom prst="rect">
              <a:avLst/>
            </a:prstGeom>
          </p:spPr>
        </p:pic>
        <p:pic>
          <p:nvPicPr>
            <p:cNvPr id="13" name="object 44">
              <a:extLst>
                <a:ext uri="{FF2B5EF4-FFF2-40B4-BE49-F238E27FC236}">
                  <a16:creationId xmlns:a16="http://schemas.microsoft.com/office/drawing/2014/main" id="{58167220-AAA0-C719-AE15-32888A8561F8}"/>
                </a:ext>
              </a:extLst>
            </p:cNvPr>
            <p:cNvPicPr/>
            <p:nvPr/>
          </p:nvPicPr>
          <p:blipFill>
            <a:blip r:embed="rId4" cstate="print"/>
            <a:stretch>
              <a:fillRect/>
            </a:stretch>
          </p:blipFill>
          <p:spPr>
            <a:xfrm>
              <a:off x="6871611" y="1669224"/>
              <a:ext cx="175945" cy="178803"/>
            </a:xfrm>
            <a:prstGeom prst="rect">
              <a:avLst/>
            </a:prstGeom>
          </p:spPr>
        </p:pic>
      </p:grpSp>
      <p:sp>
        <p:nvSpPr>
          <p:cNvPr id="3" name="Text Placeholder 2">
            <a:extLst>
              <a:ext uri="{FF2B5EF4-FFF2-40B4-BE49-F238E27FC236}">
                <a16:creationId xmlns:a16="http://schemas.microsoft.com/office/drawing/2014/main" id="{5ADC4885-E653-9F9B-1C72-2AA34FCB44D8}"/>
              </a:ext>
            </a:extLst>
          </p:cNvPr>
          <p:cNvSpPr>
            <a:spLocks noGrp="1"/>
          </p:cNvSpPr>
          <p:nvPr userDrawn="1">
            <p:ph type="body" idx="1"/>
          </p:nvPr>
        </p:nvSpPr>
        <p:spPr>
          <a:xfrm>
            <a:off x="4159032" y="323841"/>
            <a:ext cx="2409934" cy="865909"/>
          </a:xfrm>
        </p:spPr>
        <p:txBody>
          <a:bodyPr>
            <a:normAutofit/>
          </a:bodyPr>
          <a:lstStyle>
            <a:lvl1pPr marL="0" indent="0" algn="l">
              <a:buNone/>
              <a:defRPr sz="1400">
                <a:solidFill>
                  <a:schemeClr val="accent3"/>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7" name="Text Placeholder 2">
            <a:extLst>
              <a:ext uri="{FF2B5EF4-FFF2-40B4-BE49-F238E27FC236}">
                <a16:creationId xmlns:a16="http://schemas.microsoft.com/office/drawing/2014/main" id="{D1FC42D7-181E-CBB1-98A3-2AD2D7BED320}"/>
              </a:ext>
            </a:extLst>
          </p:cNvPr>
          <p:cNvSpPr>
            <a:spLocks noGrp="1"/>
          </p:cNvSpPr>
          <p:nvPr>
            <p:ph type="body" idx="10"/>
          </p:nvPr>
        </p:nvSpPr>
        <p:spPr>
          <a:xfrm>
            <a:off x="342828" y="4045890"/>
            <a:ext cx="2694661" cy="865909"/>
          </a:xfrm>
        </p:spPr>
        <p:txBody>
          <a:bodyPr>
            <a:normAutofit/>
          </a:bodyPr>
          <a:lstStyle>
            <a:lvl1pPr marL="0" indent="0" algn="l">
              <a:buNone/>
              <a:defRPr sz="1400">
                <a:solidFill>
                  <a:schemeClr val="accent3"/>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9" name="Text Placeholder 2">
            <a:extLst>
              <a:ext uri="{FF2B5EF4-FFF2-40B4-BE49-F238E27FC236}">
                <a16:creationId xmlns:a16="http://schemas.microsoft.com/office/drawing/2014/main" id="{09BF7EEC-507A-5DAF-041E-6C88DA7CD386}"/>
              </a:ext>
            </a:extLst>
          </p:cNvPr>
          <p:cNvSpPr>
            <a:spLocks noGrp="1"/>
          </p:cNvSpPr>
          <p:nvPr>
            <p:ph type="body" idx="11"/>
          </p:nvPr>
        </p:nvSpPr>
        <p:spPr>
          <a:xfrm>
            <a:off x="859810" y="5994450"/>
            <a:ext cx="2177679" cy="865909"/>
          </a:xfrm>
        </p:spPr>
        <p:txBody>
          <a:bodyPr>
            <a:normAutofit/>
          </a:bodyPr>
          <a:lstStyle>
            <a:lvl1pPr marL="0" indent="0" algn="l">
              <a:buNone/>
              <a:defRPr sz="1400">
                <a:solidFill>
                  <a:schemeClr val="accent3"/>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Picture Placeholder 2">
            <a:extLst>
              <a:ext uri="{FF2B5EF4-FFF2-40B4-BE49-F238E27FC236}">
                <a16:creationId xmlns:a16="http://schemas.microsoft.com/office/drawing/2014/main" id="{C56A3293-0A25-9254-24C1-0102A4EFA6AA}"/>
              </a:ext>
            </a:extLst>
          </p:cNvPr>
          <p:cNvSpPr>
            <a:spLocks noGrp="1"/>
          </p:cNvSpPr>
          <p:nvPr>
            <p:ph type="pic" idx="12"/>
          </p:nvPr>
        </p:nvSpPr>
        <p:spPr>
          <a:xfrm>
            <a:off x="528540" y="569748"/>
            <a:ext cx="2993617" cy="2953425"/>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9" name="Picture Placeholder 2">
            <a:extLst>
              <a:ext uri="{FF2B5EF4-FFF2-40B4-BE49-F238E27FC236}">
                <a16:creationId xmlns:a16="http://schemas.microsoft.com/office/drawing/2014/main" id="{278CA799-987B-A375-4C17-9D3DEB73736C}"/>
              </a:ext>
            </a:extLst>
          </p:cNvPr>
          <p:cNvSpPr>
            <a:spLocks noGrp="1"/>
          </p:cNvSpPr>
          <p:nvPr>
            <p:ph type="pic" idx="13"/>
          </p:nvPr>
        </p:nvSpPr>
        <p:spPr>
          <a:xfrm>
            <a:off x="3129092" y="2844799"/>
            <a:ext cx="5166198" cy="5096837"/>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11" name="Picture Placeholder 2">
            <a:extLst>
              <a:ext uri="{FF2B5EF4-FFF2-40B4-BE49-F238E27FC236}">
                <a16:creationId xmlns:a16="http://schemas.microsoft.com/office/drawing/2014/main" id="{50AD25F3-855C-5EB6-FE7B-3C66BC00A2E4}"/>
              </a:ext>
            </a:extLst>
          </p:cNvPr>
          <p:cNvSpPr>
            <a:spLocks noGrp="1"/>
          </p:cNvSpPr>
          <p:nvPr>
            <p:ph type="pic" idx="14"/>
          </p:nvPr>
        </p:nvSpPr>
        <p:spPr>
          <a:xfrm>
            <a:off x="7221221" y="-501494"/>
            <a:ext cx="3537548" cy="3490053"/>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14" name="Picture Placeholder 2">
            <a:extLst>
              <a:ext uri="{FF2B5EF4-FFF2-40B4-BE49-F238E27FC236}">
                <a16:creationId xmlns:a16="http://schemas.microsoft.com/office/drawing/2014/main" id="{6296069B-042B-27A3-FD0E-ECE4DCE3A473}"/>
              </a:ext>
            </a:extLst>
          </p:cNvPr>
          <p:cNvSpPr>
            <a:spLocks noGrp="1"/>
          </p:cNvSpPr>
          <p:nvPr>
            <p:ph type="pic" idx="15"/>
          </p:nvPr>
        </p:nvSpPr>
        <p:spPr>
          <a:xfrm>
            <a:off x="9173795" y="3523173"/>
            <a:ext cx="2005782" cy="1978853"/>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Tree>
    <p:extLst>
      <p:ext uri="{BB962C8B-B14F-4D97-AF65-F5344CB8AC3E}">
        <p14:creationId xmlns:p14="http://schemas.microsoft.com/office/powerpoint/2010/main" val="24651779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4_Section Header">
    <p:spTree>
      <p:nvGrpSpPr>
        <p:cNvPr id="1" name=""/>
        <p:cNvGrpSpPr/>
        <p:nvPr/>
      </p:nvGrpSpPr>
      <p:grpSpPr>
        <a:xfrm>
          <a:off x="0" y="0"/>
          <a:ext cx="0" cy="0"/>
          <a:chOff x="0" y="0"/>
          <a:chExt cx="0" cy="0"/>
        </a:xfrm>
      </p:grpSpPr>
      <p:sp>
        <p:nvSpPr>
          <p:cNvPr id="33" name="object 13">
            <a:extLst>
              <a:ext uri="{FF2B5EF4-FFF2-40B4-BE49-F238E27FC236}">
                <a16:creationId xmlns:a16="http://schemas.microsoft.com/office/drawing/2014/main" id="{A0C82D7B-43A0-E7DA-A947-D2D94D26026C}"/>
              </a:ext>
            </a:extLst>
          </p:cNvPr>
          <p:cNvSpPr/>
          <p:nvPr/>
        </p:nvSpPr>
        <p:spPr>
          <a:xfrm rot="10800000">
            <a:off x="11287374" y="7555196"/>
            <a:ext cx="371988" cy="386441"/>
          </a:xfrm>
          <a:custGeom>
            <a:avLst/>
            <a:gdLst/>
            <a:ahLst/>
            <a:cxnLst/>
            <a:rect l="l" t="t" r="r" b="b"/>
            <a:pathLst>
              <a:path w="382905" h="388619">
                <a:moveTo>
                  <a:pt x="191198" y="0"/>
                </a:moveTo>
                <a:lnTo>
                  <a:pt x="147361" y="5131"/>
                </a:lnTo>
                <a:lnTo>
                  <a:pt x="107117" y="19747"/>
                </a:lnTo>
                <a:lnTo>
                  <a:pt x="71617" y="42682"/>
                </a:lnTo>
                <a:lnTo>
                  <a:pt x="42006" y="72771"/>
                </a:lnTo>
                <a:lnTo>
                  <a:pt x="19435" y="108846"/>
                </a:lnTo>
                <a:lnTo>
                  <a:pt x="5050" y="149744"/>
                </a:lnTo>
                <a:lnTo>
                  <a:pt x="0" y="194297"/>
                </a:lnTo>
                <a:lnTo>
                  <a:pt x="5050" y="238850"/>
                </a:lnTo>
                <a:lnTo>
                  <a:pt x="19435" y="279750"/>
                </a:lnTo>
                <a:lnTo>
                  <a:pt x="42006" y="315828"/>
                </a:lnTo>
                <a:lnTo>
                  <a:pt x="71617" y="345919"/>
                </a:lnTo>
                <a:lnTo>
                  <a:pt x="107117" y="368857"/>
                </a:lnTo>
                <a:lnTo>
                  <a:pt x="147361" y="383475"/>
                </a:lnTo>
                <a:lnTo>
                  <a:pt x="191198" y="388607"/>
                </a:lnTo>
                <a:lnTo>
                  <a:pt x="235039" y="383475"/>
                </a:lnTo>
                <a:lnTo>
                  <a:pt x="275284" y="368857"/>
                </a:lnTo>
                <a:lnTo>
                  <a:pt x="310785" y="345919"/>
                </a:lnTo>
                <a:lnTo>
                  <a:pt x="340394" y="315828"/>
                </a:lnTo>
                <a:lnTo>
                  <a:pt x="362964" y="279750"/>
                </a:lnTo>
                <a:lnTo>
                  <a:pt x="377347" y="238850"/>
                </a:lnTo>
                <a:lnTo>
                  <a:pt x="382397" y="194297"/>
                </a:lnTo>
                <a:lnTo>
                  <a:pt x="377347" y="149744"/>
                </a:lnTo>
                <a:lnTo>
                  <a:pt x="362964" y="108846"/>
                </a:lnTo>
                <a:lnTo>
                  <a:pt x="340394" y="72771"/>
                </a:lnTo>
                <a:lnTo>
                  <a:pt x="310785" y="42682"/>
                </a:lnTo>
                <a:lnTo>
                  <a:pt x="275284" y="19747"/>
                </a:lnTo>
                <a:lnTo>
                  <a:pt x="235039" y="5131"/>
                </a:lnTo>
                <a:lnTo>
                  <a:pt x="191198" y="0"/>
                </a:lnTo>
                <a:close/>
              </a:path>
            </a:pathLst>
          </a:custGeom>
          <a:solidFill>
            <a:srgbClr val="0E5C77">
              <a:alpha val="19999"/>
            </a:srgbClr>
          </a:solidFill>
        </p:spPr>
        <p:txBody>
          <a:bodyPr wrap="square" lIns="0" tIns="0" rIns="0" bIns="0" rtlCol="0"/>
          <a:lstStyle/>
          <a:p>
            <a:endParaRPr/>
          </a:p>
        </p:txBody>
      </p:sp>
      <p:sp>
        <p:nvSpPr>
          <p:cNvPr id="34" name="object 14">
            <a:extLst>
              <a:ext uri="{FF2B5EF4-FFF2-40B4-BE49-F238E27FC236}">
                <a16:creationId xmlns:a16="http://schemas.microsoft.com/office/drawing/2014/main" id="{BA238379-38B4-1ED0-2EBC-33F28CE277AE}"/>
              </a:ext>
            </a:extLst>
          </p:cNvPr>
          <p:cNvSpPr/>
          <p:nvPr/>
        </p:nvSpPr>
        <p:spPr>
          <a:xfrm rot="10800000">
            <a:off x="11127502" y="7012374"/>
            <a:ext cx="313382" cy="325822"/>
          </a:xfrm>
          <a:custGeom>
            <a:avLst/>
            <a:gdLst/>
            <a:ahLst/>
            <a:cxnLst/>
            <a:rect l="l" t="t" r="r" b="b"/>
            <a:pathLst>
              <a:path w="322580" h="327659">
                <a:moveTo>
                  <a:pt x="161213" y="0"/>
                </a:moveTo>
                <a:lnTo>
                  <a:pt x="118355" y="5851"/>
                </a:lnTo>
                <a:lnTo>
                  <a:pt x="79844" y="22366"/>
                </a:lnTo>
                <a:lnTo>
                  <a:pt x="47217" y="47982"/>
                </a:lnTo>
                <a:lnTo>
                  <a:pt x="22009" y="81138"/>
                </a:lnTo>
                <a:lnTo>
                  <a:pt x="5758" y="120275"/>
                </a:lnTo>
                <a:lnTo>
                  <a:pt x="0" y="163830"/>
                </a:lnTo>
                <a:lnTo>
                  <a:pt x="5758" y="207380"/>
                </a:lnTo>
                <a:lnTo>
                  <a:pt x="22009" y="246515"/>
                </a:lnTo>
                <a:lnTo>
                  <a:pt x="47217" y="279673"/>
                </a:lnTo>
                <a:lnTo>
                  <a:pt x="79844" y="305291"/>
                </a:lnTo>
                <a:lnTo>
                  <a:pt x="118355" y="321807"/>
                </a:lnTo>
                <a:lnTo>
                  <a:pt x="161213" y="327660"/>
                </a:lnTo>
                <a:lnTo>
                  <a:pt x="204072" y="321807"/>
                </a:lnTo>
                <a:lnTo>
                  <a:pt x="242583" y="305291"/>
                </a:lnTo>
                <a:lnTo>
                  <a:pt x="275210" y="279673"/>
                </a:lnTo>
                <a:lnTo>
                  <a:pt x="300418" y="246515"/>
                </a:lnTo>
                <a:lnTo>
                  <a:pt x="316669" y="207380"/>
                </a:lnTo>
                <a:lnTo>
                  <a:pt x="322427" y="163830"/>
                </a:lnTo>
                <a:lnTo>
                  <a:pt x="316669" y="120275"/>
                </a:lnTo>
                <a:lnTo>
                  <a:pt x="300418" y="81138"/>
                </a:lnTo>
                <a:lnTo>
                  <a:pt x="275210" y="47982"/>
                </a:lnTo>
                <a:lnTo>
                  <a:pt x="242583" y="22366"/>
                </a:lnTo>
                <a:lnTo>
                  <a:pt x="204072" y="5851"/>
                </a:lnTo>
                <a:lnTo>
                  <a:pt x="161213" y="0"/>
                </a:lnTo>
                <a:close/>
              </a:path>
            </a:pathLst>
          </a:custGeom>
          <a:solidFill>
            <a:srgbClr val="0E5C77">
              <a:alpha val="19999"/>
            </a:srgbClr>
          </a:solidFill>
        </p:spPr>
        <p:txBody>
          <a:bodyPr wrap="square" lIns="0" tIns="0" rIns="0" bIns="0" rtlCol="0"/>
          <a:lstStyle/>
          <a:p>
            <a:endParaRPr/>
          </a:p>
        </p:txBody>
      </p:sp>
      <p:grpSp>
        <p:nvGrpSpPr>
          <p:cNvPr id="5" name="object 41">
            <a:extLst>
              <a:ext uri="{FF2B5EF4-FFF2-40B4-BE49-F238E27FC236}">
                <a16:creationId xmlns:a16="http://schemas.microsoft.com/office/drawing/2014/main" id="{957BDDD7-B931-B769-D505-43BF2BAE0273}"/>
              </a:ext>
            </a:extLst>
          </p:cNvPr>
          <p:cNvGrpSpPr/>
          <p:nvPr userDrawn="1"/>
        </p:nvGrpSpPr>
        <p:grpSpPr>
          <a:xfrm>
            <a:off x="10681097" y="5820975"/>
            <a:ext cx="651156" cy="708550"/>
            <a:chOff x="5598848" y="1620229"/>
            <a:chExt cx="2190115" cy="2383155"/>
          </a:xfrm>
        </p:grpSpPr>
        <p:pic>
          <p:nvPicPr>
            <p:cNvPr id="6" name="object 42">
              <a:extLst>
                <a:ext uri="{FF2B5EF4-FFF2-40B4-BE49-F238E27FC236}">
                  <a16:creationId xmlns:a16="http://schemas.microsoft.com/office/drawing/2014/main" id="{B0316D10-AB7F-7247-2309-FF6E189194BC}"/>
                </a:ext>
              </a:extLst>
            </p:cNvPr>
            <p:cNvPicPr/>
            <p:nvPr/>
          </p:nvPicPr>
          <p:blipFill>
            <a:blip r:embed="rId2" cstate="print"/>
            <a:stretch>
              <a:fillRect/>
            </a:stretch>
          </p:blipFill>
          <p:spPr>
            <a:xfrm>
              <a:off x="7161630" y="1899091"/>
              <a:ext cx="113817" cy="115671"/>
            </a:xfrm>
            <a:prstGeom prst="rect">
              <a:avLst/>
            </a:prstGeom>
          </p:spPr>
        </p:pic>
        <p:pic>
          <p:nvPicPr>
            <p:cNvPr id="7" name="object 43">
              <a:extLst>
                <a:ext uri="{FF2B5EF4-FFF2-40B4-BE49-F238E27FC236}">
                  <a16:creationId xmlns:a16="http://schemas.microsoft.com/office/drawing/2014/main" id="{74F3DB94-6083-9227-318F-D47A76A048F2}"/>
                </a:ext>
              </a:extLst>
            </p:cNvPr>
            <p:cNvPicPr/>
            <p:nvPr/>
          </p:nvPicPr>
          <p:blipFill>
            <a:blip r:embed="rId3" cstate="print"/>
            <a:stretch>
              <a:fillRect/>
            </a:stretch>
          </p:blipFill>
          <p:spPr>
            <a:xfrm>
              <a:off x="5598848" y="1620229"/>
              <a:ext cx="2189904" cy="2382902"/>
            </a:xfrm>
            <a:prstGeom prst="rect">
              <a:avLst/>
            </a:prstGeom>
          </p:spPr>
        </p:pic>
        <p:pic>
          <p:nvPicPr>
            <p:cNvPr id="13" name="object 44">
              <a:extLst>
                <a:ext uri="{FF2B5EF4-FFF2-40B4-BE49-F238E27FC236}">
                  <a16:creationId xmlns:a16="http://schemas.microsoft.com/office/drawing/2014/main" id="{58167220-AAA0-C719-AE15-32888A8561F8}"/>
                </a:ext>
              </a:extLst>
            </p:cNvPr>
            <p:cNvPicPr/>
            <p:nvPr/>
          </p:nvPicPr>
          <p:blipFill>
            <a:blip r:embed="rId4" cstate="print"/>
            <a:stretch>
              <a:fillRect/>
            </a:stretch>
          </p:blipFill>
          <p:spPr>
            <a:xfrm>
              <a:off x="6871611" y="1669224"/>
              <a:ext cx="175945" cy="178803"/>
            </a:xfrm>
            <a:prstGeom prst="rect">
              <a:avLst/>
            </a:prstGeom>
          </p:spPr>
        </p:pic>
      </p:grpSp>
      <p:sp>
        <p:nvSpPr>
          <p:cNvPr id="17" name="Text Placeholder 2">
            <a:extLst>
              <a:ext uri="{FF2B5EF4-FFF2-40B4-BE49-F238E27FC236}">
                <a16:creationId xmlns:a16="http://schemas.microsoft.com/office/drawing/2014/main" id="{D1FC42D7-181E-CBB1-98A3-2AD2D7BED320}"/>
              </a:ext>
            </a:extLst>
          </p:cNvPr>
          <p:cNvSpPr>
            <a:spLocks noGrp="1"/>
          </p:cNvSpPr>
          <p:nvPr>
            <p:ph type="body" idx="10"/>
          </p:nvPr>
        </p:nvSpPr>
        <p:spPr>
          <a:xfrm>
            <a:off x="7658028" y="4109545"/>
            <a:ext cx="4243583" cy="1436853"/>
          </a:xfrm>
        </p:spPr>
        <p:txBody>
          <a:bodyPr>
            <a:normAutofit/>
          </a:bodyPr>
          <a:lstStyle>
            <a:lvl1pPr marL="0" indent="0" algn="l">
              <a:buNone/>
              <a:defRPr sz="1400">
                <a:solidFill>
                  <a:schemeClr val="accent3"/>
                </a:solidFill>
                <a:latin typeface="Quicksand"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21" name="object 7">
            <a:extLst>
              <a:ext uri="{FF2B5EF4-FFF2-40B4-BE49-F238E27FC236}">
                <a16:creationId xmlns:a16="http://schemas.microsoft.com/office/drawing/2014/main" id="{8553A972-1E95-D470-43E7-20722BD9B698}"/>
              </a:ext>
            </a:extLst>
          </p:cNvPr>
          <p:cNvSpPr/>
          <p:nvPr userDrawn="1"/>
        </p:nvSpPr>
        <p:spPr>
          <a:xfrm>
            <a:off x="8504433" y="4290554"/>
            <a:ext cx="456048" cy="456048"/>
          </a:xfrm>
          <a:custGeom>
            <a:avLst/>
            <a:gdLst/>
            <a:ahLst/>
            <a:cxnLst/>
            <a:rect l="l" t="t" r="r" b="b"/>
            <a:pathLst>
              <a:path w="502920" h="502920">
                <a:moveTo>
                  <a:pt x="251434" y="0"/>
                </a:moveTo>
                <a:lnTo>
                  <a:pt x="206239" y="4051"/>
                </a:lnTo>
                <a:lnTo>
                  <a:pt x="163701" y="15730"/>
                </a:lnTo>
                <a:lnTo>
                  <a:pt x="124531" y="34328"/>
                </a:lnTo>
                <a:lnTo>
                  <a:pt x="89439" y="59134"/>
                </a:lnTo>
                <a:lnTo>
                  <a:pt x="59134" y="89439"/>
                </a:lnTo>
                <a:lnTo>
                  <a:pt x="34328" y="124531"/>
                </a:lnTo>
                <a:lnTo>
                  <a:pt x="15730" y="163701"/>
                </a:lnTo>
                <a:lnTo>
                  <a:pt x="4051" y="206239"/>
                </a:lnTo>
                <a:lnTo>
                  <a:pt x="0" y="251434"/>
                </a:lnTo>
                <a:lnTo>
                  <a:pt x="4051" y="296626"/>
                </a:lnTo>
                <a:lnTo>
                  <a:pt x="15730" y="339160"/>
                </a:lnTo>
                <a:lnTo>
                  <a:pt x="34328" y="378328"/>
                </a:lnTo>
                <a:lnTo>
                  <a:pt x="59134" y="413419"/>
                </a:lnTo>
                <a:lnTo>
                  <a:pt x="89439" y="443722"/>
                </a:lnTo>
                <a:lnTo>
                  <a:pt x="124531" y="468528"/>
                </a:lnTo>
                <a:lnTo>
                  <a:pt x="163701" y="487126"/>
                </a:lnTo>
                <a:lnTo>
                  <a:pt x="206239" y="498805"/>
                </a:lnTo>
                <a:lnTo>
                  <a:pt x="251434" y="502856"/>
                </a:lnTo>
                <a:lnTo>
                  <a:pt x="296629" y="498805"/>
                </a:lnTo>
                <a:lnTo>
                  <a:pt x="339165" y="487126"/>
                </a:lnTo>
                <a:lnTo>
                  <a:pt x="378334" y="468528"/>
                </a:lnTo>
                <a:lnTo>
                  <a:pt x="413424" y="443722"/>
                </a:lnTo>
                <a:lnTo>
                  <a:pt x="443726" y="413419"/>
                </a:lnTo>
                <a:lnTo>
                  <a:pt x="468531" y="378328"/>
                </a:lnTo>
                <a:lnTo>
                  <a:pt x="487127" y="339160"/>
                </a:lnTo>
                <a:lnTo>
                  <a:pt x="498805" y="296626"/>
                </a:lnTo>
                <a:lnTo>
                  <a:pt x="502856" y="251434"/>
                </a:lnTo>
                <a:lnTo>
                  <a:pt x="498805" y="206239"/>
                </a:lnTo>
                <a:lnTo>
                  <a:pt x="487127" y="163701"/>
                </a:lnTo>
                <a:lnTo>
                  <a:pt x="468531" y="124531"/>
                </a:lnTo>
                <a:lnTo>
                  <a:pt x="443726" y="89439"/>
                </a:lnTo>
                <a:lnTo>
                  <a:pt x="413424" y="59134"/>
                </a:lnTo>
                <a:lnTo>
                  <a:pt x="378334" y="34328"/>
                </a:lnTo>
                <a:lnTo>
                  <a:pt x="339165" y="15730"/>
                </a:lnTo>
                <a:lnTo>
                  <a:pt x="296629" y="4051"/>
                </a:lnTo>
                <a:lnTo>
                  <a:pt x="251434" y="0"/>
                </a:lnTo>
                <a:close/>
              </a:path>
            </a:pathLst>
          </a:custGeom>
          <a:solidFill>
            <a:srgbClr val="9D62E2">
              <a:alpha val="23999"/>
            </a:srgbClr>
          </a:solidFill>
        </p:spPr>
        <p:txBody>
          <a:bodyPr wrap="square" lIns="0" tIns="0" rIns="0" bIns="0" rtlCol="0"/>
          <a:lstStyle/>
          <a:p>
            <a:endParaRPr/>
          </a:p>
        </p:txBody>
      </p:sp>
      <p:sp>
        <p:nvSpPr>
          <p:cNvPr id="22" name="object 8">
            <a:extLst>
              <a:ext uri="{FF2B5EF4-FFF2-40B4-BE49-F238E27FC236}">
                <a16:creationId xmlns:a16="http://schemas.microsoft.com/office/drawing/2014/main" id="{745FCC51-35A5-6552-1BCA-809EA904C4EA}"/>
              </a:ext>
            </a:extLst>
          </p:cNvPr>
          <p:cNvSpPr/>
          <p:nvPr userDrawn="1"/>
        </p:nvSpPr>
        <p:spPr>
          <a:xfrm>
            <a:off x="2057190" y="5942400"/>
            <a:ext cx="456048" cy="456048"/>
          </a:xfrm>
          <a:custGeom>
            <a:avLst/>
            <a:gdLst/>
            <a:ahLst/>
            <a:cxnLst/>
            <a:rect l="l" t="t" r="r" b="b"/>
            <a:pathLst>
              <a:path w="502919" h="502920">
                <a:moveTo>
                  <a:pt x="251421" y="0"/>
                </a:moveTo>
                <a:lnTo>
                  <a:pt x="206227" y="4050"/>
                </a:lnTo>
                <a:lnTo>
                  <a:pt x="163690" y="15730"/>
                </a:lnTo>
                <a:lnTo>
                  <a:pt x="124522" y="34328"/>
                </a:lnTo>
                <a:lnTo>
                  <a:pt x="89431" y="59133"/>
                </a:lnTo>
                <a:lnTo>
                  <a:pt x="59129" y="89437"/>
                </a:lnTo>
                <a:lnTo>
                  <a:pt x="34325" y="124527"/>
                </a:lnTo>
                <a:lnTo>
                  <a:pt x="15728" y="163695"/>
                </a:lnTo>
                <a:lnTo>
                  <a:pt x="4050" y="206230"/>
                </a:lnTo>
                <a:lnTo>
                  <a:pt x="0" y="251421"/>
                </a:lnTo>
                <a:lnTo>
                  <a:pt x="4050" y="296617"/>
                </a:lnTo>
                <a:lnTo>
                  <a:pt x="15728" y="339154"/>
                </a:lnTo>
                <a:lnTo>
                  <a:pt x="34325" y="378325"/>
                </a:lnTo>
                <a:lnTo>
                  <a:pt x="59129" y="413417"/>
                </a:lnTo>
                <a:lnTo>
                  <a:pt x="89431" y="443721"/>
                </a:lnTo>
                <a:lnTo>
                  <a:pt x="124522" y="468527"/>
                </a:lnTo>
                <a:lnTo>
                  <a:pt x="163690" y="487125"/>
                </a:lnTo>
                <a:lnTo>
                  <a:pt x="206227" y="498805"/>
                </a:lnTo>
                <a:lnTo>
                  <a:pt x="251421" y="502856"/>
                </a:lnTo>
                <a:lnTo>
                  <a:pt x="296617" y="498805"/>
                </a:lnTo>
                <a:lnTo>
                  <a:pt x="339154" y="487125"/>
                </a:lnTo>
                <a:lnTo>
                  <a:pt x="378325" y="468527"/>
                </a:lnTo>
                <a:lnTo>
                  <a:pt x="413417" y="443721"/>
                </a:lnTo>
                <a:lnTo>
                  <a:pt x="443721" y="413417"/>
                </a:lnTo>
                <a:lnTo>
                  <a:pt x="468527" y="378325"/>
                </a:lnTo>
                <a:lnTo>
                  <a:pt x="487125" y="339154"/>
                </a:lnTo>
                <a:lnTo>
                  <a:pt x="498805" y="296617"/>
                </a:lnTo>
                <a:lnTo>
                  <a:pt x="502856" y="251421"/>
                </a:lnTo>
                <a:lnTo>
                  <a:pt x="498805" y="206230"/>
                </a:lnTo>
                <a:lnTo>
                  <a:pt x="487125" y="163695"/>
                </a:lnTo>
                <a:lnTo>
                  <a:pt x="468527" y="124527"/>
                </a:lnTo>
                <a:lnTo>
                  <a:pt x="443721" y="89437"/>
                </a:lnTo>
                <a:lnTo>
                  <a:pt x="413417" y="59133"/>
                </a:lnTo>
                <a:lnTo>
                  <a:pt x="378325" y="34328"/>
                </a:lnTo>
                <a:lnTo>
                  <a:pt x="339154" y="15730"/>
                </a:lnTo>
                <a:lnTo>
                  <a:pt x="296617" y="4050"/>
                </a:lnTo>
                <a:lnTo>
                  <a:pt x="251421" y="0"/>
                </a:lnTo>
                <a:close/>
              </a:path>
            </a:pathLst>
          </a:custGeom>
          <a:solidFill>
            <a:srgbClr val="9D62E2">
              <a:alpha val="23999"/>
            </a:srgbClr>
          </a:solidFill>
        </p:spPr>
        <p:txBody>
          <a:bodyPr wrap="square" lIns="0" tIns="0" rIns="0" bIns="0" rtlCol="0"/>
          <a:lstStyle/>
          <a:p>
            <a:endParaRPr/>
          </a:p>
        </p:txBody>
      </p:sp>
      <p:sp>
        <p:nvSpPr>
          <p:cNvPr id="23" name="object 9">
            <a:extLst>
              <a:ext uri="{FF2B5EF4-FFF2-40B4-BE49-F238E27FC236}">
                <a16:creationId xmlns:a16="http://schemas.microsoft.com/office/drawing/2014/main" id="{C5EB0FD8-7C29-F50A-8BC6-F6015FCF50C1}"/>
              </a:ext>
            </a:extLst>
          </p:cNvPr>
          <p:cNvSpPr/>
          <p:nvPr userDrawn="1"/>
        </p:nvSpPr>
        <p:spPr>
          <a:xfrm>
            <a:off x="8267563" y="4977217"/>
            <a:ext cx="2079857" cy="1878320"/>
          </a:xfrm>
          <a:custGeom>
            <a:avLst/>
            <a:gdLst/>
            <a:ahLst/>
            <a:cxnLst/>
            <a:rect l="l" t="t" r="r" b="b"/>
            <a:pathLst>
              <a:path w="2293620" h="2071370">
                <a:moveTo>
                  <a:pt x="1146619" y="0"/>
                </a:moveTo>
                <a:lnTo>
                  <a:pt x="1098150" y="1005"/>
                </a:lnTo>
                <a:lnTo>
                  <a:pt x="1050193" y="3997"/>
                </a:lnTo>
                <a:lnTo>
                  <a:pt x="1002790" y="8933"/>
                </a:lnTo>
                <a:lnTo>
                  <a:pt x="955978" y="15776"/>
                </a:lnTo>
                <a:lnTo>
                  <a:pt x="909799" y="24484"/>
                </a:lnTo>
                <a:lnTo>
                  <a:pt x="864291" y="35018"/>
                </a:lnTo>
                <a:lnTo>
                  <a:pt x="819496" y="47339"/>
                </a:lnTo>
                <a:lnTo>
                  <a:pt x="775452" y="61406"/>
                </a:lnTo>
                <a:lnTo>
                  <a:pt x="732199" y="77180"/>
                </a:lnTo>
                <a:lnTo>
                  <a:pt x="689778" y="94621"/>
                </a:lnTo>
                <a:lnTo>
                  <a:pt x="648227" y="113689"/>
                </a:lnTo>
                <a:lnTo>
                  <a:pt x="607588" y="134344"/>
                </a:lnTo>
                <a:lnTo>
                  <a:pt x="567898" y="156547"/>
                </a:lnTo>
                <a:lnTo>
                  <a:pt x="529199" y="180257"/>
                </a:lnTo>
                <a:lnTo>
                  <a:pt x="491531" y="205436"/>
                </a:lnTo>
                <a:lnTo>
                  <a:pt x="454932" y="232042"/>
                </a:lnTo>
                <a:lnTo>
                  <a:pt x="419443" y="260037"/>
                </a:lnTo>
                <a:lnTo>
                  <a:pt x="385103" y="289380"/>
                </a:lnTo>
                <a:lnTo>
                  <a:pt x="351953" y="320032"/>
                </a:lnTo>
                <a:lnTo>
                  <a:pt x="320032" y="351953"/>
                </a:lnTo>
                <a:lnTo>
                  <a:pt x="289380" y="385103"/>
                </a:lnTo>
                <a:lnTo>
                  <a:pt x="260037" y="419443"/>
                </a:lnTo>
                <a:lnTo>
                  <a:pt x="232042" y="454932"/>
                </a:lnTo>
                <a:lnTo>
                  <a:pt x="205436" y="491531"/>
                </a:lnTo>
                <a:lnTo>
                  <a:pt x="180257" y="529199"/>
                </a:lnTo>
                <a:lnTo>
                  <a:pt x="156547" y="567898"/>
                </a:lnTo>
                <a:lnTo>
                  <a:pt x="134344" y="607588"/>
                </a:lnTo>
                <a:lnTo>
                  <a:pt x="113689" y="648227"/>
                </a:lnTo>
                <a:lnTo>
                  <a:pt x="94621" y="689778"/>
                </a:lnTo>
                <a:lnTo>
                  <a:pt x="77180" y="732199"/>
                </a:lnTo>
                <a:lnTo>
                  <a:pt x="61406" y="775452"/>
                </a:lnTo>
                <a:lnTo>
                  <a:pt x="47339" y="819496"/>
                </a:lnTo>
                <a:lnTo>
                  <a:pt x="35018" y="864291"/>
                </a:lnTo>
                <a:lnTo>
                  <a:pt x="24484" y="909799"/>
                </a:lnTo>
                <a:lnTo>
                  <a:pt x="15776" y="955978"/>
                </a:lnTo>
                <a:lnTo>
                  <a:pt x="8933" y="1002790"/>
                </a:lnTo>
                <a:lnTo>
                  <a:pt x="3997" y="1050193"/>
                </a:lnTo>
                <a:lnTo>
                  <a:pt x="1005" y="1098150"/>
                </a:lnTo>
                <a:lnTo>
                  <a:pt x="0" y="1146619"/>
                </a:lnTo>
                <a:lnTo>
                  <a:pt x="1005" y="1195088"/>
                </a:lnTo>
                <a:lnTo>
                  <a:pt x="3997" y="1243045"/>
                </a:lnTo>
                <a:lnTo>
                  <a:pt x="8933" y="1290448"/>
                </a:lnTo>
                <a:lnTo>
                  <a:pt x="15776" y="1337260"/>
                </a:lnTo>
                <a:lnTo>
                  <a:pt x="24484" y="1383439"/>
                </a:lnTo>
                <a:lnTo>
                  <a:pt x="35018" y="1428947"/>
                </a:lnTo>
                <a:lnTo>
                  <a:pt x="47339" y="1473742"/>
                </a:lnTo>
                <a:lnTo>
                  <a:pt x="61406" y="1517786"/>
                </a:lnTo>
                <a:lnTo>
                  <a:pt x="77180" y="1561039"/>
                </a:lnTo>
                <a:lnTo>
                  <a:pt x="94621" y="1603460"/>
                </a:lnTo>
                <a:lnTo>
                  <a:pt x="113689" y="1645011"/>
                </a:lnTo>
                <a:lnTo>
                  <a:pt x="134344" y="1685650"/>
                </a:lnTo>
                <a:lnTo>
                  <a:pt x="156547" y="1725340"/>
                </a:lnTo>
                <a:lnTo>
                  <a:pt x="180257" y="1764039"/>
                </a:lnTo>
                <a:lnTo>
                  <a:pt x="205436" y="1801707"/>
                </a:lnTo>
                <a:lnTo>
                  <a:pt x="232042" y="1838306"/>
                </a:lnTo>
                <a:lnTo>
                  <a:pt x="260037" y="1873795"/>
                </a:lnTo>
                <a:lnTo>
                  <a:pt x="289380" y="1908135"/>
                </a:lnTo>
                <a:lnTo>
                  <a:pt x="320032" y="1941285"/>
                </a:lnTo>
                <a:lnTo>
                  <a:pt x="351953" y="1973206"/>
                </a:lnTo>
                <a:lnTo>
                  <a:pt x="385103" y="2003858"/>
                </a:lnTo>
                <a:lnTo>
                  <a:pt x="419443" y="2033201"/>
                </a:lnTo>
                <a:lnTo>
                  <a:pt x="454932" y="2061196"/>
                </a:lnTo>
                <a:lnTo>
                  <a:pt x="468748" y="2071240"/>
                </a:lnTo>
                <a:lnTo>
                  <a:pt x="1824490" y="2071240"/>
                </a:lnTo>
                <a:lnTo>
                  <a:pt x="1873795" y="2033201"/>
                </a:lnTo>
                <a:lnTo>
                  <a:pt x="1908135" y="2003858"/>
                </a:lnTo>
                <a:lnTo>
                  <a:pt x="1941285" y="1973206"/>
                </a:lnTo>
                <a:lnTo>
                  <a:pt x="1973206" y="1941285"/>
                </a:lnTo>
                <a:lnTo>
                  <a:pt x="2003858" y="1908135"/>
                </a:lnTo>
                <a:lnTo>
                  <a:pt x="2033201" y="1873795"/>
                </a:lnTo>
                <a:lnTo>
                  <a:pt x="2061196" y="1838306"/>
                </a:lnTo>
                <a:lnTo>
                  <a:pt x="2087802" y="1801707"/>
                </a:lnTo>
                <a:lnTo>
                  <a:pt x="2112981" y="1764039"/>
                </a:lnTo>
                <a:lnTo>
                  <a:pt x="2136691" y="1725340"/>
                </a:lnTo>
                <a:lnTo>
                  <a:pt x="2158894" y="1685650"/>
                </a:lnTo>
                <a:lnTo>
                  <a:pt x="2179549" y="1645011"/>
                </a:lnTo>
                <a:lnTo>
                  <a:pt x="2198617" y="1603460"/>
                </a:lnTo>
                <a:lnTo>
                  <a:pt x="2216058" y="1561039"/>
                </a:lnTo>
                <a:lnTo>
                  <a:pt x="2231832" y="1517786"/>
                </a:lnTo>
                <a:lnTo>
                  <a:pt x="2245899" y="1473742"/>
                </a:lnTo>
                <a:lnTo>
                  <a:pt x="2258220" y="1428947"/>
                </a:lnTo>
                <a:lnTo>
                  <a:pt x="2268754" y="1383439"/>
                </a:lnTo>
                <a:lnTo>
                  <a:pt x="2277462" y="1337260"/>
                </a:lnTo>
                <a:lnTo>
                  <a:pt x="2284305" y="1290448"/>
                </a:lnTo>
                <a:lnTo>
                  <a:pt x="2289241" y="1243045"/>
                </a:lnTo>
                <a:lnTo>
                  <a:pt x="2292233" y="1195088"/>
                </a:lnTo>
                <a:lnTo>
                  <a:pt x="2293238" y="1146619"/>
                </a:lnTo>
                <a:lnTo>
                  <a:pt x="2292233" y="1098150"/>
                </a:lnTo>
                <a:lnTo>
                  <a:pt x="2289241" y="1050193"/>
                </a:lnTo>
                <a:lnTo>
                  <a:pt x="2284305" y="1002790"/>
                </a:lnTo>
                <a:lnTo>
                  <a:pt x="2277462" y="955978"/>
                </a:lnTo>
                <a:lnTo>
                  <a:pt x="2268754" y="909799"/>
                </a:lnTo>
                <a:lnTo>
                  <a:pt x="2258220" y="864291"/>
                </a:lnTo>
                <a:lnTo>
                  <a:pt x="2245899" y="819496"/>
                </a:lnTo>
                <a:lnTo>
                  <a:pt x="2231832" y="775452"/>
                </a:lnTo>
                <a:lnTo>
                  <a:pt x="2216058" y="732199"/>
                </a:lnTo>
                <a:lnTo>
                  <a:pt x="2198617" y="689778"/>
                </a:lnTo>
                <a:lnTo>
                  <a:pt x="2179549" y="648227"/>
                </a:lnTo>
                <a:lnTo>
                  <a:pt x="2158894" y="607588"/>
                </a:lnTo>
                <a:lnTo>
                  <a:pt x="2136691" y="567898"/>
                </a:lnTo>
                <a:lnTo>
                  <a:pt x="2112981" y="529199"/>
                </a:lnTo>
                <a:lnTo>
                  <a:pt x="2087802" y="491531"/>
                </a:lnTo>
                <a:lnTo>
                  <a:pt x="2061196" y="454932"/>
                </a:lnTo>
                <a:lnTo>
                  <a:pt x="2033201" y="419443"/>
                </a:lnTo>
                <a:lnTo>
                  <a:pt x="2003858" y="385103"/>
                </a:lnTo>
                <a:lnTo>
                  <a:pt x="1973206" y="351953"/>
                </a:lnTo>
                <a:lnTo>
                  <a:pt x="1941285" y="320032"/>
                </a:lnTo>
                <a:lnTo>
                  <a:pt x="1908135" y="289380"/>
                </a:lnTo>
                <a:lnTo>
                  <a:pt x="1873795" y="260037"/>
                </a:lnTo>
                <a:lnTo>
                  <a:pt x="1838306" y="232042"/>
                </a:lnTo>
                <a:lnTo>
                  <a:pt x="1801707" y="205436"/>
                </a:lnTo>
                <a:lnTo>
                  <a:pt x="1764039" y="180257"/>
                </a:lnTo>
                <a:lnTo>
                  <a:pt x="1725340" y="156547"/>
                </a:lnTo>
                <a:lnTo>
                  <a:pt x="1685650" y="134344"/>
                </a:lnTo>
                <a:lnTo>
                  <a:pt x="1645011" y="113689"/>
                </a:lnTo>
                <a:lnTo>
                  <a:pt x="1603460" y="94621"/>
                </a:lnTo>
                <a:lnTo>
                  <a:pt x="1561039" y="77180"/>
                </a:lnTo>
                <a:lnTo>
                  <a:pt x="1517786" y="61406"/>
                </a:lnTo>
                <a:lnTo>
                  <a:pt x="1473742" y="47339"/>
                </a:lnTo>
                <a:lnTo>
                  <a:pt x="1428947" y="35018"/>
                </a:lnTo>
                <a:lnTo>
                  <a:pt x="1383439" y="24484"/>
                </a:lnTo>
                <a:lnTo>
                  <a:pt x="1337260" y="15776"/>
                </a:lnTo>
                <a:lnTo>
                  <a:pt x="1290448" y="8933"/>
                </a:lnTo>
                <a:lnTo>
                  <a:pt x="1243045" y="3997"/>
                </a:lnTo>
                <a:lnTo>
                  <a:pt x="1195088" y="1005"/>
                </a:lnTo>
                <a:lnTo>
                  <a:pt x="1146619" y="0"/>
                </a:lnTo>
                <a:close/>
              </a:path>
            </a:pathLst>
          </a:custGeom>
          <a:solidFill>
            <a:srgbClr val="9D62E2">
              <a:alpha val="23999"/>
            </a:srgbClr>
          </a:solidFill>
        </p:spPr>
        <p:txBody>
          <a:bodyPr wrap="square" lIns="0" tIns="0" rIns="0" bIns="0" rtlCol="0"/>
          <a:lstStyle/>
          <a:p>
            <a:endParaRPr/>
          </a:p>
        </p:txBody>
      </p:sp>
      <p:sp>
        <p:nvSpPr>
          <p:cNvPr id="24" name="object 10">
            <a:extLst>
              <a:ext uri="{FF2B5EF4-FFF2-40B4-BE49-F238E27FC236}">
                <a16:creationId xmlns:a16="http://schemas.microsoft.com/office/drawing/2014/main" id="{A89A634F-3FAC-49AD-A2DA-F89F069C69B6}"/>
              </a:ext>
            </a:extLst>
          </p:cNvPr>
          <p:cNvSpPr/>
          <p:nvPr userDrawn="1"/>
        </p:nvSpPr>
        <p:spPr>
          <a:xfrm>
            <a:off x="10400414" y="1"/>
            <a:ext cx="1786189" cy="1731487"/>
          </a:xfrm>
          <a:custGeom>
            <a:avLst/>
            <a:gdLst/>
            <a:ahLst/>
            <a:cxnLst/>
            <a:rect l="l" t="t" r="r" b="b"/>
            <a:pathLst>
              <a:path w="1969769" h="1909445">
                <a:moveTo>
                  <a:pt x="1969200" y="0"/>
                </a:moveTo>
                <a:lnTo>
                  <a:pt x="290407" y="0"/>
                </a:lnTo>
                <a:lnTo>
                  <a:pt x="289380" y="1110"/>
                </a:lnTo>
                <a:lnTo>
                  <a:pt x="260037" y="35449"/>
                </a:lnTo>
                <a:lnTo>
                  <a:pt x="232042" y="70938"/>
                </a:lnTo>
                <a:lnTo>
                  <a:pt x="205436" y="107537"/>
                </a:lnTo>
                <a:lnTo>
                  <a:pt x="180257" y="145206"/>
                </a:lnTo>
                <a:lnTo>
                  <a:pt x="156547" y="183905"/>
                </a:lnTo>
                <a:lnTo>
                  <a:pt x="134344" y="223594"/>
                </a:lnTo>
                <a:lnTo>
                  <a:pt x="113689" y="264234"/>
                </a:lnTo>
                <a:lnTo>
                  <a:pt x="94621" y="305784"/>
                </a:lnTo>
                <a:lnTo>
                  <a:pt x="77180" y="348206"/>
                </a:lnTo>
                <a:lnTo>
                  <a:pt x="61406" y="391458"/>
                </a:lnTo>
                <a:lnTo>
                  <a:pt x="47339" y="435502"/>
                </a:lnTo>
                <a:lnTo>
                  <a:pt x="35018" y="480298"/>
                </a:lnTo>
                <a:lnTo>
                  <a:pt x="24484" y="525805"/>
                </a:lnTo>
                <a:lnTo>
                  <a:pt x="15776" y="571984"/>
                </a:lnTo>
                <a:lnTo>
                  <a:pt x="8933" y="618796"/>
                </a:lnTo>
                <a:lnTo>
                  <a:pt x="3997" y="666200"/>
                </a:lnTo>
                <a:lnTo>
                  <a:pt x="1005" y="714156"/>
                </a:lnTo>
                <a:lnTo>
                  <a:pt x="0" y="762625"/>
                </a:lnTo>
                <a:lnTo>
                  <a:pt x="1005" y="811095"/>
                </a:lnTo>
                <a:lnTo>
                  <a:pt x="3997" y="859051"/>
                </a:lnTo>
                <a:lnTo>
                  <a:pt x="8933" y="906455"/>
                </a:lnTo>
                <a:lnTo>
                  <a:pt x="15776" y="953266"/>
                </a:lnTo>
                <a:lnTo>
                  <a:pt x="24484" y="999446"/>
                </a:lnTo>
                <a:lnTo>
                  <a:pt x="35018" y="1044953"/>
                </a:lnTo>
                <a:lnTo>
                  <a:pt x="47339" y="1089748"/>
                </a:lnTo>
                <a:lnTo>
                  <a:pt x="61406" y="1133792"/>
                </a:lnTo>
                <a:lnTo>
                  <a:pt x="77180" y="1177045"/>
                </a:lnTo>
                <a:lnTo>
                  <a:pt x="94621" y="1219467"/>
                </a:lnTo>
                <a:lnTo>
                  <a:pt x="113689" y="1261017"/>
                </a:lnTo>
                <a:lnTo>
                  <a:pt x="134344" y="1301657"/>
                </a:lnTo>
                <a:lnTo>
                  <a:pt x="156547" y="1341346"/>
                </a:lnTo>
                <a:lnTo>
                  <a:pt x="180257" y="1380045"/>
                </a:lnTo>
                <a:lnTo>
                  <a:pt x="205436" y="1417714"/>
                </a:lnTo>
                <a:lnTo>
                  <a:pt x="232042" y="1454312"/>
                </a:lnTo>
                <a:lnTo>
                  <a:pt x="260037" y="1489801"/>
                </a:lnTo>
                <a:lnTo>
                  <a:pt x="289380" y="1524141"/>
                </a:lnTo>
                <a:lnTo>
                  <a:pt x="320032" y="1557291"/>
                </a:lnTo>
                <a:lnTo>
                  <a:pt x="351953" y="1589212"/>
                </a:lnTo>
                <a:lnTo>
                  <a:pt x="385103" y="1619864"/>
                </a:lnTo>
                <a:lnTo>
                  <a:pt x="419443" y="1649207"/>
                </a:lnTo>
                <a:lnTo>
                  <a:pt x="454932" y="1677202"/>
                </a:lnTo>
                <a:lnTo>
                  <a:pt x="491531" y="1703809"/>
                </a:lnTo>
                <a:lnTo>
                  <a:pt x="529199" y="1728987"/>
                </a:lnTo>
                <a:lnTo>
                  <a:pt x="567898" y="1752698"/>
                </a:lnTo>
                <a:lnTo>
                  <a:pt x="607588" y="1774900"/>
                </a:lnTo>
                <a:lnTo>
                  <a:pt x="648227" y="1795556"/>
                </a:lnTo>
                <a:lnTo>
                  <a:pt x="689778" y="1814623"/>
                </a:lnTo>
                <a:lnTo>
                  <a:pt x="732199" y="1832064"/>
                </a:lnTo>
                <a:lnTo>
                  <a:pt x="775452" y="1847838"/>
                </a:lnTo>
                <a:lnTo>
                  <a:pt x="819496" y="1861905"/>
                </a:lnTo>
                <a:lnTo>
                  <a:pt x="864291" y="1874226"/>
                </a:lnTo>
                <a:lnTo>
                  <a:pt x="909799" y="1884760"/>
                </a:lnTo>
                <a:lnTo>
                  <a:pt x="955978" y="1893469"/>
                </a:lnTo>
                <a:lnTo>
                  <a:pt x="1002790" y="1900311"/>
                </a:lnTo>
                <a:lnTo>
                  <a:pt x="1050193" y="1905248"/>
                </a:lnTo>
                <a:lnTo>
                  <a:pt x="1098150" y="1908239"/>
                </a:lnTo>
                <a:lnTo>
                  <a:pt x="1146619" y="1909245"/>
                </a:lnTo>
                <a:lnTo>
                  <a:pt x="1195088" y="1908239"/>
                </a:lnTo>
                <a:lnTo>
                  <a:pt x="1243045" y="1905248"/>
                </a:lnTo>
                <a:lnTo>
                  <a:pt x="1290448" y="1900311"/>
                </a:lnTo>
                <a:lnTo>
                  <a:pt x="1337260" y="1893469"/>
                </a:lnTo>
                <a:lnTo>
                  <a:pt x="1383439" y="1884760"/>
                </a:lnTo>
                <a:lnTo>
                  <a:pt x="1428947" y="1874226"/>
                </a:lnTo>
                <a:lnTo>
                  <a:pt x="1473742" y="1861905"/>
                </a:lnTo>
                <a:lnTo>
                  <a:pt x="1517786" y="1847838"/>
                </a:lnTo>
                <a:lnTo>
                  <a:pt x="1561039" y="1832064"/>
                </a:lnTo>
                <a:lnTo>
                  <a:pt x="1603460" y="1814623"/>
                </a:lnTo>
                <a:lnTo>
                  <a:pt x="1645011" y="1795556"/>
                </a:lnTo>
                <a:lnTo>
                  <a:pt x="1685650" y="1774900"/>
                </a:lnTo>
                <a:lnTo>
                  <a:pt x="1725340" y="1752698"/>
                </a:lnTo>
                <a:lnTo>
                  <a:pt x="1764039" y="1728987"/>
                </a:lnTo>
                <a:lnTo>
                  <a:pt x="1801707" y="1703809"/>
                </a:lnTo>
                <a:lnTo>
                  <a:pt x="1838306" y="1677202"/>
                </a:lnTo>
                <a:lnTo>
                  <a:pt x="1873795" y="1649207"/>
                </a:lnTo>
                <a:lnTo>
                  <a:pt x="1908135" y="1619864"/>
                </a:lnTo>
                <a:lnTo>
                  <a:pt x="1941285" y="1589212"/>
                </a:lnTo>
                <a:lnTo>
                  <a:pt x="1969200" y="1561297"/>
                </a:lnTo>
                <a:lnTo>
                  <a:pt x="1969200" y="0"/>
                </a:lnTo>
                <a:close/>
              </a:path>
            </a:pathLst>
          </a:custGeom>
          <a:solidFill>
            <a:srgbClr val="9D62E2">
              <a:alpha val="23999"/>
            </a:srgbClr>
          </a:solidFill>
        </p:spPr>
        <p:txBody>
          <a:bodyPr wrap="square" lIns="0" tIns="0" rIns="0" bIns="0" rtlCol="0"/>
          <a:lstStyle/>
          <a:p>
            <a:endParaRPr/>
          </a:p>
        </p:txBody>
      </p:sp>
      <p:sp>
        <p:nvSpPr>
          <p:cNvPr id="25" name="object 11">
            <a:extLst>
              <a:ext uri="{FF2B5EF4-FFF2-40B4-BE49-F238E27FC236}">
                <a16:creationId xmlns:a16="http://schemas.microsoft.com/office/drawing/2014/main" id="{070B18B0-0A28-9977-5483-AE34A87FCE5C}"/>
              </a:ext>
            </a:extLst>
          </p:cNvPr>
          <p:cNvSpPr/>
          <p:nvPr userDrawn="1"/>
        </p:nvSpPr>
        <p:spPr>
          <a:xfrm>
            <a:off x="4070293" y="0"/>
            <a:ext cx="2079857" cy="1720546"/>
          </a:xfrm>
          <a:custGeom>
            <a:avLst/>
            <a:gdLst/>
            <a:ahLst/>
            <a:cxnLst/>
            <a:rect l="l" t="t" r="r" b="b"/>
            <a:pathLst>
              <a:path w="2293620" h="1897380">
                <a:moveTo>
                  <a:pt x="2013162" y="0"/>
                </a:moveTo>
                <a:lnTo>
                  <a:pt x="280076" y="0"/>
                </a:lnTo>
                <a:lnTo>
                  <a:pt x="260037" y="23451"/>
                </a:lnTo>
                <a:lnTo>
                  <a:pt x="232042" y="58940"/>
                </a:lnTo>
                <a:lnTo>
                  <a:pt x="205436" y="95539"/>
                </a:lnTo>
                <a:lnTo>
                  <a:pt x="180257" y="133207"/>
                </a:lnTo>
                <a:lnTo>
                  <a:pt x="156547" y="171906"/>
                </a:lnTo>
                <a:lnTo>
                  <a:pt x="134344" y="211595"/>
                </a:lnTo>
                <a:lnTo>
                  <a:pt x="113689" y="252235"/>
                </a:lnTo>
                <a:lnTo>
                  <a:pt x="94621" y="293786"/>
                </a:lnTo>
                <a:lnTo>
                  <a:pt x="77180" y="336207"/>
                </a:lnTo>
                <a:lnTo>
                  <a:pt x="61406" y="379460"/>
                </a:lnTo>
                <a:lnTo>
                  <a:pt x="47339" y="423504"/>
                </a:lnTo>
                <a:lnTo>
                  <a:pt x="35018" y="468299"/>
                </a:lnTo>
                <a:lnTo>
                  <a:pt x="24484" y="513807"/>
                </a:lnTo>
                <a:lnTo>
                  <a:pt x="15776" y="559986"/>
                </a:lnTo>
                <a:lnTo>
                  <a:pt x="8933" y="606797"/>
                </a:lnTo>
                <a:lnTo>
                  <a:pt x="3997" y="654201"/>
                </a:lnTo>
                <a:lnTo>
                  <a:pt x="1005" y="702158"/>
                </a:lnTo>
                <a:lnTo>
                  <a:pt x="0" y="750627"/>
                </a:lnTo>
                <a:lnTo>
                  <a:pt x="1005" y="799096"/>
                </a:lnTo>
                <a:lnTo>
                  <a:pt x="3997" y="847052"/>
                </a:lnTo>
                <a:lnTo>
                  <a:pt x="8933" y="894456"/>
                </a:lnTo>
                <a:lnTo>
                  <a:pt x="15776" y="941268"/>
                </a:lnTo>
                <a:lnTo>
                  <a:pt x="24484" y="987447"/>
                </a:lnTo>
                <a:lnTo>
                  <a:pt x="35018" y="1032954"/>
                </a:lnTo>
                <a:lnTo>
                  <a:pt x="47339" y="1077750"/>
                </a:lnTo>
                <a:lnTo>
                  <a:pt x="61406" y="1121794"/>
                </a:lnTo>
                <a:lnTo>
                  <a:pt x="77180" y="1165047"/>
                </a:lnTo>
                <a:lnTo>
                  <a:pt x="94621" y="1207468"/>
                </a:lnTo>
                <a:lnTo>
                  <a:pt x="113689" y="1249019"/>
                </a:lnTo>
                <a:lnTo>
                  <a:pt x="134344" y="1289658"/>
                </a:lnTo>
                <a:lnTo>
                  <a:pt x="156547" y="1329348"/>
                </a:lnTo>
                <a:lnTo>
                  <a:pt x="180257" y="1368046"/>
                </a:lnTo>
                <a:lnTo>
                  <a:pt x="205436" y="1405715"/>
                </a:lnTo>
                <a:lnTo>
                  <a:pt x="232042" y="1442314"/>
                </a:lnTo>
                <a:lnTo>
                  <a:pt x="260037" y="1477803"/>
                </a:lnTo>
                <a:lnTo>
                  <a:pt x="289380" y="1512142"/>
                </a:lnTo>
                <a:lnTo>
                  <a:pt x="320032" y="1545293"/>
                </a:lnTo>
                <a:lnTo>
                  <a:pt x="351953" y="1577214"/>
                </a:lnTo>
                <a:lnTo>
                  <a:pt x="385103" y="1607866"/>
                </a:lnTo>
                <a:lnTo>
                  <a:pt x="419443" y="1637209"/>
                </a:lnTo>
                <a:lnTo>
                  <a:pt x="454932" y="1665204"/>
                </a:lnTo>
                <a:lnTo>
                  <a:pt x="491531" y="1691810"/>
                </a:lnTo>
                <a:lnTo>
                  <a:pt x="529199" y="1716989"/>
                </a:lnTo>
                <a:lnTo>
                  <a:pt x="567898" y="1740699"/>
                </a:lnTo>
                <a:lnTo>
                  <a:pt x="607588" y="1762902"/>
                </a:lnTo>
                <a:lnTo>
                  <a:pt x="648227" y="1783557"/>
                </a:lnTo>
                <a:lnTo>
                  <a:pt x="689778" y="1802625"/>
                </a:lnTo>
                <a:lnTo>
                  <a:pt x="732199" y="1820066"/>
                </a:lnTo>
                <a:lnTo>
                  <a:pt x="775452" y="1835840"/>
                </a:lnTo>
                <a:lnTo>
                  <a:pt x="819496" y="1849907"/>
                </a:lnTo>
                <a:lnTo>
                  <a:pt x="864291" y="1862228"/>
                </a:lnTo>
                <a:lnTo>
                  <a:pt x="909799" y="1872762"/>
                </a:lnTo>
                <a:lnTo>
                  <a:pt x="955978" y="1881470"/>
                </a:lnTo>
                <a:lnTo>
                  <a:pt x="1002790" y="1888313"/>
                </a:lnTo>
                <a:lnTo>
                  <a:pt x="1050193" y="1893249"/>
                </a:lnTo>
                <a:lnTo>
                  <a:pt x="1098150" y="1896240"/>
                </a:lnTo>
                <a:lnTo>
                  <a:pt x="1146619" y="1897246"/>
                </a:lnTo>
                <a:lnTo>
                  <a:pt x="1195088" y="1896240"/>
                </a:lnTo>
                <a:lnTo>
                  <a:pt x="1243045" y="1893249"/>
                </a:lnTo>
                <a:lnTo>
                  <a:pt x="1290448" y="1888313"/>
                </a:lnTo>
                <a:lnTo>
                  <a:pt x="1337260" y="1881470"/>
                </a:lnTo>
                <a:lnTo>
                  <a:pt x="1383439" y="1872762"/>
                </a:lnTo>
                <a:lnTo>
                  <a:pt x="1428947" y="1862228"/>
                </a:lnTo>
                <a:lnTo>
                  <a:pt x="1473742" y="1849907"/>
                </a:lnTo>
                <a:lnTo>
                  <a:pt x="1517786" y="1835840"/>
                </a:lnTo>
                <a:lnTo>
                  <a:pt x="1561039" y="1820066"/>
                </a:lnTo>
                <a:lnTo>
                  <a:pt x="1603460" y="1802625"/>
                </a:lnTo>
                <a:lnTo>
                  <a:pt x="1645011" y="1783557"/>
                </a:lnTo>
                <a:lnTo>
                  <a:pt x="1685650" y="1762902"/>
                </a:lnTo>
                <a:lnTo>
                  <a:pt x="1725340" y="1740699"/>
                </a:lnTo>
                <a:lnTo>
                  <a:pt x="1764039" y="1716989"/>
                </a:lnTo>
                <a:lnTo>
                  <a:pt x="1801707" y="1691810"/>
                </a:lnTo>
                <a:lnTo>
                  <a:pt x="1838306" y="1665204"/>
                </a:lnTo>
                <a:lnTo>
                  <a:pt x="1873795" y="1637209"/>
                </a:lnTo>
                <a:lnTo>
                  <a:pt x="1908135" y="1607866"/>
                </a:lnTo>
                <a:lnTo>
                  <a:pt x="1941285" y="1577214"/>
                </a:lnTo>
                <a:lnTo>
                  <a:pt x="1973206" y="1545293"/>
                </a:lnTo>
                <a:lnTo>
                  <a:pt x="2003858" y="1512142"/>
                </a:lnTo>
                <a:lnTo>
                  <a:pt x="2033201" y="1477803"/>
                </a:lnTo>
                <a:lnTo>
                  <a:pt x="2061196" y="1442314"/>
                </a:lnTo>
                <a:lnTo>
                  <a:pt x="2087802" y="1405715"/>
                </a:lnTo>
                <a:lnTo>
                  <a:pt x="2112981" y="1368046"/>
                </a:lnTo>
                <a:lnTo>
                  <a:pt x="2136691" y="1329348"/>
                </a:lnTo>
                <a:lnTo>
                  <a:pt x="2158894" y="1289658"/>
                </a:lnTo>
                <a:lnTo>
                  <a:pt x="2179549" y="1249019"/>
                </a:lnTo>
                <a:lnTo>
                  <a:pt x="2198617" y="1207468"/>
                </a:lnTo>
                <a:lnTo>
                  <a:pt x="2216058" y="1165047"/>
                </a:lnTo>
                <a:lnTo>
                  <a:pt x="2231832" y="1121794"/>
                </a:lnTo>
                <a:lnTo>
                  <a:pt x="2245899" y="1077750"/>
                </a:lnTo>
                <a:lnTo>
                  <a:pt x="2258220" y="1032954"/>
                </a:lnTo>
                <a:lnTo>
                  <a:pt x="2268754" y="987447"/>
                </a:lnTo>
                <a:lnTo>
                  <a:pt x="2277462" y="941268"/>
                </a:lnTo>
                <a:lnTo>
                  <a:pt x="2284305" y="894456"/>
                </a:lnTo>
                <a:lnTo>
                  <a:pt x="2289241" y="847052"/>
                </a:lnTo>
                <a:lnTo>
                  <a:pt x="2292233" y="799096"/>
                </a:lnTo>
                <a:lnTo>
                  <a:pt x="2293239" y="750627"/>
                </a:lnTo>
                <a:lnTo>
                  <a:pt x="2292233" y="702158"/>
                </a:lnTo>
                <a:lnTo>
                  <a:pt x="2289241" y="654201"/>
                </a:lnTo>
                <a:lnTo>
                  <a:pt x="2284305" y="606797"/>
                </a:lnTo>
                <a:lnTo>
                  <a:pt x="2277462" y="559986"/>
                </a:lnTo>
                <a:lnTo>
                  <a:pt x="2268754" y="513807"/>
                </a:lnTo>
                <a:lnTo>
                  <a:pt x="2258220" y="468299"/>
                </a:lnTo>
                <a:lnTo>
                  <a:pt x="2245899" y="423504"/>
                </a:lnTo>
                <a:lnTo>
                  <a:pt x="2231832" y="379460"/>
                </a:lnTo>
                <a:lnTo>
                  <a:pt x="2216058" y="336207"/>
                </a:lnTo>
                <a:lnTo>
                  <a:pt x="2198617" y="293786"/>
                </a:lnTo>
                <a:lnTo>
                  <a:pt x="2179549" y="252235"/>
                </a:lnTo>
                <a:lnTo>
                  <a:pt x="2158894" y="211595"/>
                </a:lnTo>
                <a:lnTo>
                  <a:pt x="2136691" y="171906"/>
                </a:lnTo>
                <a:lnTo>
                  <a:pt x="2112981" y="133207"/>
                </a:lnTo>
                <a:lnTo>
                  <a:pt x="2087802" y="95539"/>
                </a:lnTo>
                <a:lnTo>
                  <a:pt x="2061196" y="58940"/>
                </a:lnTo>
                <a:lnTo>
                  <a:pt x="2033201" y="23451"/>
                </a:lnTo>
                <a:lnTo>
                  <a:pt x="2013162" y="0"/>
                </a:lnTo>
                <a:close/>
              </a:path>
            </a:pathLst>
          </a:custGeom>
          <a:solidFill>
            <a:srgbClr val="9D62E2">
              <a:alpha val="23999"/>
            </a:srgbClr>
          </a:solidFill>
        </p:spPr>
        <p:txBody>
          <a:bodyPr wrap="square" lIns="0" tIns="0" rIns="0" bIns="0" rtlCol="0"/>
          <a:lstStyle/>
          <a:p>
            <a:endParaRPr/>
          </a:p>
        </p:txBody>
      </p:sp>
      <p:sp>
        <p:nvSpPr>
          <p:cNvPr id="26" name="object 12">
            <a:extLst>
              <a:ext uri="{FF2B5EF4-FFF2-40B4-BE49-F238E27FC236}">
                <a16:creationId xmlns:a16="http://schemas.microsoft.com/office/drawing/2014/main" id="{FEF9B5F4-F996-526E-724D-8B9EB62F9A2B}"/>
              </a:ext>
            </a:extLst>
          </p:cNvPr>
          <p:cNvSpPr/>
          <p:nvPr userDrawn="1"/>
        </p:nvSpPr>
        <p:spPr>
          <a:xfrm>
            <a:off x="10321566" y="3966353"/>
            <a:ext cx="1580045" cy="1580045"/>
          </a:xfrm>
          <a:custGeom>
            <a:avLst/>
            <a:gdLst/>
            <a:ahLst/>
            <a:cxnLst/>
            <a:rect l="l" t="t" r="r" b="b"/>
            <a:pathLst>
              <a:path w="1742440" h="1742439">
                <a:moveTo>
                  <a:pt x="871016" y="0"/>
                </a:moveTo>
                <a:lnTo>
                  <a:pt x="823226" y="1288"/>
                </a:lnTo>
                <a:lnTo>
                  <a:pt x="776109" y="5110"/>
                </a:lnTo>
                <a:lnTo>
                  <a:pt x="729733" y="11400"/>
                </a:lnTo>
                <a:lnTo>
                  <a:pt x="684162" y="20089"/>
                </a:lnTo>
                <a:lnTo>
                  <a:pt x="639465" y="31113"/>
                </a:lnTo>
                <a:lnTo>
                  <a:pt x="595707" y="44404"/>
                </a:lnTo>
                <a:lnTo>
                  <a:pt x="552955" y="59897"/>
                </a:lnTo>
                <a:lnTo>
                  <a:pt x="511275" y="77525"/>
                </a:lnTo>
                <a:lnTo>
                  <a:pt x="470733" y="97221"/>
                </a:lnTo>
                <a:lnTo>
                  <a:pt x="431397" y="118919"/>
                </a:lnTo>
                <a:lnTo>
                  <a:pt x="393332" y="142552"/>
                </a:lnTo>
                <a:lnTo>
                  <a:pt x="356605" y="168055"/>
                </a:lnTo>
                <a:lnTo>
                  <a:pt x="321282" y="195360"/>
                </a:lnTo>
                <a:lnTo>
                  <a:pt x="287429" y="224402"/>
                </a:lnTo>
                <a:lnTo>
                  <a:pt x="255114" y="255114"/>
                </a:lnTo>
                <a:lnTo>
                  <a:pt x="224402" y="287429"/>
                </a:lnTo>
                <a:lnTo>
                  <a:pt x="195360" y="321282"/>
                </a:lnTo>
                <a:lnTo>
                  <a:pt x="168055" y="356605"/>
                </a:lnTo>
                <a:lnTo>
                  <a:pt x="142552" y="393332"/>
                </a:lnTo>
                <a:lnTo>
                  <a:pt x="118919" y="431397"/>
                </a:lnTo>
                <a:lnTo>
                  <a:pt x="97221" y="470733"/>
                </a:lnTo>
                <a:lnTo>
                  <a:pt x="77525" y="511275"/>
                </a:lnTo>
                <a:lnTo>
                  <a:pt x="59897" y="552955"/>
                </a:lnTo>
                <a:lnTo>
                  <a:pt x="44404" y="595707"/>
                </a:lnTo>
                <a:lnTo>
                  <a:pt x="31113" y="639465"/>
                </a:lnTo>
                <a:lnTo>
                  <a:pt x="20089" y="684162"/>
                </a:lnTo>
                <a:lnTo>
                  <a:pt x="11400" y="729733"/>
                </a:lnTo>
                <a:lnTo>
                  <a:pt x="5110" y="776109"/>
                </a:lnTo>
                <a:lnTo>
                  <a:pt x="1288" y="823226"/>
                </a:lnTo>
                <a:lnTo>
                  <a:pt x="0" y="871016"/>
                </a:lnTo>
                <a:lnTo>
                  <a:pt x="1288" y="918807"/>
                </a:lnTo>
                <a:lnTo>
                  <a:pt x="5110" y="965923"/>
                </a:lnTo>
                <a:lnTo>
                  <a:pt x="11400" y="1012300"/>
                </a:lnTo>
                <a:lnTo>
                  <a:pt x="20089" y="1057870"/>
                </a:lnTo>
                <a:lnTo>
                  <a:pt x="31113" y="1102568"/>
                </a:lnTo>
                <a:lnTo>
                  <a:pt x="44404" y="1146325"/>
                </a:lnTo>
                <a:lnTo>
                  <a:pt x="59897" y="1189078"/>
                </a:lnTo>
                <a:lnTo>
                  <a:pt x="77525" y="1230758"/>
                </a:lnTo>
                <a:lnTo>
                  <a:pt x="97221" y="1271299"/>
                </a:lnTo>
                <a:lnTo>
                  <a:pt x="118919" y="1310636"/>
                </a:lnTo>
                <a:lnTo>
                  <a:pt x="142552" y="1348701"/>
                </a:lnTo>
                <a:lnTo>
                  <a:pt x="168055" y="1385428"/>
                </a:lnTo>
                <a:lnTo>
                  <a:pt x="195360" y="1420751"/>
                </a:lnTo>
                <a:lnTo>
                  <a:pt x="224402" y="1454603"/>
                </a:lnTo>
                <a:lnTo>
                  <a:pt x="255114" y="1486919"/>
                </a:lnTo>
                <a:lnTo>
                  <a:pt x="287429" y="1517630"/>
                </a:lnTo>
                <a:lnTo>
                  <a:pt x="321282" y="1546672"/>
                </a:lnTo>
                <a:lnTo>
                  <a:pt x="356605" y="1573978"/>
                </a:lnTo>
                <a:lnTo>
                  <a:pt x="393332" y="1599480"/>
                </a:lnTo>
                <a:lnTo>
                  <a:pt x="431397" y="1623114"/>
                </a:lnTo>
                <a:lnTo>
                  <a:pt x="470733" y="1644812"/>
                </a:lnTo>
                <a:lnTo>
                  <a:pt x="511275" y="1664508"/>
                </a:lnTo>
                <a:lnTo>
                  <a:pt x="552955" y="1682136"/>
                </a:lnTo>
                <a:lnTo>
                  <a:pt x="595707" y="1697628"/>
                </a:lnTo>
                <a:lnTo>
                  <a:pt x="639465" y="1710920"/>
                </a:lnTo>
                <a:lnTo>
                  <a:pt x="684162" y="1721943"/>
                </a:lnTo>
                <a:lnTo>
                  <a:pt x="729733" y="1730633"/>
                </a:lnTo>
                <a:lnTo>
                  <a:pt x="776109" y="1736922"/>
                </a:lnTo>
                <a:lnTo>
                  <a:pt x="823226" y="1740744"/>
                </a:lnTo>
                <a:lnTo>
                  <a:pt x="871016" y="1742033"/>
                </a:lnTo>
                <a:lnTo>
                  <a:pt x="918807" y="1740744"/>
                </a:lnTo>
                <a:lnTo>
                  <a:pt x="965923" y="1736922"/>
                </a:lnTo>
                <a:lnTo>
                  <a:pt x="1012300" y="1730633"/>
                </a:lnTo>
                <a:lnTo>
                  <a:pt x="1057870" y="1721943"/>
                </a:lnTo>
                <a:lnTo>
                  <a:pt x="1102568" y="1710920"/>
                </a:lnTo>
                <a:lnTo>
                  <a:pt x="1146325" y="1697628"/>
                </a:lnTo>
                <a:lnTo>
                  <a:pt x="1189078" y="1682136"/>
                </a:lnTo>
                <a:lnTo>
                  <a:pt x="1230758" y="1664508"/>
                </a:lnTo>
                <a:lnTo>
                  <a:pt x="1271299" y="1644812"/>
                </a:lnTo>
                <a:lnTo>
                  <a:pt x="1310636" y="1623114"/>
                </a:lnTo>
                <a:lnTo>
                  <a:pt x="1348701" y="1599480"/>
                </a:lnTo>
                <a:lnTo>
                  <a:pt x="1385428" y="1573978"/>
                </a:lnTo>
                <a:lnTo>
                  <a:pt x="1420751" y="1546672"/>
                </a:lnTo>
                <a:lnTo>
                  <a:pt x="1454603" y="1517630"/>
                </a:lnTo>
                <a:lnTo>
                  <a:pt x="1486919" y="1486919"/>
                </a:lnTo>
                <a:lnTo>
                  <a:pt x="1517630" y="1454603"/>
                </a:lnTo>
                <a:lnTo>
                  <a:pt x="1546672" y="1420751"/>
                </a:lnTo>
                <a:lnTo>
                  <a:pt x="1573978" y="1385428"/>
                </a:lnTo>
                <a:lnTo>
                  <a:pt x="1599480" y="1348701"/>
                </a:lnTo>
                <a:lnTo>
                  <a:pt x="1623114" y="1310636"/>
                </a:lnTo>
                <a:lnTo>
                  <a:pt x="1644812" y="1271299"/>
                </a:lnTo>
                <a:lnTo>
                  <a:pt x="1664508" y="1230758"/>
                </a:lnTo>
                <a:lnTo>
                  <a:pt x="1682136" y="1189078"/>
                </a:lnTo>
                <a:lnTo>
                  <a:pt x="1697628" y="1146325"/>
                </a:lnTo>
                <a:lnTo>
                  <a:pt x="1710920" y="1102568"/>
                </a:lnTo>
                <a:lnTo>
                  <a:pt x="1721943" y="1057870"/>
                </a:lnTo>
                <a:lnTo>
                  <a:pt x="1730633" y="1012300"/>
                </a:lnTo>
                <a:lnTo>
                  <a:pt x="1736922" y="965923"/>
                </a:lnTo>
                <a:lnTo>
                  <a:pt x="1740744" y="918807"/>
                </a:lnTo>
                <a:lnTo>
                  <a:pt x="1742033" y="871016"/>
                </a:lnTo>
                <a:lnTo>
                  <a:pt x="1740744" y="823226"/>
                </a:lnTo>
                <a:lnTo>
                  <a:pt x="1736922" y="776109"/>
                </a:lnTo>
                <a:lnTo>
                  <a:pt x="1730633" y="729733"/>
                </a:lnTo>
                <a:lnTo>
                  <a:pt x="1721943" y="684162"/>
                </a:lnTo>
                <a:lnTo>
                  <a:pt x="1710920" y="639465"/>
                </a:lnTo>
                <a:lnTo>
                  <a:pt x="1697628" y="595707"/>
                </a:lnTo>
                <a:lnTo>
                  <a:pt x="1682136" y="552955"/>
                </a:lnTo>
                <a:lnTo>
                  <a:pt x="1664508" y="511275"/>
                </a:lnTo>
                <a:lnTo>
                  <a:pt x="1644812" y="470733"/>
                </a:lnTo>
                <a:lnTo>
                  <a:pt x="1623114" y="431397"/>
                </a:lnTo>
                <a:lnTo>
                  <a:pt x="1599480" y="393332"/>
                </a:lnTo>
                <a:lnTo>
                  <a:pt x="1573978" y="356605"/>
                </a:lnTo>
                <a:lnTo>
                  <a:pt x="1546672" y="321282"/>
                </a:lnTo>
                <a:lnTo>
                  <a:pt x="1517630" y="287429"/>
                </a:lnTo>
                <a:lnTo>
                  <a:pt x="1486919" y="255114"/>
                </a:lnTo>
                <a:lnTo>
                  <a:pt x="1454603" y="224402"/>
                </a:lnTo>
                <a:lnTo>
                  <a:pt x="1420751" y="195360"/>
                </a:lnTo>
                <a:lnTo>
                  <a:pt x="1385428" y="168055"/>
                </a:lnTo>
                <a:lnTo>
                  <a:pt x="1348701" y="142552"/>
                </a:lnTo>
                <a:lnTo>
                  <a:pt x="1310636" y="118919"/>
                </a:lnTo>
                <a:lnTo>
                  <a:pt x="1271299" y="97221"/>
                </a:lnTo>
                <a:lnTo>
                  <a:pt x="1230758" y="77525"/>
                </a:lnTo>
                <a:lnTo>
                  <a:pt x="1189078" y="59897"/>
                </a:lnTo>
                <a:lnTo>
                  <a:pt x="1146325" y="44404"/>
                </a:lnTo>
                <a:lnTo>
                  <a:pt x="1102568" y="31113"/>
                </a:lnTo>
                <a:lnTo>
                  <a:pt x="1057870" y="20089"/>
                </a:lnTo>
                <a:lnTo>
                  <a:pt x="1012300" y="11400"/>
                </a:lnTo>
                <a:lnTo>
                  <a:pt x="965923" y="5110"/>
                </a:lnTo>
                <a:lnTo>
                  <a:pt x="918807" y="1288"/>
                </a:lnTo>
                <a:lnTo>
                  <a:pt x="871016" y="0"/>
                </a:lnTo>
                <a:close/>
              </a:path>
            </a:pathLst>
          </a:custGeom>
          <a:solidFill>
            <a:srgbClr val="9D62E2">
              <a:alpha val="23999"/>
            </a:srgbClr>
          </a:solidFill>
        </p:spPr>
        <p:txBody>
          <a:bodyPr wrap="square" lIns="0" tIns="0" rIns="0" bIns="0" rtlCol="0"/>
          <a:lstStyle/>
          <a:p>
            <a:endParaRPr/>
          </a:p>
        </p:txBody>
      </p:sp>
      <p:sp>
        <p:nvSpPr>
          <p:cNvPr id="27" name="object 13">
            <a:extLst>
              <a:ext uri="{FF2B5EF4-FFF2-40B4-BE49-F238E27FC236}">
                <a16:creationId xmlns:a16="http://schemas.microsoft.com/office/drawing/2014/main" id="{2E23C361-F404-8DEA-3669-F09536585986}"/>
              </a:ext>
            </a:extLst>
          </p:cNvPr>
          <p:cNvSpPr/>
          <p:nvPr userDrawn="1"/>
        </p:nvSpPr>
        <p:spPr>
          <a:xfrm>
            <a:off x="7835316" y="4563116"/>
            <a:ext cx="726683" cy="726683"/>
          </a:xfrm>
          <a:custGeom>
            <a:avLst/>
            <a:gdLst/>
            <a:ahLst/>
            <a:cxnLst/>
            <a:rect l="l" t="t" r="r" b="b"/>
            <a:pathLst>
              <a:path w="801370" h="801370">
                <a:moveTo>
                  <a:pt x="400672" y="0"/>
                </a:moveTo>
                <a:lnTo>
                  <a:pt x="353945" y="2695"/>
                </a:lnTo>
                <a:lnTo>
                  <a:pt x="308801" y="10581"/>
                </a:lnTo>
                <a:lnTo>
                  <a:pt x="265542" y="23357"/>
                </a:lnTo>
                <a:lnTo>
                  <a:pt x="224466" y="40722"/>
                </a:lnTo>
                <a:lnTo>
                  <a:pt x="185876" y="62376"/>
                </a:lnTo>
                <a:lnTo>
                  <a:pt x="150072" y="88018"/>
                </a:lnTo>
                <a:lnTo>
                  <a:pt x="117354" y="117348"/>
                </a:lnTo>
                <a:lnTo>
                  <a:pt x="88023" y="150064"/>
                </a:lnTo>
                <a:lnTo>
                  <a:pt x="62379" y="185867"/>
                </a:lnTo>
                <a:lnTo>
                  <a:pt x="40724" y="224456"/>
                </a:lnTo>
                <a:lnTo>
                  <a:pt x="23358" y="265531"/>
                </a:lnTo>
                <a:lnTo>
                  <a:pt x="10582" y="308789"/>
                </a:lnTo>
                <a:lnTo>
                  <a:pt x="2695" y="353933"/>
                </a:lnTo>
                <a:lnTo>
                  <a:pt x="0" y="400659"/>
                </a:lnTo>
                <a:lnTo>
                  <a:pt x="2695" y="447386"/>
                </a:lnTo>
                <a:lnTo>
                  <a:pt x="10582" y="492529"/>
                </a:lnTo>
                <a:lnTo>
                  <a:pt x="23358" y="535789"/>
                </a:lnTo>
                <a:lnTo>
                  <a:pt x="40724" y="576864"/>
                </a:lnTo>
                <a:lnTo>
                  <a:pt x="62379" y="615455"/>
                </a:lnTo>
                <a:lnTo>
                  <a:pt x="88023" y="651259"/>
                </a:lnTo>
                <a:lnTo>
                  <a:pt x="117354" y="683977"/>
                </a:lnTo>
                <a:lnTo>
                  <a:pt x="150072" y="713308"/>
                </a:lnTo>
                <a:lnTo>
                  <a:pt x="185876" y="738951"/>
                </a:lnTo>
                <a:lnTo>
                  <a:pt x="224466" y="760607"/>
                </a:lnTo>
                <a:lnTo>
                  <a:pt x="265542" y="777973"/>
                </a:lnTo>
                <a:lnTo>
                  <a:pt x="308801" y="790749"/>
                </a:lnTo>
                <a:lnTo>
                  <a:pt x="353945" y="798636"/>
                </a:lnTo>
                <a:lnTo>
                  <a:pt x="400672" y="801331"/>
                </a:lnTo>
                <a:lnTo>
                  <a:pt x="447399" y="798636"/>
                </a:lnTo>
                <a:lnTo>
                  <a:pt x="492542" y="790749"/>
                </a:lnTo>
                <a:lnTo>
                  <a:pt x="535802" y="777973"/>
                </a:lnTo>
                <a:lnTo>
                  <a:pt x="576877" y="760607"/>
                </a:lnTo>
                <a:lnTo>
                  <a:pt x="615467" y="738951"/>
                </a:lnTo>
                <a:lnTo>
                  <a:pt x="651272" y="713308"/>
                </a:lnTo>
                <a:lnTo>
                  <a:pt x="683990" y="683977"/>
                </a:lnTo>
                <a:lnTo>
                  <a:pt x="713321" y="651259"/>
                </a:lnTo>
                <a:lnTo>
                  <a:pt x="738964" y="615455"/>
                </a:lnTo>
                <a:lnTo>
                  <a:pt x="760619" y="576864"/>
                </a:lnTo>
                <a:lnTo>
                  <a:pt x="777985" y="535789"/>
                </a:lnTo>
                <a:lnTo>
                  <a:pt x="790762" y="492529"/>
                </a:lnTo>
                <a:lnTo>
                  <a:pt x="798648" y="447386"/>
                </a:lnTo>
                <a:lnTo>
                  <a:pt x="801344" y="400659"/>
                </a:lnTo>
                <a:lnTo>
                  <a:pt x="798648" y="353933"/>
                </a:lnTo>
                <a:lnTo>
                  <a:pt x="790762" y="308789"/>
                </a:lnTo>
                <a:lnTo>
                  <a:pt x="777985" y="265531"/>
                </a:lnTo>
                <a:lnTo>
                  <a:pt x="760619" y="224456"/>
                </a:lnTo>
                <a:lnTo>
                  <a:pt x="738964" y="185867"/>
                </a:lnTo>
                <a:lnTo>
                  <a:pt x="713321" y="150064"/>
                </a:lnTo>
                <a:lnTo>
                  <a:pt x="683990" y="117348"/>
                </a:lnTo>
                <a:lnTo>
                  <a:pt x="651272" y="88018"/>
                </a:lnTo>
                <a:lnTo>
                  <a:pt x="615467" y="62376"/>
                </a:lnTo>
                <a:lnTo>
                  <a:pt x="576877" y="40722"/>
                </a:lnTo>
                <a:lnTo>
                  <a:pt x="535802" y="23357"/>
                </a:lnTo>
                <a:lnTo>
                  <a:pt x="492542" y="10581"/>
                </a:lnTo>
                <a:lnTo>
                  <a:pt x="447399" y="2695"/>
                </a:lnTo>
                <a:lnTo>
                  <a:pt x="400672" y="0"/>
                </a:lnTo>
                <a:close/>
              </a:path>
            </a:pathLst>
          </a:custGeom>
          <a:solidFill>
            <a:srgbClr val="9D62E2">
              <a:alpha val="23999"/>
            </a:srgbClr>
          </a:solidFill>
        </p:spPr>
        <p:txBody>
          <a:bodyPr wrap="square" lIns="0" tIns="0" rIns="0" bIns="0" rtlCol="0"/>
          <a:lstStyle/>
          <a:p>
            <a:endParaRPr/>
          </a:p>
        </p:txBody>
      </p:sp>
      <p:sp>
        <p:nvSpPr>
          <p:cNvPr id="28" name="object 14">
            <a:extLst>
              <a:ext uri="{FF2B5EF4-FFF2-40B4-BE49-F238E27FC236}">
                <a16:creationId xmlns:a16="http://schemas.microsoft.com/office/drawing/2014/main" id="{8F872847-C3B1-760C-F4AC-93DE0329412F}"/>
              </a:ext>
            </a:extLst>
          </p:cNvPr>
          <p:cNvSpPr/>
          <p:nvPr userDrawn="1"/>
        </p:nvSpPr>
        <p:spPr>
          <a:xfrm>
            <a:off x="1216272" y="5587712"/>
            <a:ext cx="726683" cy="726683"/>
          </a:xfrm>
          <a:custGeom>
            <a:avLst/>
            <a:gdLst/>
            <a:ahLst/>
            <a:cxnLst/>
            <a:rect l="l" t="t" r="r" b="b"/>
            <a:pathLst>
              <a:path w="801369" h="801370">
                <a:moveTo>
                  <a:pt x="400672" y="0"/>
                </a:moveTo>
                <a:lnTo>
                  <a:pt x="353945" y="2695"/>
                </a:lnTo>
                <a:lnTo>
                  <a:pt x="308801" y="10582"/>
                </a:lnTo>
                <a:lnTo>
                  <a:pt x="265542" y="23358"/>
                </a:lnTo>
                <a:lnTo>
                  <a:pt x="224466" y="40724"/>
                </a:lnTo>
                <a:lnTo>
                  <a:pt x="185876" y="62379"/>
                </a:lnTo>
                <a:lnTo>
                  <a:pt x="150072" y="88023"/>
                </a:lnTo>
                <a:lnTo>
                  <a:pt x="117354" y="117354"/>
                </a:lnTo>
                <a:lnTo>
                  <a:pt x="88023" y="150072"/>
                </a:lnTo>
                <a:lnTo>
                  <a:pt x="62379" y="185876"/>
                </a:lnTo>
                <a:lnTo>
                  <a:pt x="40724" y="224466"/>
                </a:lnTo>
                <a:lnTo>
                  <a:pt x="23358" y="265542"/>
                </a:lnTo>
                <a:lnTo>
                  <a:pt x="10582" y="308801"/>
                </a:lnTo>
                <a:lnTo>
                  <a:pt x="2695" y="353945"/>
                </a:lnTo>
                <a:lnTo>
                  <a:pt x="0" y="400672"/>
                </a:lnTo>
                <a:lnTo>
                  <a:pt x="2695" y="447398"/>
                </a:lnTo>
                <a:lnTo>
                  <a:pt x="10582" y="492541"/>
                </a:lnTo>
                <a:lnTo>
                  <a:pt x="23358" y="535800"/>
                </a:lnTo>
                <a:lnTo>
                  <a:pt x="40724" y="576875"/>
                </a:lnTo>
                <a:lnTo>
                  <a:pt x="62379" y="615464"/>
                </a:lnTo>
                <a:lnTo>
                  <a:pt x="88023" y="651267"/>
                </a:lnTo>
                <a:lnTo>
                  <a:pt x="117354" y="683983"/>
                </a:lnTo>
                <a:lnTo>
                  <a:pt x="150072" y="713313"/>
                </a:lnTo>
                <a:lnTo>
                  <a:pt x="185876" y="738955"/>
                </a:lnTo>
                <a:lnTo>
                  <a:pt x="224466" y="760609"/>
                </a:lnTo>
                <a:lnTo>
                  <a:pt x="265542" y="777974"/>
                </a:lnTo>
                <a:lnTo>
                  <a:pt x="308801" y="790750"/>
                </a:lnTo>
                <a:lnTo>
                  <a:pt x="353945" y="798636"/>
                </a:lnTo>
                <a:lnTo>
                  <a:pt x="400672" y="801331"/>
                </a:lnTo>
                <a:lnTo>
                  <a:pt x="447399" y="798636"/>
                </a:lnTo>
                <a:lnTo>
                  <a:pt x="492542" y="790750"/>
                </a:lnTo>
                <a:lnTo>
                  <a:pt x="535802" y="777974"/>
                </a:lnTo>
                <a:lnTo>
                  <a:pt x="576877" y="760609"/>
                </a:lnTo>
                <a:lnTo>
                  <a:pt x="615467" y="738955"/>
                </a:lnTo>
                <a:lnTo>
                  <a:pt x="651272" y="713313"/>
                </a:lnTo>
                <a:lnTo>
                  <a:pt x="683990" y="683983"/>
                </a:lnTo>
                <a:lnTo>
                  <a:pt x="713321" y="651267"/>
                </a:lnTo>
                <a:lnTo>
                  <a:pt x="738964" y="615464"/>
                </a:lnTo>
                <a:lnTo>
                  <a:pt x="760619" y="576875"/>
                </a:lnTo>
                <a:lnTo>
                  <a:pt x="777985" y="535800"/>
                </a:lnTo>
                <a:lnTo>
                  <a:pt x="790762" y="492541"/>
                </a:lnTo>
                <a:lnTo>
                  <a:pt x="798648" y="447398"/>
                </a:lnTo>
                <a:lnTo>
                  <a:pt x="801344" y="400672"/>
                </a:lnTo>
                <a:lnTo>
                  <a:pt x="798648" y="353945"/>
                </a:lnTo>
                <a:lnTo>
                  <a:pt x="790762" y="308801"/>
                </a:lnTo>
                <a:lnTo>
                  <a:pt x="777985" y="265542"/>
                </a:lnTo>
                <a:lnTo>
                  <a:pt x="760619" y="224466"/>
                </a:lnTo>
                <a:lnTo>
                  <a:pt x="738964" y="185876"/>
                </a:lnTo>
                <a:lnTo>
                  <a:pt x="713321" y="150072"/>
                </a:lnTo>
                <a:lnTo>
                  <a:pt x="683990" y="117354"/>
                </a:lnTo>
                <a:lnTo>
                  <a:pt x="651272" y="88023"/>
                </a:lnTo>
                <a:lnTo>
                  <a:pt x="615467" y="62379"/>
                </a:lnTo>
                <a:lnTo>
                  <a:pt x="576877" y="40724"/>
                </a:lnTo>
                <a:lnTo>
                  <a:pt x="535802" y="23358"/>
                </a:lnTo>
                <a:lnTo>
                  <a:pt x="492542" y="10582"/>
                </a:lnTo>
                <a:lnTo>
                  <a:pt x="447399" y="2695"/>
                </a:lnTo>
                <a:lnTo>
                  <a:pt x="400672" y="0"/>
                </a:lnTo>
                <a:close/>
              </a:path>
            </a:pathLst>
          </a:custGeom>
          <a:solidFill>
            <a:srgbClr val="9D62E2">
              <a:alpha val="23999"/>
            </a:srgbClr>
          </a:solidFill>
        </p:spPr>
        <p:txBody>
          <a:bodyPr wrap="square" lIns="0" tIns="0" rIns="0" bIns="0" rtlCol="0"/>
          <a:lstStyle/>
          <a:p>
            <a:endParaRPr/>
          </a:p>
        </p:txBody>
      </p:sp>
      <p:sp>
        <p:nvSpPr>
          <p:cNvPr id="29" name="object 15">
            <a:extLst>
              <a:ext uri="{FF2B5EF4-FFF2-40B4-BE49-F238E27FC236}">
                <a16:creationId xmlns:a16="http://schemas.microsoft.com/office/drawing/2014/main" id="{53AA02F4-3E33-4C39-33D6-76AA82402885}"/>
              </a:ext>
            </a:extLst>
          </p:cNvPr>
          <p:cNvSpPr/>
          <p:nvPr userDrawn="1"/>
        </p:nvSpPr>
        <p:spPr>
          <a:xfrm>
            <a:off x="1412140" y="6469124"/>
            <a:ext cx="726683" cy="386373"/>
          </a:xfrm>
          <a:custGeom>
            <a:avLst/>
            <a:gdLst/>
            <a:ahLst/>
            <a:cxnLst/>
            <a:rect l="l" t="t" r="r" b="b"/>
            <a:pathLst>
              <a:path w="801369" h="426084">
                <a:moveTo>
                  <a:pt x="400672" y="0"/>
                </a:moveTo>
                <a:lnTo>
                  <a:pt x="353945" y="2695"/>
                </a:lnTo>
                <a:lnTo>
                  <a:pt x="308801" y="10582"/>
                </a:lnTo>
                <a:lnTo>
                  <a:pt x="265542" y="23358"/>
                </a:lnTo>
                <a:lnTo>
                  <a:pt x="224466" y="40724"/>
                </a:lnTo>
                <a:lnTo>
                  <a:pt x="185876" y="62379"/>
                </a:lnTo>
                <a:lnTo>
                  <a:pt x="150072" y="88023"/>
                </a:lnTo>
                <a:lnTo>
                  <a:pt x="117354" y="117354"/>
                </a:lnTo>
                <a:lnTo>
                  <a:pt x="88023" y="150072"/>
                </a:lnTo>
                <a:lnTo>
                  <a:pt x="62379" y="185876"/>
                </a:lnTo>
                <a:lnTo>
                  <a:pt x="40724" y="224466"/>
                </a:lnTo>
                <a:lnTo>
                  <a:pt x="23358" y="265542"/>
                </a:lnTo>
                <a:lnTo>
                  <a:pt x="10582" y="308801"/>
                </a:lnTo>
                <a:lnTo>
                  <a:pt x="2695" y="353945"/>
                </a:lnTo>
                <a:lnTo>
                  <a:pt x="0" y="400672"/>
                </a:lnTo>
                <a:lnTo>
                  <a:pt x="1461" y="425998"/>
                </a:lnTo>
                <a:lnTo>
                  <a:pt x="799883" y="425998"/>
                </a:lnTo>
                <a:lnTo>
                  <a:pt x="801344" y="400672"/>
                </a:lnTo>
                <a:lnTo>
                  <a:pt x="798648" y="353945"/>
                </a:lnTo>
                <a:lnTo>
                  <a:pt x="790762" y="308801"/>
                </a:lnTo>
                <a:lnTo>
                  <a:pt x="777985" y="265542"/>
                </a:lnTo>
                <a:lnTo>
                  <a:pt x="760619" y="224466"/>
                </a:lnTo>
                <a:lnTo>
                  <a:pt x="738964" y="185876"/>
                </a:lnTo>
                <a:lnTo>
                  <a:pt x="713321" y="150072"/>
                </a:lnTo>
                <a:lnTo>
                  <a:pt x="683990" y="117354"/>
                </a:lnTo>
                <a:lnTo>
                  <a:pt x="651272" y="88023"/>
                </a:lnTo>
                <a:lnTo>
                  <a:pt x="615467" y="62379"/>
                </a:lnTo>
                <a:lnTo>
                  <a:pt x="576877" y="40724"/>
                </a:lnTo>
                <a:lnTo>
                  <a:pt x="535802" y="23358"/>
                </a:lnTo>
                <a:lnTo>
                  <a:pt x="492542" y="10582"/>
                </a:lnTo>
                <a:lnTo>
                  <a:pt x="447399" y="2695"/>
                </a:lnTo>
                <a:lnTo>
                  <a:pt x="400672" y="0"/>
                </a:lnTo>
                <a:close/>
              </a:path>
            </a:pathLst>
          </a:custGeom>
          <a:solidFill>
            <a:srgbClr val="9D62E2">
              <a:alpha val="23999"/>
            </a:srgbClr>
          </a:solidFill>
        </p:spPr>
        <p:txBody>
          <a:bodyPr wrap="square" lIns="0" tIns="0" rIns="0" bIns="0" rtlCol="0"/>
          <a:lstStyle/>
          <a:p>
            <a:endParaRPr/>
          </a:p>
        </p:txBody>
      </p:sp>
      <p:sp>
        <p:nvSpPr>
          <p:cNvPr id="31" name="object 14">
            <a:extLst>
              <a:ext uri="{FF2B5EF4-FFF2-40B4-BE49-F238E27FC236}">
                <a16:creationId xmlns:a16="http://schemas.microsoft.com/office/drawing/2014/main" id="{6424BFED-D43D-B183-B5D0-83BFB42B63F4}"/>
              </a:ext>
            </a:extLst>
          </p:cNvPr>
          <p:cNvSpPr/>
          <p:nvPr userDrawn="1"/>
        </p:nvSpPr>
        <p:spPr>
          <a:xfrm>
            <a:off x="6266493" y="1757951"/>
            <a:ext cx="726683" cy="726683"/>
          </a:xfrm>
          <a:custGeom>
            <a:avLst/>
            <a:gdLst/>
            <a:ahLst/>
            <a:cxnLst/>
            <a:rect l="l" t="t" r="r" b="b"/>
            <a:pathLst>
              <a:path w="801369" h="801370">
                <a:moveTo>
                  <a:pt x="400672" y="0"/>
                </a:moveTo>
                <a:lnTo>
                  <a:pt x="353945" y="2695"/>
                </a:lnTo>
                <a:lnTo>
                  <a:pt x="308801" y="10582"/>
                </a:lnTo>
                <a:lnTo>
                  <a:pt x="265542" y="23358"/>
                </a:lnTo>
                <a:lnTo>
                  <a:pt x="224466" y="40724"/>
                </a:lnTo>
                <a:lnTo>
                  <a:pt x="185876" y="62379"/>
                </a:lnTo>
                <a:lnTo>
                  <a:pt x="150072" y="88023"/>
                </a:lnTo>
                <a:lnTo>
                  <a:pt x="117354" y="117354"/>
                </a:lnTo>
                <a:lnTo>
                  <a:pt x="88023" y="150072"/>
                </a:lnTo>
                <a:lnTo>
                  <a:pt x="62379" y="185876"/>
                </a:lnTo>
                <a:lnTo>
                  <a:pt x="40724" y="224466"/>
                </a:lnTo>
                <a:lnTo>
                  <a:pt x="23358" y="265542"/>
                </a:lnTo>
                <a:lnTo>
                  <a:pt x="10582" y="308801"/>
                </a:lnTo>
                <a:lnTo>
                  <a:pt x="2695" y="353945"/>
                </a:lnTo>
                <a:lnTo>
                  <a:pt x="0" y="400672"/>
                </a:lnTo>
                <a:lnTo>
                  <a:pt x="2695" y="447398"/>
                </a:lnTo>
                <a:lnTo>
                  <a:pt x="10582" y="492541"/>
                </a:lnTo>
                <a:lnTo>
                  <a:pt x="23358" y="535800"/>
                </a:lnTo>
                <a:lnTo>
                  <a:pt x="40724" y="576875"/>
                </a:lnTo>
                <a:lnTo>
                  <a:pt x="62379" y="615464"/>
                </a:lnTo>
                <a:lnTo>
                  <a:pt x="88023" y="651267"/>
                </a:lnTo>
                <a:lnTo>
                  <a:pt x="117354" y="683983"/>
                </a:lnTo>
                <a:lnTo>
                  <a:pt x="150072" y="713313"/>
                </a:lnTo>
                <a:lnTo>
                  <a:pt x="185876" y="738955"/>
                </a:lnTo>
                <a:lnTo>
                  <a:pt x="224466" y="760609"/>
                </a:lnTo>
                <a:lnTo>
                  <a:pt x="265542" y="777974"/>
                </a:lnTo>
                <a:lnTo>
                  <a:pt x="308801" y="790750"/>
                </a:lnTo>
                <a:lnTo>
                  <a:pt x="353945" y="798636"/>
                </a:lnTo>
                <a:lnTo>
                  <a:pt x="400672" y="801331"/>
                </a:lnTo>
                <a:lnTo>
                  <a:pt x="447399" y="798636"/>
                </a:lnTo>
                <a:lnTo>
                  <a:pt x="492542" y="790750"/>
                </a:lnTo>
                <a:lnTo>
                  <a:pt x="535802" y="777974"/>
                </a:lnTo>
                <a:lnTo>
                  <a:pt x="576877" y="760609"/>
                </a:lnTo>
                <a:lnTo>
                  <a:pt x="615467" y="738955"/>
                </a:lnTo>
                <a:lnTo>
                  <a:pt x="651272" y="713313"/>
                </a:lnTo>
                <a:lnTo>
                  <a:pt x="683990" y="683983"/>
                </a:lnTo>
                <a:lnTo>
                  <a:pt x="713321" y="651267"/>
                </a:lnTo>
                <a:lnTo>
                  <a:pt x="738964" y="615464"/>
                </a:lnTo>
                <a:lnTo>
                  <a:pt x="760619" y="576875"/>
                </a:lnTo>
                <a:lnTo>
                  <a:pt x="777985" y="535800"/>
                </a:lnTo>
                <a:lnTo>
                  <a:pt x="790762" y="492541"/>
                </a:lnTo>
                <a:lnTo>
                  <a:pt x="798648" y="447398"/>
                </a:lnTo>
                <a:lnTo>
                  <a:pt x="801344" y="400672"/>
                </a:lnTo>
                <a:lnTo>
                  <a:pt x="798648" y="353945"/>
                </a:lnTo>
                <a:lnTo>
                  <a:pt x="790762" y="308801"/>
                </a:lnTo>
                <a:lnTo>
                  <a:pt x="777985" y="265542"/>
                </a:lnTo>
                <a:lnTo>
                  <a:pt x="760619" y="224466"/>
                </a:lnTo>
                <a:lnTo>
                  <a:pt x="738964" y="185876"/>
                </a:lnTo>
                <a:lnTo>
                  <a:pt x="713321" y="150072"/>
                </a:lnTo>
                <a:lnTo>
                  <a:pt x="683990" y="117354"/>
                </a:lnTo>
                <a:lnTo>
                  <a:pt x="651272" y="88023"/>
                </a:lnTo>
                <a:lnTo>
                  <a:pt x="615467" y="62379"/>
                </a:lnTo>
                <a:lnTo>
                  <a:pt x="576877" y="40724"/>
                </a:lnTo>
                <a:lnTo>
                  <a:pt x="535802" y="23358"/>
                </a:lnTo>
                <a:lnTo>
                  <a:pt x="492542" y="10582"/>
                </a:lnTo>
                <a:lnTo>
                  <a:pt x="447399" y="2695"/>
                </a:lnTo>
                <a:lnTo>
                  <a:pt x="400672" y="0"/>
                </a:lnTo>
                <a:close/>
              </a:path>
            </a:pathLst>
          </a:custGeom>
          <a:solidFill>
            <a:srgbClr val="9D62E2">
              <a:alpha val="23999"/>
            </a:srgbClr>
          </a:solidFill>
        </p:spPr>
        <p:txBody>
          <a:bodyPr wrap="square" lIns="0" tIns="0" rIns="0" bIns="0" rtlCol="0"/>
          <a:lstStyle/>
          <a:p>
            <a:endParaRPr/>
          </a:p>
        </p:txBody>
      </p:sp>
      <p:sp>
        <p:nvSpPr>
          <p:cNvPr id="32" name="object 14">
            <a:extLst>
              <a:ext uri="{FF2B5EF4-FFF2-40B4-BE49-F238E27FC236}">
                <a16:creationId xmlns:a16="http://schemas.microsoft.com/office/drawing/2014/main" id="{323976F1-F0C5-8B3E-79EC-251D18A92F44}"/>
              </a:ext>
            </a:extLst>
          </p:cNvPr>
          <p:cNvSpPr/>
          <p:nvPr userDrawn="1"/>
        </p:nvSpPr>
        <p:spPr>
          <a:xfrm>
            <a:off x="5464115" y="1757951"/>
            <a:ext cx="461393" cy="461393"/>
          </a:xfrm>
          <a:custGeom>
            <a:avLst/>
            <a:gdLst/>
            <a:ahLst/>
            <a:cxnLst/>
            <a:rect l="l" t="t" r="r" b="b"/>
            <a:pathLst>
              <a:path w="801369" h="801370">
                <a:moveTo>
                  <a:pt x="400672" y="0"/>
                </a:moveTo>
                <a:lnTo>
                  <a:pt x="353945" y="2695"/>
                </a:lnTo>
                <a:lnTo>
                  <a:pt x="308801" y="10582"/>
                </a:lnTo>
                <a:lnTo>
                  <a:pt x="265542" y="23358"/>
                </a:lnTo>
                <a:lnTo>
                  <a:pt x="224466" y="40724"/>
                </a:lnTo>
                <a:lnTo>
                  <a:pt x="185876" y="62379"/>
                </a:lnTo>
                <a:lnTo>
                  <a:pt x="150072" y="88023"/>
                </a:lnTo>
                <a:lnTo>
                  <a:pt x="117354" y="117354"/>
                </a:lnTo>
                <a:lnTo>
                  <a:pt x="88023" y="150072"/>
                </a:lnTo>
                <a:lnTo>
                  <a:pt x="62379" y="185876"/>
                </a:lnTo>
                <a:lnTo>
                  <a:pt x="40724" y="224466"/>
                </a:lnTo>
                <a:lnTo>
                  <a:pt x="23358" y="265542"/>
                </a:lnTo>
                <a:lnTo>
                  <a:pt x="10582" y="308801"/>
                </a:lnTo>
                <a:lnTo>
                  <a:pt x="2695" y="353945"/>
                </a:lnTo>
                <a:lnTo>
                  <a:pt x="0" y="400672"/>
                </a:lnTo>
                <a:lnTo>
                  <a:pt x="2695" y="447398"/>
                </a:lnTo>
                <a:lnTo>
                  <a:pt x="10582" y="492541"/>
                </a:lnTo>
                <a:lnTo>
                  <a:pt x="23358" y="535800"/>
                </a:lnTo>
                <a:lnTo>
                  <a:pt x="40724" y="576875"/>
                </a:lnTo>
                <a:lnTo>
                  <a:pt x="62379" y="615464"/>
                </a:lnTo>
                <a:lnTo>
                  <a:pt x="88023" y="651267"/>
                </a:lnTo>
                <a:lnTo>
                  <a:pt x="117354" y="683983"/>
                </a:lnTo>
                <a:lnTo>
                  <a:pt x="150072" y="713313"/>
                </a:lnTo>
                <a:lnTo>
                  <a:pt x="185876" y="738955"/>
                </a:lnTo>
                <a:lnTo>
                  <a:pt x="224466" y="760609"/>
                </a:lnTo>
                <a:lnTo>
                  <a:pt x="265542" y="777974"/>
                </a:lnTo>
                <a:lnTo>
                  <a:pt x="308801" y="790750"/>
                </a:lnTo>
                <a:lnTo>
                  <a:pt x="353945" y="798636"/>
                </a:lnTo>
                <a:lnTo>
                  <a:pt x="400672" y="801331"/>
                </a:lnTo>
                <a:lnTo>
                  <a:pt x="447399" y="798636"/>
                </a:lnTo>
                <a:lnTo>
                  <a:pt x="492542" y="790750"/>
                </a:lnTo>
                <a:lnTo>
                  <a:pt x="535802" y="777974"/>
                </a:lnTo>
                <a:lnTo>
                  <a:pt x="576877" y="760609"/>
                </a:lnTo>
                <a:lnTo>
                  <a:pt x="615467" y="738955"/>
                </a:lnTo>
                <a:lnTo>
                  <a:pt x="651272" y="713313"/>
                </a:lnTo>
                <a:lnTo>
                  <a:pt x="683990" y="683983"/>
                </a:lnTo>
                <a:lnTo>
                  <a:pt x="713321" y="651267"/>
                </a:lnTo>
                <a:lnTo>
                  <a:pt x="738964" y="615464"/>
                </a:lnTo>
                <a:lnTo>
                  <a:pt x="760619" y="576875"/>
                </a:lnTo>
                <a:lnTo>
                  <a:pt x="777985" y="535800"/>
                </a:lnTo>
                <a:lnTo>
                  <a:pt x="790762" y="492541"/>
                </a:lnTo>
                <a:lnTo>
                  <a:pt x="798648" y="447398"/>
                </a:lnTo>
                <a:lnTo>
                  <a:pt x="801344" y="400672"/>
                </a:lnTo>
                <a:lnTo>
                  <a:pt x="798648" y="353945"/>
                </a:lnTo>
                <a:lnTo>
                  <a:pt x="790762" y="308801"/>
                </a:lnTo>
                <a:lnTo>
                  <a:pt x="777985" y="265542"/>
                </a:lnTo>
                <a:lnTo>
                  <a:pt x="760619" y="224466"/>
                </a:lnTo>
                <a:lnTo>
                  <a:pt x="738964" y="185876"/>
                </a:lnTo>
                <a:lnTo>
                  <a:pt x="713321" y="150072"/>
                </a:lnTo>
                <a:lnTo>
                  <a:pt x="683990" y="117354"/>
                </a:lnTo>
                <a:lnTo>
                  <a:pt x="651272" y="88023"/>
                </a:lnTo>
                <a:lnTo>
                  <a:pt x="615467" y="62379"/>
                </a:lnTo>
                <a:lnTo>
                  <a:pt x="576877" y="40724"/>
                </a:lnTo>
                <a:lnTo>
                  <a:pt x="535802" y="23358"/>
                </a:lnTo>
                <a:lnTo>
                  <a:pt x="492542" y="10582"/>
                </a:lnTo>
                <a:lnTo>
                  <a:pt x="447399" y="2695"/>
                </a:lnTo>
                <a:lnTo>
                  <a:pt x="400672" y="0"/>
                </a:lnTo>
                <a:close/>
              </a:path>
            </a:pathLst>
          </a:custGeom>
          <a:solidFill>
            <a:srgbClr val="9D62E2">
              <a:alpha val="23999"/>
            </a:srgbClr>
          </a:solidFill>
        </p:spPr>
        <p:txBody>
          <a:bodyPr wrap="square" lIns="0" tIns="0" rIns="0" bIns="0" rtlCol="0"/>
          <a:lstStyle/>
          <a:p>
            <a:endParaRPr/>
          </a:p>
        </p:txBody>
      </p:sp>
      <p:sp>
        <p:nvSpPr>
          <p:cNvPr id="40" name="object 14">
            <a:extLst>
              <a:ext uri="{FF2B5EF4-FFF2-40B4-BE49-F238E27FC236}">
                <a16:creationId xmlns:a16="http://schemas.microsoft.com/office/drawing/2014/main" id="{85B9E685-8F26-653C-637B-4560BD554CAC}"/>
              </a:ext>
            </a:extLst>
          </p:cNvPr>
          <p:cNvSpPr/>
          <p:nvPr userDrawn="1"/>
        </p:nvSpPr>
        <p:spPr>
          <a:xfrm>
            <a:off x="11179577" y="5951053"/>
            <a:ext cx="726683" cy="726683"/>
          </a:xfrm>
          <a:custGeom>
            <a:avLst/>
            <a:gdLst/>
            <a:ahLst/>
            <a:cxnLst/>
            <a:rect l="l" t="t" r="r" b="b"/>
            <a:pathLst>
              <a:path w="801369" h="801370">
                <a:moveTo>
                  <a:pt x="400672" y="0"/>
                </a:moveTo>
                <a:lnTo>
                  <a:pt x="353945" y="2695"/>
                </a:lnTo>
                <a:lnTo>
                  <a:pt x="308801" y="10582"/>
                </a:lnTo>
                <a:lnTo>
                  <a:pt x="265542" y="23358"/>
                </a:lnTo>
                <a:lnTo>
                  <a:pt x="224466" y="40724"/>
                </a:lnTo>
                <a:lnTo>
                  <a:pt x="185876" y="62379"/>
                </a:lnTo>
                <a:lnTo>
                  <a:pt x="150072" y="88023"/>
                </a:lnTo>
                <a:lnTo>
                  <a:pt x="117354" y="117354"/>
                </a:lnTo>
                <a:lnTo>
                  <a:pt x="88023" y="150072"/>
                </a:lnTo>
                <a:lnTo>
                  <a:pt x="62379" y="185876"/>
                </a:lnTo>
                <a:lnTo>
                  <a:pt x="40724" y="224466"/>
                </a:lnTo>
                <a:lnTo>
                  <a:pt x="23358" y="265542"/>
                </a:lnTo>
                <a:lnTo>
                  <a:pt x="10582" y="308801"/>
                </a:lnTo>
                <a:lnTo>
                  <a:pt x="2695" y="353945"/>
                </a:lnTo>
                <a:lnTo>
                  <a:pt x="0" y="400672"/>
                </a:lnTo>
                <a:lnTo>
                  <a:pt x="2695" y="447398"/>
                </a:lnTo>
                <a:lnTo>
                  <a:pt x="10582" y="492541"/>
                </a:lnTo>
                <a:lnTo>
                  <a:pt x="23358" y="535800"/>
                </a:lnTo>
                <a:lnTo>
                  <a:pt x="40724" y="576875"/>
                </a:lnTo>
                <a:lnTo>
                  <a:pt x="62379" y="615464"/>
                </a:lnTo>
                <a:lnTo>
                  <a:pt x="88023" y="651267"/>
                </a:lnTo>
                <a:lnTo>
                  <a:pt x="117354" y="683983"/>
                </a:lnTo>
                <a:lnTo>
                  <a:pt x="150072" y="713313"/>
                </a:lnTo>
                <a:lnTo>
                  <a:pt x="185876" y="738955"/>
                </a:lnTo>
                <a:lnTo>
                  <a:pt x="224466" y="760609"/>
                </a:lnTo>
                <a:lnTo>
                  <a:pt x="265542" y="777974"/>
                </a:lnTo>
                <a:lnTo>
                  <a:pt x="308801" y="790750"/>
                </a:lnTo>
                <a:lnTo>
                  <a:pt x="353945" y="798636"/>
                </a:lnTo>
                <a:lnTo>
                  <a:pt x="400672" y="801331"/>
                </a:lnTo>
                <a:lnTo>
                  <a:pt x="447399" y="798636"/>
                </a:lnTo>
                <a:lnTo>
                  <a:pt x="492542" y="790750"/>
                </a:lnTo>
                <a:lnTo>
                  <a:pt x="535802" y="777974"/>
                </a:lnTo>
                <a:lnTo>
                  <a:pt x="576877" y="760609"/>
                </a:lnTo>
                <a:lnTo>
                  <a:pt x="615467" y="738955"/>
                </a:lnTo>
                <a:lnTo>
                  <a:pt x="651272" y="713313"/>
                </a:lnTo>
                <a:lnTo>
                  <a:pt x="683990" y="683983"/>
                </a:lnTo>
                <a:lnTo>
                  <a:pt x="713321" y="651267"/>
                </a:lnTo>
                <a:lnTo>
                  <a:pt x="738964" y="615464"/>
                </a:lnTo>
                <a:lnTo>
                  <a:pt x="760619" y="576875"/>
                </a:lnTo>
                <a:lnTo>
                  <a:pt x="777985" y="535800"/>
                </a:lnTo>
                <a:lnTo>
                  <a:pt x="790762" y="492541"/>
                </a:lnTo>
                <a:lnTo>
                  <a:pt x="798648" y="447398"/>
                </a:lnTo>
                <a:lnTo>
                  <a:pt x="801344" y="400672"/>
                </a:lnTo>
                <a:lnTo>
                  <a:pt x="798648" y="353945"/>
                </a:lnTo>
                <a:lnTo>
                  <a:pt x="790762" y="308801"/>
                </a:lnTo>
                <a:lnTo>
                  <a:pt x="777985" y="265542"/>
                </a:lnTo>
                <a:lnTo>
                  <a:pt x="760619" y="224466"/>
                </a:lnTo>
                <a:lnTo>
                  <a:pt x="738964" y="185876"/>
                </a:lnTo>
                <a:lnTo>
                  <a:pt x="713321" y="150072"/>
                </a:lnTo>
                <a:lnTo>
                  <a:pt x="683990" y="117354"/>
                </a:lnTo>
                <a:lnTo>
                  <a:pt x="651272" y="88023"/>
                </a:lnTo>
                <a:lnTo>
                  <a:pt x="615467" y="62379"/>
                </a:lnTo>
                <a:lnTo>
                  <a:pt x="576877" y="40724"/>
                </a:lnTo>
                <a:lnTo>
                  <a:pt x="535802" y="23358"/>
                </a:lnTo>
                <a:lnTo>
                  <a:pt x="492542" y="10582"/>
                </a:lnTo>
                <a:lnTo>
                  <a:pt x="447399" y="2695"/>
                </a:lnTo>
                <a:lnTo>
                  <a:pt x="400672" y="0"/>
                </a:lnTo>
                <a:close/>
              </a:path>
            </a:pathLst>
          </a:custGeom>
          <a:solidFill>
            <a:srgbClr val="9D62E2">
              <a:alpha val="23999"/>
            </a:srgbClr>
          </a:solidFill>
        </p:spPr>
        <p:txBody>
          <a:bodyPr wrap="square" lIns="0" tIns="0" rIns="0" bIns="0" rtlCol="0"/>
          <a:lstStyle/>
          <a:p>
            <a:endParaRPr/>
          </a:p>
        </p:txBody>
      </p:sp>
      <p:sp>
        <p:nvSpPr>
          <p:cNvPr id="2" name="Picture Placeholder 2">
            <a:extLst>
              <a:ext uri="{FF2B5EF4-FFF2-40B4-BE49-F238E27FC236}">
                <a16:creationId xmlns:a16="http://schemas.microsoft.com/office/drawing/2014/main" id="{0DD70F8A-7EFD-5D5B-1E28-80954C36380C}"/>
              </a:ext>
            </a:extLst>
          </p:cNvPr>
          <p:cNvSpPr>
            <a:spLocks noGrp="1"/>
          </p:cNvSpPr>
          <p:nvPr>
            <p:ph type="pic" idx="15"/>
          </p:nvPr>
        </p:nvSpPr>
        <p:spPr>
          <a:xfrm>
            <a:off x="-675252" y="3608859"/>
            <a:ext cx="2541584" cy="2507461"/>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3" name="Picture Placeholder 2">
            <a:extLst>
              <a:ext uri="{FF2B5EF4-FFF2-40B4-BE49-F238E27FC236}">
                <a16:creationId xmlns:a16="http://schemas.microsoft.com/office/drawing/2014/main" id="{FA716E89-11E9-0EE9-B918-701C3474FC65}"/>
              </a:ext>
            </a:extLst>
          </p:cNvPr>
          <p:cNvSpPr>
            <a:spLocks noGrp="1"/>
          </p:cNvSpPr>
          <p:nvPr>
            <p:ph type="pic" idx="16"/>
          </p:nvPr>
        </p:nvSpPr>
        <p:spPr>
          <a:xfrm>
            <a:off x="397941" y="157862"/>
            <a:ext cx="3133347" cy="3091279"/>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Picture Placeholder 2">
            <a:extLst>
              <a:ext uri="{FF2B5EF4-FFF2-40B4-BE49-F238E27FC236}">
                <a16:creationId xmlns:a16="http://schemas.microsoft.com/office/drawing/2014/main" id="{AE0D997F-9BA9-D907-D51C-98EE52536447}"/>
              </a:ext>
            </a:extLst>
          </p:cNvPr>
          <p:cNvSpPr>
            <a:spLocks noGrp="1"/>
          </p:cNvSpPr>
          <p:nvPr>
            <p:ph type="pic" idx="17"/>
          </p:nvPr>
        </p:nvSpPr>
        <p:spPr>
          <a:xfrm>
            <a:off x="7165783" y="337721"/>
            <a:ext cx="3133347" cy="3091279"/>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8" name="Picture Placeholder 2">
            <a:extLst>
              <a:ext uri="{FF2B5EF4-FFF2-40B4-BE49-F238E27FC236}">
                <a16:creationId xmlns:a16="http://schemas.microsoft.com/office/drawing/2014/main" id="{06699D40-1F2D-3294-96EC-2A152766E695}"/>
              </a:ext>
            </a:extLst>
          </p:cNvPr>
          <p:cNvSpPr>
            <a:spLocks noGrp="1"/>
          </p:cNvSpPr>
          <p:nvPr>
            <p:ph type="pic" idx="18"/>
          </p:nvPr>
        </p:nvSpPr>
        <p:spPr>
          <a:xfrm>
            <a:off x="2610263" y="2722475"/>
            <a:ext cx="4695781" cy="4632736"/>
          </a:xfrm>
          <a:prstGeom prst="ellipse">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Tree>
    <p:extLst>
      <p:ext uri="{BB962C8B-B14F-4D97-AF65-F5344CB8AC3E}">
        <p14:creationId xmlns:p14="http://schemas.microsoft.com/office/powerpoint/2010/main" val="361254436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E88070B-C0E0-2DFA-FBCE-FF205B25449F}"/>
              </a:ext>
            </a:extLst>
          </p:cNvPr>
          <p:cNvSpPr/>
          <p:nvPr userDrawn="1"/>
        </p:nvSpPr>
        <p:spPr>
          <a:xfrm>
            <a:off x="0" y="0"/>
            <a:ext cx="12192000" cy="5611091"/>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descr="Icon&#10;&#10;Description automatically generated">
            <a:extLst>
              <a:ext uri="{FF2B5EF4-FFF2-40B4-BE49-F238E27FC236}">
                <a16:creationId xmlns:a16="http://schemas.microsoft.com/office/drawing/2014/main" id="{CF4C07C6-A816-4189-5ED3-13CBBC6455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66394" y="378791"/>
            <a:ext cx="721415" cy="783392"/>
          </a:xfrm>
          <a:prstGeom prst="rect">
            <a:avLst/>
          </a:prstGeom>
        </p:spPr>
      </p:pic>
      <p:sp>
        <p:nvSpPr>
          <p:cNvPr id="3" name="Content Placeholder 2">
            <a:extLst>
              <a:ext uri="{FF2B5EF4-FFF2-40B4-BE49-F238E27FC236}">
                <a16:creationId xmlns:a16="http://schemas.microsoft.com/office/drawing/2014/main" id="{3C6CD29F-DD6E-7A48-CCD6-9C625568613F}"/>
              </a:ext>
            </a:extLst>
          </p:cNvPr>
          <p:cNvSpPr>
            <a:spLocks noGrp="1"/>
          </p:cNvSpPr>
          <p:nvPr>
            <p:ph idx="1"/>
          </p:nvPr>
        </p:nvSpPr>
        <p:spPr>
          <a:xfrm>
            <a:off x="6326079" y="1619251"/>
            <a:ext cx="5201227" cy="3732068"/>
          </a:xfrm>
        </p:spPr>
        <p:txBody>
          <a:bodyPr>
            <a:normAutofit/>
          </a:bodyPr>
          <a:lstStyle>
            <a:lvl1pPr>
              <a:defRPr sz="2400">
                <a:solidFill>
                  <a:schemeClr val="bg1"/>
                </a:solidFill>
              </a:defRPr>
            </a:lvl1pPr>
            <a:lvl2pPr marL="176213" indent="-176213">
              <a:buFont typeface="Arial" panose="020B0604020202020204" pitchFamily="34" charset="0"/>
              <a:buChar char="•"/>
              <a:defRPr sz="1600">
                <a:solidFill>
                  <a:schemeClr val="bg1"/>
                </a:solidFill>
              </a:defRPr>
            </a:lvl2pPr>
            <a:lvl3pPr marL="176213" indent="-176213">
              <a:buFont typeface="Arial" panose="020B0604020202020204" pitchFamily="34" charset="0"/>
              <a:buChar char="•"/>
              <a:defRPr sz="1600">
                <a:solidFill>
                  <a:schemeClr val="bg1"/>
                </a:solidFill>
              </a:defRPr>
            </a:lvl3pPr>
            <a:lvl4pPr marL="176213" indent="-176213">
              <a:buFont typeface="Arial" panose="020B0604020202020204" pitchFamily="34" charset="0"/>
              <a:buChar char="•"/>
              <a:defRPr sz="1600">
                <a:solidFill>
                  <a:schemeClr val="bg1"/>
                </a:solidFill>
              </a:defRPr>
            </a:lvl4pPr>
            <a:lvl5pPr marL="176213" indent="-176213">
              <a:buFont typeface="Arial" panose="020B0604020202020204" pitchFamily="34" charset="0"/>
              <a:buChar char="•"/>
              <a:defRPr sz="1600">
                <a:solidFill>
                  <a:schemeClr val="bg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2">
            <a:extLst>
              <a:ext uri="{FF2B5EF4-FFF2-40B4-BE49-F238E27FC236}">
                <a16:creationId xmlns:a16="http://schemas.microsoft.com/office/drawing/2014/main" id="{3B92D793-C5B9-290F-8A51-998397F1596E}"/>
              </a:ext>
            </a:extLst>
          </p:cNvPr>
          <p:cNvSpPr>
            <a:spLocks noGrp="1"/>
          </p:cNvSpPr>
          <p:nvPr>
            <p:ph idx="10"/>
          </p:nvPr>
        </p:nvSpPr>
        <p:spPr>
          <a:xfrm>
            <a:off x="711200" y="1606551"/>
            <a:ext cx="5201227" cy="3732068"/>
          </a:xfrm>
        </p:spPr>
        <p:txBody>
          <a:bodyPr>
            <a:normAutofit/>
          </a:bodyPr>
          <a:lstStyle>
            <a:lvl1pPr>
              <a:defRPr sz="2400">
                <a:solidFill>
                  <a:schemeClr val="bg1"/>
                </a:solidFill>
              </a:defRPr>
            </a:lvl1pPr>
            <a:lvl2pPr marL="176213" indent="-176213">
              <a:buFont typeface="Arial" panose="020B0604020202020204" pitchFamily="34" charset="0"/>
              <a:buChar char="•"/>
              <a:defRPr sz="1600">
                <a:solidFill>
                  <a:schemeClr val="bg1"/>
                </a:solidFill>
              </a:defRPr>
            </a:lvl2pPr>
            <a:lvl3pPr marL="176213" indent="-176213">
              <a:buFont typeface="Arial" panose="020B0604020202020204" pitchFamily="34" charset="0"/>
              <a:buChar char="•"/>
              <a:defRPr sz="1600">
                <a:solidFill>
                  <a:schemeClr val="bg1"/>
                </a:solidFill>
              </a:defRPr>
            </a:lvl3pPr>
            <a:lvl4pPr marL="176213" indent="-176213">
              <a:buFont typeface="Arial" panose="020B0604020202020204" pitchFamily="34" charset="0"/>
              <a:buChar char="•"/>
              <a:defRPr sz="1600">
                <a:solidFill>
                  <a:schemeClr val="bg1"/>
                </a:solidFill>
              </a:defRPr>
            </a:lvl4pPr>
            <a:lvl5pPr marL="176213" indent="-176213">
              <a:buFont typeface="Arial" panose="020B0604020202020204" pitchFamily="34" charset="0"/>
              <a:buChar char="•"/>
              <a:defRPr sz="1600">
                <a:solidFill>
                  <a:schemeClr val="bg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Rectangle 10">
            <a:extLst>
              <a:ext uri="{FF2B5EF4-FFF2-40B4-BE49-F238E27FC236}">
                <a16:creationId xmlns:a16="http://schemas.microsoft.com/office/drawing/2014/main" id="{44D02AAC-2E9A-297E-5FBA-6A1DB2DEBD44}"/>
              </a:ext>
            </a:extLst>
          </p:cNvPr>
          <p:cNvSpPr/>
          <p:nvPr userDrawn="1"/>
        </p:nvSpPr>
        <p:spPr>
          <a:xfrm>
            <a:off x="0" y="5611091"/>
            <a:ext cx="12192000" cy="124142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63C140E3-2C98-83A6-68C2-F9EA088D0058}"/>
              </a:ext>
            </a:extLst>
          </p:cNvPr>
          <p:cNvSpPr>
            <a:spLocks noGrp="1"/>
          </p:cNvSpPr>
          <p:nvPr>
            <p:ph type="title"/>
          </p:nvPr>
        </p:nvSpPr>
        <p:spPr>
          <a:xfrm>
            <a:off x="732346" y="593213"/>
            <a:ext cx="8915844" cy="752109"/>
          </a:xfrm>
        </p:spPr>
        <p:txBody>
          <a:bodyPr anchor="b">
            <a:normAutofit/>
          </a:bodyPr>
          <a:lstStyle>
            <a:lvl1pPr>
              <a:defRPr sz="4400">
                <a:solidFill>
                  <a:schemeClr val="tx2"/>
                </a:solidFill>
                <a:latin typeface="Quicksand" pitchFamily="2" charset="0"/>
              </a:defRPr>
            </a:lvl1pPr>
          </a:lstStyle>
          <a:p>
            <a:r>
              <a:rPr lang="en-US" dirty="0"/>
              <a:t>Click to edit Master title style</a:t>
            </a:r>
            <a:endParaRPr lang="en-GB" dirty="0"/>
          </a:p>
        </p:txBody>
      </p:sp>
    </p:spTree>
    <p:extLst>
      <p:ext uri="{BB962C8B-B14F-4D97-AF65-F5344CB8AC3E}">
        <p14:creationId xmlns:p14="http://schemas.microsoft.com/office/powerpoint/2010/main" val="4419447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 Dark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0E5D39-85A3-5569-2D74-ED9FD02ED54A}"/>
              </a:ext>
            </a:extLst>
          </p:cNvPr>
          <p:cNvSpPr>
            <a:spLocks noGrp="1"/>
          </p:cNvSpPr>
          <p:nvPr>
            <p:ph type="title"/>
          </p:nvPr>
        </p:nvSpPr>
        <p:spPr/>
        <p:txBody>
          <a:bodyPr/>
          <a:lstStyle>
            <a:lvl1pPr>
              <a:defRPr>
                <a:solidFill>
                  <a:schemeClr val="accent3"/>
                </a:solidFill>
              </a:defRPr>
            </a:lvl1pPr>
          </a:lstStyle>
          <a:p>
            <a:r>
              <a:rPr lang="en-GB"/>
              <a:t>Click to edit Master title style</a:t>
            </a:r>
            <a:endParaRPr lang="en-GB" dirty="0"/>
          </a:p>
        </p:txBody>
      </p:sp>
      <p:sp>
        <p:nvSpPr>
          <p:cNvPr id="4" name="Footer Placeholder 4">
            <a:extLst>
              <a:ext uri="{FF2B5EF4-FFF2-40B4-BE49-F238E27FC236}">
                <a16:creationId xmlns:a16="http://schemas.microsoft.com/office/drawing/2014/main" id="{83ACEF4A-FB42-9808-AD89-22387AFA82E5}"/>
              </a:ext>
            </a:extLst>
          </p:cNvPr>
          <p:cNvSpPr>
            <a:spLocks noGrp="1"/>
          </p:cNvSpPr>
          <p:nvPr>
            <p:ph type="ftr" sz="quarter" idx="3"/>
          </p:nvPr>
        </p:nvSpPr>
        <p:spPr>
          <a:xfrm>
            <a:off x="751840" y="6114954"/>
            <a:ext cx="8904068" cy="365125"/>
          </a:xfrm>
          <a:prstGeom prst="rect">
            <a:avLst/>
          </a:prstGeom>
        </p:spPr>
        <p:txBody>
          <a:bodyPr/>
          <a:lstStyle>
            <a:lvl1pPr>
              <a:defRPr>
                <a:solidFill>
                  <a:schemeClr val="accent1"/>
                </a:solidFill>
              </a:defRPr>
            </a:lvl1pPr>
          </a:lstStyle>
          <a:p>
            <a:endParaRPr lang="en-GB" dirty="0"/>
          </a:p>
        </p:txBody>
      </p:sp>
      <p:sp>
        <p:nvSpPr>
          <p:cNvPr id="3" name="Content Placeholder 2">
            <a:extLst>
              <a:ext uri="{FF2B5EF4-FFF2-40B4-BE49-F238E27FC236}">
                <a16:creationId xmlns:a16="http://schemas.microsoft.com/office/drawing/2014/main" id="{AA152104-509B-E0AB-E830-5FA822F21414}"/>
              </a:ext>
            </a:extLst>
          </p:cNvPr>
          <p:cNvSpPr>
            <a:spLocks noGrp="1"/>
          </p:cNvSpPr>
          <p:nvPr>
            <p:ph idx="1"/>
          </p:nvPr>
        </p:nvSpPr>
        <p:spPr>
          <a:xfrm>
            <a:off x="751840" y="1825625"/>
            <a:ext cx="10703150" cy="3772535"/>
          </a:xfrm>
          <a:prstGeom prst="rect">
            <a:avLst/>
          </a:prstGeom>
        </p:spPr>
        <p:txBody>
          <a:bodyPr/>
          <a:lstStyle>
            <a:lvl1pPr>
              <a:defRPr>
                <a:latin typeface="Quicksand" pitchFamily="2" charset="0"/>
              </a:defRPr>
            </a:lvl1pPr>
            <a:lvl2pPr marL="182563" indent="-182563">
              <a:buClr>
                <a:schemeClr val="accent3"/>
              </a:buClr>
              <a:buFont typeface="Arial" panose="020B0604020202020204" pitchFamily="34" charset="0"/>
              <a:buChar char="•"/>
              <a:defRPr>
                <a:latin typeface="Quicksand" pitchFamily="2" charset="0"/>
              </a:defRPr>
            </a:lvl2pPr>
            <a:lvl3pPr marL="684000" indent="-182563">
              <a:buClr>
                <a:schemeClr val="accent3"/>
              </a:buClr>
              <a:buFont typeface="System Font Regular"/>
              <a:buChar char="-"/>
              <a:defRPr>
                <a:latin typeface="Quicksand" pitchFamily="2" charset="0"/>
              </a:defRPr>
            </a:lvl3pPr>
            <a:lvl4pPr marL="1368000" indent="-182563">
              <a:buClr>
                <a:schemeClr val="accent3"/>
              </a:buClr>
              <a:buFont typeface="Arial" panose="020B0604020202020204" pitchFamily="34" charset="0"/>
              <a:buChar char="•"/>
              <a:defRPr>
                <a:latin typeface="Quicksand" pitchFamily="2" charset="0"/>
              </a:defRPr>
            </a:lvl4pPr>
            <a:lvl5pPr marL="2052000" indent="-182563">
              <a:buClr>
                <a:schemeClr val="accent3"/>
              </a:buClr>
              <a:buFont typeface="System Font Regular"/>
              <a:buChar char="-"/>
              <a:defRPr>
                <a:latin typeface="Quicksand"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626021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2592DBB-3127-B9DA-A8ED-74612E741753}"/>
              </a:ext>
            </a:extLst>
          </p:cNvPr>
          <p:cNvSpPr>
            <a:spLocks noGrp="1"/>
          </p:cNvSpPr>
          <p:nvPr>
            <p:ph type="ftr" sz="quarter" idx="11"/>
          </p:nvPr>
        </p:nvSpPr>
        <p:spPr>
          <a:xfrm>
            <a:off x="741680" y="6311900"/>
            <a:ext cx="8900160" cy="365125"/>
          </a:xfrm>
          <a:prstGeom prst="rect">
            <a:avLst/>
          </a:prstGeom>
        </p:spPr>
        <p:txBody>
          <a:bodyPr/>
          <a:lstStyle/>
          <a:p>
            <a:endParaRPr lang="en-GB" dirty="0"/>
          </a:p>
        </p:txBody>
      </p:sp>
    </p:spTree>
    <p:extLst>
      <p:ext uri="{BB962C8B-B14F-4D97-AF65-F5344CB8AC3E}">
        <p14:creationId xmlns:p14="http://schemas.microsoft.com/office/powerpoint/2010/main" val="7066356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En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2953E05-4FEC-729D-CA30-2C2C9BA4EE9C}"/>
              </a:ext>
            </a:extLst>
          </p:cNvPr>
          <p:cNvSpPr/>
          <p:nvPr userDrawn="1"/>
        </p:nvSpPr>
        <p:spPr>
          <a:xfrm>
            <a:off x="10558914" y="5736657"/>
            <a:ext cx="837398" cy="837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3100172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3B7299-7AB9-4421-3B12-055B2CA844FA}"/>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42C00704-5510-78E0-B7E4-F9630322C13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BA253451-8FBE-805D-8FA3-FC147C2842E3}"/>
              </a:ext>
            </a:extLst>
          </p:cNvPr>
          <p:cNvSpPr>
            <a:spLocks noGrp="1"/>
          </p:cNvSpPr>
          <p:nvPr>
            <p:ph type="dt" sz="half" idx="10"/>
          </p:nvPr>
        </p:nvSpPr>
        <p:spPr/>
        <p:txBody>
          <a:bodyPr/>
          <a:lstStyle/>
          <a:p>
            <a:fld id="{42D4AB6C-4A85-5446-B3E8-7C728880AC78}" type="datetimeFigureOut">
              <a:rPr lang="en-GB" smtClean="0"/>
              <a:t>03/05/2023</a:t>
            </a:fld>
            <a:endParaRPr lang="en-GB"/>
          </a:p>
        </p:txBody>
      </p:sp>
      <p:sp>
        <p:nvSpPr>
          <p:cNvPr id="5" name="Footer Placeholder 4">
            <a:extLst>
              <a:ext uri="{FF2B5EF4-FFF2-40B4-BE49-F238E27FC236}">
                <a16:creationId xmlns:a16="http://schemas.microsoft.com/office/drawing/2014/main" id="{473EC1D9-62E5-C85C-4B63-58148D4909C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65F95C2-AFFF-07C8-D374-FE4011B8B4DA}"/>
              </a:ext>
            </a:extLst>
          </p:cNvPr>
          <p:cNvSpPr>
            <a:spLocks noGrp="1"/>
          </p:cNvSpPr>
          <p:nvPr>
            <p:ph type="sldNum" sz="quarter" idx="12"/>
          </p:nvPr>
        </p:nvSpPr>
        <p:spPr/>
        <p:txBody>
          <a:bodyPr/>
          <a:lstStyle/>
          <a:p>
            <a:fld id="{AA02C636-C95F-234F-B23F-6BCF86172A71}" type="slidenum">
              <a:rPr lang="en-GB" smtClean="0"/>
              <a:t>‹#›</a:t>
            </a:fld>
            <a:endParaRPr lang="en-GB"/>
          </a:p>
        </p:txBody>
      </p:sp>
    </p:spTree>
    <p:extLst>
      <p:ext uri="{BB962C8B-B14F-4D97-AF65-F5344CB8AC3E}">
        <p14:creationId xmlns:p14="http://schemas.microsoft.com/office/powerpoint/2010/main" val="27671612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1DE07-2180-6511-79E3-2E29CCE5E8E0}"/>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57839261-F4E2-F83A-096F-8B464029910B}"/>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A7F1F349-BC46-79C9-52EF-514BAFBBC799}"/>
              </a:ext>
            </a:extLst>
          </p:cNvPr>
          <p:cNvSpPr>
            <a:spLocks noGrp="1"/>
          </p:cNvSpPr>
          <p:nvPr>
            <p:ph type="dt" sz="half" idx="10"/>
          </p:nvPr>
        </p:nvSpPr>
        <p:spPr/>
        <p:txBody>
          <a:bodyPr/>
          <a:lstStyle/>
          <a:p>
            <a:fld id="{42D4AB6C-4A85-5446-B3E8-7C728880AC78}" type="datetimeFigureOut">
              <a:rPr lang="en-GB" smtClean="0"/>
              <a:t>03/05/2023</a:t>
            </a:fld>
            <a:endParaRPr lang="en-GB"/>
          </a:p>
        </p:txBody>
      </p:sp>
      <p:sp>
        <p:nvSpPr>
          <p:cNvPr id="5" name="Footer Placeholder 4">
            <a:extLst>
              <a:ext uri="{FF2B5EF4-FFF2-40B4-BE49-F238E27FC236}">
                <a16:creationId xmlns:a16="http://schemas.microsoft.com/office/drawing/2014/main" id="{0652DCA1-2DB5-E28A-52A3-EA7B7869C96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90AE262-9D44-C979-4A16-6F63869A18D9}"/>
              </a:ext>
            </a:extLst>
          </p:cNvPr>
          <p:cNvSpPr>
            <a:spLocks noGrp="1"/>
          </p:cNvSpPr>
          <p:nvPr>
            <p:ph type="sldNum" sz="quarter" idx="12"/>
          </p:nvPr>
        </p:nvSpPr>
        <p:spPr/>
        <p:txBody>
          <a:bodyPr/>
          <a:lstStyle/>
          <a:p>
            <a:fld id="{AA02C636-C95F-234F-B23F-6BCF86172A71}" type="slidenum">
              <a:rPr lang="en-GB" smtClean="0"/>
              <a:t>‹#›</a:t>
            </a:fld>
            <a:endParaRPr lang="en-GB"/>
          </a:p>
        </p:txBody>
      </p:sp>
    </p:spTree>
    <p:extLst>
      <p:ext uri="{BB962C8B-B14F-4D97-AF65-F5344CB8AC3E}">
        <p14:creationId xmlns:p14="http://schemas.microsoft.com/office/powerpoint/2010/main" val="391813237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003DAF-A9FC-2EBF-313C-F3BBB89549CC}"/>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5D7F7F28-7C72-307A-C407-52556A768FC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7796E65A-F4AD-DD3A-A52F-FA815D3680DF}"/>
              </a:ext>
            </a:extLst>
          </p:cNvPr>
          <p:cNvSpPr>
            <a:spLocks noGrp="1"/>
          </p:cNvSpPr>
          <p:nvPr>
            <p:ph type="dt" sz="half" idx="10"/>
          </p:nvPr>
        </p:nvSpPr>
        <p:spPr/>
        <p:txBody>
          <a:bodyPr/>
          <a:lstStyle/>
          <a:p>
            <a:fld id="{42D4AB6C-4A85-5446-B3E8-7C728880AC78}" type="datetimeFigureOut">
              <a:rPr lang="en-GB" smtClean="0"/>
              <a:t>03/05/2023</a:t>
            </a:fld>
            <a:endParaRPr lang="en-GB"/>
          </a:p>
        </p:txBody>
      </p:sp>
      <p:sp>
        <p:nvSpPr>
          <p:cNvPr id="5" name="Footer Placeholder 4">
            <a:extLst>
              <a:ext uri="{FF2B5EF4-FFF2-40B4-BE49-F238E27FC236}">
                <a16:creationId xmlns:a16="http://schemas.microsoft.com/office/drawing/2014/main" id="{FDECDF96-CFF7-5621-1619-45423983D34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6BBBE39-910E-748A-9083-0559B3322FDF}"/>
              </a:ext>
            </a:extLst>
          </p:cNvPr>
          <p:cNvSpPr>
            <a:spLocks noGrp="1"/>
          </p:cNvSpPr>
          <p:nvPr>
            <p:ph type="sldNum" sz="quarter" idx="12"/>
          </p:nvPr>
        </p:nvSpPr>
        <p:spPr/>
        <p:txBody>
          <a:bodyPr/>
          <a:lstStyle/>
          <a:p>
            <a:fld id="{AA02C636-C95F-234F-B23F-6BCF86172A71}" type="slidenum">
              <a:rPr lang="en-GB" smtClean="0"/>
              <a:t>‹#›</a:t>
            </a:fld>
            <a:endParaRPr lang="en-GB"/>
          </a:p>
        </p:txBody>
      </p:sp>
    </p:spTree>
    <p:extLst>
      <p:ext uri="{BB962C8B-B14F-4D97-AF65-F5344CB8AC3E}">
        <p14:creationId xmlns:p14="http://schemas.microsoft.com/office/powerpoint/2010/main" val="282735959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D33C5D-B37F-1D54-B8A5-832AA5ACFC6A}"/>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5A48E475-38C3-004E-F4B4-1BC4904169DE}"/>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067CE613-E5A9-D074-F1D1-F7F2DB2269D4}"/>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AE9F732C-3593-DFBF-A549-2CEA21759E40}"/>
              </a:ext>
            </a:extLst>
          </p:cNvPr>
          <p:cNvSpPr>
            <a:spLocks noGrp="1"/>
          </p:cNvSpPr>
          <p:nvPr>
            <p:ph type="dt" sz="half" idx="10"/>
          </p:nvPr>
        </p:nvSpPr>
        <p:spPr/>
        <p:txBody>
          <a:bodyPr/>
          <a:lstStyle/>
          <a:p>
            <a:fld id="{42D4AB6C-4A85-5446-B3E8-7C728880AC78}" type="datetimeFigureOut">
              <a:rPr lang="en-GB" smtClean="0"/>
              <a:t>03/05/2023</a:t>
            </a:fld>
            <a:endParaRPr lang="en-GB"/>
          </a:p>
        </p:txBody>
      </p:sp>
      <p:sp>
        <p:nvSpPr>
          <p:cNvPr id="6" name="Footer Placeholder 5">
            <a:extLst>
              <a:ext uri="{FF2B5EF4-FFF2-40B4-BE49-F238E27FC236}">
                <a16:creationId xmlns:a16="http://schemas.microsoft.com/office/drawing/2014/main" id="{F79F957B-DA11-6500-63E4-E27185DF626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10154A3-20E1-D18E-0026-4A8A3F81A582}"/>
              </a:ext>
            </a:extLst>
          </p:cNvPr>
          <p:cNvSpPr>
            <a:spLocks noGrp="1"/>
          </p:cNvSpPr>
          <p:nvPr>
            <p:ph type="sldNum" sz="quarter" idx="12"/>
          </p:nvPr>
        </p:nvSpPr>
        <p:spPr/>
        <p:txBody>
          <a:bodyPr/>
          <a:lstStyle/>
          <a:p>
            <a:fld id="{AA02C636-C95F-234F-B23F-6BCF86172A71}" type="slidenum">
              <a:rPr lang="en-GB" smtClean="0"/>
              <a:t>‹#›</a:t>
            </a:fld>
            <a:endParaRPr lang="en-GB"/>
          </a:p>
        </p:txBody>
      </p:sp>
    </p:spTree>
    <p:extLst>
      <p:ext uri="{BB962C8B-B14F-4D97-AF65-F5344CB8AC3E}">
        <p14:creationId xmlns:p14="http://schemas.microsoft.com/office/powerpoint/2010/main" val="160248367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D969EE-7FCA-358E-AF68-5727C057AD90}"/>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8E4B158C-293D-FC3E-8470-A5C3F0E81D8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8E2696D5-6D88-2554-E382-F7B098EA952E}"/>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C1726132-29F8-0728-CEC6-7660F950628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BED94F64-22C3-42CB-F1BB-62265B02E6F0}"/>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6A11A8BE-6B08-0119-E239-80C863D8396A}"/>
              </a:ext>
            </a:extLst>
          </p:cNvPr>
          <p:cNvSpPr>
            <a:spLocks noGrp="1"/>
          </p:cNvSpPr>
          <p:nvPr>
            <p:ph type="dt" sz="half" idx="10"/>
          </p:nvPr>
        </p:nvSpPr>
        <p:spPr/>
        <p:txBody>
          <a:bodyPr/>
          <a:lstStyle/>
          <a:p>
            <a:fld id="{42D4AB6C-4A85-5446-B3E8-7C728880AC78}" type="datetimeFigureOut">
              <a:rPr lang="en-GB" smtClean="0"/>
              <a:t>03/05/2023</a:t>
            </a:fld>
            <a:endParaRPr lang="en-GB"/>
          </a:p>
        </p:txBody>
      </p:sp>
      <p:sp>
        <p:nvSpPr>
          <p:cNvPr id="8" name="Footer Placeholder 7">
            <a:extLst>
              <a:ext uri="{FF2B5EF4-FFF2-40B4-BE49-F238E27FC236}">
                <a16:creationId xmlns:a16="http://schemas.microsoft.com/office/drawing/2014/main" id="{D273BA3D-95A5-5C73-ECBF-3F321960779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43642D4F-4B32-ED83-D21D-63C452CDFD1F}"/>
              </a:ext>
            </a:extLst>
          </p:cNvPr>
          <p:cNvSpPr>
            <a:spLocks noGrp="1"/>
          </p:cNvSpPr>
          <p:nvPr>
            <p:ph type="sldNum" sz="quarter" idx="12"/>
          </p:nvPr>
        </p:nvSpPr>
        <p:spPr/>
        <p:txBody>
          <a:bodyPr/>
          <a:lstStyle/>
          <a:p>
            <a:fld id="{AA02C636-C95F-234F-B23F-6BCF86172A71}" type="slidenum">
              <a:rPr lang="en-GB" smtClean="0"/>
              <a:t>‹#›</a:t>
            </a:fld>
            <a:endParaRPr lang="en-GB"/>
          </a:p>
        </p:txBody>
      </p:sp>
    </p:spTree>
    <p:extLst>
      <p:ext uri="{BB962C8B-B14F-4D97-AF65-F5344CB8AC3E}">
        <p14:creationId xmlns:p14="http://schemas.microsoft.com/office/powerpoint/2010/main" val="407687595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E6EB0C-BA77-9E02-D9FC-62623840D647}"/>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69FFB223-1C45-0913-7F67-BFE48E5B4DE9}"/>
              </a:ext>
            </a:extLst>
          </p:cNvPr>
          <p:cNvSpPr>
            <a:spLocks noGrp="1"/>
          </p:cNvSpPr>
          <p:nvPr>
            <p:ph type="dt" sz="half" idx="10"/>
          </p:nvPr>
        </p:nvSpPr>
        <p:spPr/>
        <p:txBody>
          <a:bodyPr/>
          <a:lstStyle/>
          <a:p>
            <a:fld id="{42D4AB6C-4A85-5446-B3E8-7C728880AC78}" type="datetimeFigureOut">
              <a:rPr lang="en-GB" smtClean="0"/>
              <a:t>03/05/2023</a:t>
            </a:fld>
            <a:endParaRPr lang="en-GB"/>
          </a:p>
        </p:txBody>
      </p:sp>
      <p:sp>
        <p:nvSpPr>
          <p:cNvPr id="4" name="Footer Placeholder 3">
            <a:extLst>
              <a:ext uri="{FF2B5EF4-FFF2-40B4-BE49-F238E27FC236}">
                <a16:creationId xmlns:a16="http://schemas.microsoft.com/office/drawing/2014/main" id="{4C01BEB2-D578-1D7A-3513-9DFB783D48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160DC6B-1B01-30F0-C949-A2490AA5A4F4}"/>
              </a:ext>
            </a:extLst>
          </p:cNvPr>
          <p:cNvSpPr>
            <a:spLocks noGrp="1"/>
          </p:cNvSpPr>
          <p:nvPr>
            <p:ph type="sldNum" sz="quarter" idx="12"/>
          </p:nvPr>
        </p:nvSpPr>
        <p:spPr/>
        <p:txBody>
          <a:bodyPr/>
          <a:lstStyle/>
          <a:p>
            <a:fld id="{AA02C636-C95F-234F-B23F-6BCF86172A71}" type="slidenum">
              <a:rPr lang="en-GB" smtClean="0"/>
              <a:t>‹#›</a:t>
            </a:fld>
            <a:endParaRPr lang="en-GB"/>
          </a:p>
        </p:txBody>
      </p:sp>
    </p:spTree>
    <p:extLst>
      <p:ext uri="{BB962C8B-B14F-4D97-AF65-F5344CB8AC3E}">
        <p14:creationId xmlns:p14="http://schemas.microsoft.com/office/powerpoint/2010/main" val="95763769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A9FE2E-46FA-BB90-50F1-2CB53E1C5B77}"/>
              </a:ext>
            </a:extLst>
          </p:cNvPr>
          <p:cNvSpPr>
            <a:spLocks noGrp="1"/>
          </p:cNvSpPr>
          <p:nvPr>
            <p:ph type="dt" sz="half" idx="10"/>
          </p:nvPr>
        </p:nvSpPr>
        <p:spPr/>
        <p:txBody>
          <a:bodyPr/>
          <a:lstStyle/>
          <a:p>
            <a:fld id="{42D4AB6C-4A85-5446-B3E8-7C728880AC78}" type="datetimeFigureOut">
              <a:rPr lang="en-GB" smtClean="0"/>
              <a:t>03/05/2023</a:t>
            </a:fld>
            <a:endParaRPr lang="en-GB"/>
          </a:p>
        </p:txBody>
      </p:sp>
      <p:sp>
        <p:nvSpPr>
          <p:cNvPr id="3" name="Footer Placeholder 2">
            <a:extLst>
              <a:ext uri="{FF2B5EF4-FFF2-40B4-BE49-F238E27FC236}">
                <a16:creationId xmlns:a16="http://schemas.microsoft.com/office/drawing/2014/main" id="{BDCE213D-763D-F752-F23B-3AD310C9580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CDC89DC0-3B4C-C610-8DA1-4EC909A3A456}"/>
              </a:ext>
            </a:extLst>
          </p:cNvPr>
          <p:cNvSpPr>
            <a:spLocks noGrp="1"/>
          </p:cNvSpPr>
          <p:nvPr>
            <p:ph type="sldNum" sz="quarter" idx="12"/>
          </p:nvPr>
        </p:nvSpPr>
        <p:spPr/>
        <p:txBody>
          <a:bodyPr/>
          <a:lstStyle/>
          <a:p>
            <a:fld id="{AA02C636-C95F-234F-B23F-6BCF86172A71}" type="slidenum">
              <a:rPr lang="en-GB" smtClean="0"/>
              <a:t>‹#›</a:t>
            </a:fld>
            <a:endParaRPr lang="en-GB"/>
          </a:p>
        </p:txBody>
      </p:sp>
    </p:spTree>
    <p:extLst>
      <p:ext uri="{BB962C8B-B14F-4D97-AF65-F5344CB8AC3E}">
        <p14:creationId xmlns:p14="http://schemas.microsoft.com/office/powerpoint/2010/main" val="38001792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8ED57-C60E-60FD-BC9C-20548E0648B7}"/>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963460EA-29F8-CCC7-A9DB-EADF9BB96DC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7A48E39E-23CE-CC6D-4A90-EF01B45441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5BCD4CA2-4444-83A1-FC45-0C85202715A6}"/>
              </a:ext>
            </a:extLst>
          </p:cNvPr>
          <p:cNvSpPr>
            <a:spLocks noGrp="1"/>
          </p:cNvSpPr>
          <p:nvPr>
            <p:ph type="dt" sz="half" idx="10"/>
          </p:nvPr>
        </p:nvSpPr>
        <p:spPr/>
        <p:txBody>
          <a:bodyPr/>
          <a:lstStyle/>
          <a:p>
            <a:fld id="{42D4AB6C-4A85-5446-B3E8-7C728880AC78}" type="datetimeFigureOut">
              <a:rPr lang="en-GB" smtClean="0"/>
              <a:t>03/05/2023</a:t>
            </a:fld>
            <a:endParaRPr lang="en-GB"/>
          </a:p>
        </p:txBody>
      </p:sp>
      <p:sp>
        <p:nvSpPr>
          <p:cNvPr id="6" name="Footer Placeholder 5">
            <a:extLst>
              <a:ext uri="{FF2B5EF4-FFF2-40B4-BE49-F238E27FC236}">
                <a16:creationId xmlns:a16="http://schemas.microsoft.com/office/drawing/2014/main" id="{3CD3279D-360F-A5B1-C36C-6155F84C4EB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518B8DA-9C7F-6A51-7F25-E25D6927922A}"/>
              </a:ext>
            </a:extLst>
          </p:cNvPr>
          <p:cNvSpPr>
            <a:spLocks noGrp="1"/>
          </p:cNvSpPr>
          <p:nvPr>
            <p:ph type="sldNum" sz="quarter" idx="12"/>
          </p:nvPr>
        </p:nvSpPr>
        <p:spPr/>
        <p:txBody>
          <a:bodyPr/>
          <a:lstStyle/>
          <a:p>
            <a:fld id="{AA02C636-C95F-234F-B23F-6BCF86172A71}" type="slidenum">
              <a:rPr lang="en-GB" smtClean="0"/>
              <a:t>‹#›</a:t>
            </a:fld>
            <a:endParaRPr lang="en-GB"/>
          </a:p>
        </p:txBody>
      </p:sp>
    </p:spTree>
    <p:extLst>
      <p:ext uri="{BB962C8B-B14F-4D97-AF65-F5344CB8AC3E}">
        <p14:creationId xmlns:p14="http://schemas.microsoft.com/office/powerpoint/2010/main" val="17793857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 Pur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0E5D39-85A3-5569-2D74-ED9FD02ED54A}"/>
              </a:ext>
            </a:extLst>
          </p:cNvPr>
          <p:cNvSpPr>
            <a:spLocks noGrp="1"/>
          </p:cNvSpPr>
          <p:nvPr>
            <p:ph type="title"/>
          </p:nvPr>
        </p:nvSpPr>
        <p:spPr/>
        <p:txBody>
          <a:bodyPr/>
          <a:lstStyle>
            <a:lvl1pPr>
              <a:defRPr>
                <a:solidFill>
                  <a:schemeClr val="accent2"/>
                </a:solidFill>
              </a:defRPr>
            </a:lvl1pPr>
          </a:lstStyle>
          <a:p>
            <a:r>
              <a:rPr lang="en-GB"/>
              <a:t>Click to edit Master title style</a:t>
            </a:r>
            <a:endParaRPr lang="en-GB" dirty="0"/>
          </a:p>
        </p:txBody>
      </p:sp>
      <p:sp>
        <p:nvSpPr>
          <p:cNvPr id="4" name="Footer Placeholder 4">
            <a:extLst>
              <a:ext uri="{FF2B5EF4-FFF2-40B4-BE49-F238E27FC236}">
                <a16:creationId xmlns:a16="http://schemas.microsoft.com/office/drawing/2014/main" id="{83ACEF4A-FB42-9808-AD89-22387AFA82E5}"/>
              </a:ext>
            </a:extLst>
          </p:cNvPr>
          <p:cNvSpPr>
            <a:spLocks noGrp="1"/>
          </p:cNvSpPr>
          <p:nvPr>
            <p:ph type="ftr" sz="quarter" idx="3"/>
          </p:nvPr>
        </p:nvSpPr>
        <p:spPr>
          <a:xfrm>
            <a:off x="751840" y="6114954"/>
            <a:ext cx="8904068" cy="365125"/>
          </a:xfrm>
          <a:prstGeom prst="rect">
            <a:avLst/>
          </a:prstGeom>
        </p:spPr>
        <p:txBody>
          <a:bodyPr/>
          <a:lstStyle>
            <a:lvl1pPr>
              <a:defRPr>
                <a:solidFill>
                  <a:schemeClr val="accent1"/>
                </a:solidFill>
              </a:defRPr>
            </a:lvl1pPr>
          </a:lstStyle>
          <a:p>
            <a:endParaRPr lang="en-GB" dirty="0"/>
          </a:p>
        </p:txBody>
      </p:sp>
      <p:sp>
        <p:nvSpPr>
          <p:cNvPr id="3" name="Content Placeholder 2">
            <a:extLst>
              <a:ext uri="{FF2B5EF4-FFF2-40B4-BE49-F238E27FC236}">
                <a16:creationId xmlns:a16="http://schemas.microsoft.com/office/drawing/2014/main" id="{6B720EA9-0DAF-BFE1-F59B-9B2B112183BE}"/>
              </a:ext>
            </a:extLst>
          </p:cNvPr>
          <p:cNvSpPr>
            <a:spLocks noGrp="1"/>
          </p:cNvSpPr>
          <p:nvPr>
            <p:ph idx="1"/>
          </p:nvPr>
        </p:nvSpPr>
        <p:spPr>
          <a:xfrm>
            <a:off x="751840" y="1825625"/>
            <a:ext cx="10703150" cy="3772535"/>
          </a:xfrm>
          <a:prstGeom prst="rect">
            <a:avLst/>
          </a:prstGeom>
        </p:spPr>
        <p:txBody>
          <a:bodyPr/>
          <a:lstStyle>
            <a:lvl1pPr>
              <a:defRPr>
                <a:latin typeface="Quicksand" pitchFamily="2" charset="0"/>
              </a:defRPr>
            </a:lvl1pPr>
            <a:lvl2pPr marL="182563" indent="-182563">
              <a:buClr>
                <a:schemeClr val="accent2"/>
              </a:buClr>
              <a:buFont typeface="Arial" panose="020B0604020202020204" pitchFamily="34" charset="0"/>
              <a:buChar char="•"/>
              <a:defRPr>
                <a:latin typeface="Quicksand" pitchFamily="2" charset="0"/>
              </a:defRPr>
            </a:lvl2pPr>
            <a:lvl3pPr marL="684000" indent="-182563">
              <a:buClr>
                <a:schemeClr val="accent2"/>
              </a:buClr>
              <a:buFont typeface="System Font Regular"/>
              <a:buChar char="-"/>
              <a:defRPr>
                <a:latin typeface="Quicksand" pitchFamily="2" charset="0"/>
              </a:defRPr>
            </a:lvl3pPr>
            <a:lvl4pPr marL="1368000" indent="-182563">
              <a:buClr>
                <a:schemeClr val="accent2"/>
              </a:buClr>
              <a:buFont typeface="Arial" panose="020B0604020202020204" pitchFamily="34" charset="0"/>
              <a:buChar char="•"/>
              <a:defRPr>
                <a:latin typeface="Quicksand" pitchFamily="2" charset="0"/>
              </a:defRPr>
            </a:lvl4pPr>
            <a:lvl5pPr marL="2052000" indent="-182563">
              <a:buClr>
                <a:schemeClr val="accent2"/>
              </a:buClr>
              <a:buFont typeface="System Font Regular"/>
              <a:buChar char="-"/>
              <a:defRPr>
                <a:latin typeface="Quicksand"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269020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847472-7E89-8BAA-DFFD-7665F68FBCB7}"/>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C639D404-A40E-A29B-C769-B076AFC0681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1CE2BE45-1AFB-1777-7F35-08016656CF5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7DF0D7A5-C01A-471C-637A-44095AFE661C}"/>
              </a:ext>
            </a:extLst>
          </p:cNvPr>
          <p:cNvSpPr>
            <a:spLocks noGrp="1"/>
          </p:cNvSpPr>
          <p:nvPr>
            <p:ph type="dt" sz="half" idx="10"/>
          </p:nvPr>
        </p:nvSpPr>
        <p:spPr/>
        <p:txBody>
          <a:bodyPr/>
          <a:lstStyle/>
          <a:p>
            <a:fld id="{42D4AB6C-4A85-5446-B3E8-7C728880AC78}" type="datetimeFigureOut">
              <a:rPr lang="en-GB" smtClean="0"/>
              <a:t>03/05/2023</a:t>
            </a:fld>
            <a:endParaRPr lang="en-GB"/>
          </a:p>
        </p:txBody>
      </p:sp>
      <p:sp>
        <p:nvSpPr>
          <p:cNvPr id="6" name="Footer Placeholder 5">
            <a:extLst>
              <a:ext uri="{FF2B5EF4-FFF2-40B4-BE49-F238E27FC236}">
                <a16:creationId xmlns:a16="http://schemas.microsoft.com/office/drawing/2014/main" id="{996A7DE5-96C0-24F9-BDDC-C53FEDDD97B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1AB8E9E-260B-0007-E803-BAF3D1098C70}"/>
              </a:ext>
            </a:extLst>
          </p:cNvPr>
          <p:cNvSpPr>
            <a:spLocks noGrp="1"/>
          </p:cNvSpPr>
          <p:nvPr>
            <p:ph type="sldNum" sz="quarter" idx="12"/>
          </p:nvPr>
        </p:nvSpPr>
        <p:spPr/>
        <p:txBody>
          <a:bodyPr/>
          <a:lstStyle/>
          <a:p>
            <a:fld id="{AA02C636-C95F-234F-B23F-6BCF86172A71}" type="slidenum">
              <a:rPr lang="en-GB" smtClean="0"/>
              <a:t>‹#›</a:t>
            </a:fld>
            <a:endParaRPr lang="en-GB"/>
          </a:p>
        </p:txBody>
      </p:sp>
    </p:spTree>
    <p:extLst>
      <p:ext uri="{BB962C8B-B14F-4D97-AF65-F5344CB8AC3E}">
        <p14:creationId xmlns:p14="http://schemas.microsoft.com/office/powerpoint/2010/main" val="136156945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5C62E7-C227-4FE6-EF6B-402C1AF0FC73}"/>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9780A195-3677-2ED3-3546-5F8679598892}"/>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E124E36A-F824-805B-19DA-F6DAD9D7FF58}"/>
              </a:ext>
            </a:extLst>
          </p:cNvPr>
          <p:cNvSpPr>
            <a:spLocks noGrp="1"/>
          </p:cNvSpPr>
          <p:nvPr>
            <p:ph type="dt" sz="half" idx="10"/>
          </p:nvPr>
        </p:nvSpPr>
        <p:spPr/>
        <p:txBody>
          <a:bodyPr/>
          <a:lstStyle/>
          <a:p>
            <a:fld id="{42D4AB6C-4A85-5446-B3E8-7C728880AC78}" type="datetimeFigureOut">
              <a:rPr lang="en-GB" smtClean="0"/>
              <a:t>03/05/2023</a:t>
            </a:fld>
            <a:endParaRPr lang="en-GB"/>
          </a:p>
        </p:txBody>
      </p:sp>
      <p:sp>
        <p:nvSpPr>
          <p:cNvPr id="5" name="Footer Placeholder 4">
            <a:extLst>
              <a:ext uri="{FF2B5EF4-FFF2-40B4-BE49-F238E27FC236}">
                <a16:creationId xmlns:a16="http://schemas.microsoft.com/office/drawing/2014/main" id="{E54CC016-C643-8999-8F41-015CA6756DF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801969B-FE51-ACE6-A9E3-DA3731C3DC78}"/>
              </a:ext>
            </a:extLst>
          </p:cNvPr>
          <p:cNvSpPr>
            <a:spLocks noGrp="1"/>
          </p:cNvSpPr>
          <p:nvPr>
            <p:ph type="sldNum" sz="quarter" idx="12"/>
          </p:nvPr>
        </p:nvSpPr>
        <p:spPr/>
        <p:txBody>
          <a:bodyPr/>
          <a:lstStyle/>
          <a:p>
            <a:fld id="{AA02C636-C95F-234F-B23F-6BCF86172A71}" type="slidenum">
              <a:rPr lang="en-GB" smtClean="0"/>
              <a:t>‹#›</a:t>
            </a:fld>
            <a:endParaRPr lang="en-GB"/>
          </a:p>
        </p:txBody>
      </p:sp>
    </p:spTree>
    <p:extLst>
      <p:ext uri="{BB962C8B-B14F-4D97-AF65-F5344CB8AC3E}">
        <p14:creationId xmlns:p14="http://schemas.microsoft.com/office/powerpoint/2010/main" val="127355157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4EB87F9-C985-966A-400F-52D66829C112}"/>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276B76F3-FEC8-871A-191B-CA2078D049C4}"/>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BBFC959E-0149-1FF5-4FA4-788854DC9BF5}"/>
              </a:ext>
            </a:extLst>
          </p:cNvPr>
          <p:cNvSpPr>
            <a:spLocks noGrp="1"/>
          </p:cNvSpPr>
          <p:nvPr>
            <p:ph type="dt" sz="half" idx="10"/>
          </p:nvPr>
        </p:nvSpPr>
        <p:spPr/>
        <p:txBody>
          <a:bodyPr/>
          <a:lstStyle/>
          <a:p>
            <a:fld id="{42D4AB6C-4A85-5446-B3E8-7C728880AC78}" type="datetimeFigureOut">
              <a:rPr lang="en-GB" smtClean="0"/>
              <a:t>03/05/2023</a:t>
            </a:fld>
            <a:endParaRPr lang="en-GB"/>
          </a:p>
        </p:txBody>
      </p:sp>
      <p:sp>
        <p:nvSpPr>
          <p:cNvPr id="5" name="Footer Placeholder 4">
            <a:extLst>
              <a:ext uri="{FF2B5EF4-FFF2-40B4-BE49-F238E27FC236}">
                <a16:creationId xmlns:a16="http://schemas.microsoft.com/office/drawing/2014/main" id="{0320DC37-1F2A-17DB-1CFB-ADCB7B9EDEF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6AFB443-699D-1C6D-5F56-CD1436AA8BD9}"/>
              </a:ext>
            </a:extLst>
          </p:cNvPr>
          <p:cNvSpPr>
            <a:spLocks noGrp="1"/>
          </p:cNvSpPr>
          <p:nvPr>
            <p:ph type="sldNum" sz="quarter" idx="12"/>
          </p:nvPr>
        </p:nvSpPr>
        <p:spPr/>
        <p:txBody>
          <a:bodyPr/>
          <a:lstStyle/>
          <a:p>
            <a:fld id="{AA02C636-C95F-234F-B23F-6BCF86172A71}" type="slidenum">
              <a:rPr lang="en-GB" smtClean="0"/>
              <a:t>‹#›</a:t>
            </a:fld>
            <a:endParaRPr lang="en-GB"/>
          </a:p>
        </p:txBody>
      </p:sp>
    </p:spTree>
    <p:extLst>
      <p:ext uri="{BB962C8B-B14F-4D97-AF65-F5344CB8AC3E}">
        <p14:creationId xmlns:p14="http://schemas.microsoft.com/office/powerpoint/2010/main" val="20142245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 Neo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0E5D39-85A3-5569-2D74-ED9FD02ED54A}"/>
              </a:ext>
            </a:extLst>
          </p:cNvPr>
          <p:cNvSpPr>
            <a:spLocks noGrp="1"/>
          </p:cNvSpPr>
          <p:nvPr>
            <p:ph type="title"/>
          </p:nvPr>
        </p:nvSpPr>
        <p:spPr/>
        <p:txBody>
          <a:bodyPr/>
          <a:lstStyle>
            <a:lvl1pPr>
              <a:defRPr>
                <a:solidFill>
                  <a:schemeClr val="tx2"/>
                </a:solidFill>
              </a:defRPr>
            </a:lvl1pPr>
          </a:lstStyle>
          <a:p>
            <a:r>
              <a:rPr lang="en-GB"/>
              <a:t>Click to edit Master title style</a:t>
            </a:r>
            <a:endParaRPr lang="en-GB" dirty="0"/>
          </a:p>
        </p:txBody>
      </p:sp>
      <p:sp>
        <p:nvSpPr>
          <p:cNvPr id="4" name="Footer Placeholder 4">
            <a:extLst>
              <a:ext uri="{FF2B5EF4-FFF2-40B4-BE49-F238E27FC236}">
                <a16:creationId xmlns:a16="http://schemas.microsoft.com/office/drawing/2014/main" id="{83ACEF4A-FB42-9808-AD89-22387AFA82E5}"/>
              </a:ext>
            </a:extLst>
          </p:cNvPr>
          <p:cNvSpPr>
            <a:spLocks noGrp="1"/>
          </p:cNvSpPr>
          <p:nvPr>
            <p:ph type="ftr" sz="quarter" idx="3"/>
          </p:nvPr>
        </p:nvSpPr>
        <p:spPr>
          <a:xfrm>
            <a:off x="751840" y="6114954"/>
            <a:ext cx="8904068" cy="365125"/>
          </a:xfrm>
          <a:prstGeom prst="rect">
            <a:avLst/>
          </a:prstGeom>
        </p:spPr>
        <p:txBody>
          <a:bodyPr/>
          <a:lstStyle>
            <a:lvl1pPr>
              <a:defRPr>
                <a:solidFill>
                  <a:schemeClr val="accent1"/>
                </a:solidFill>
              </a:defRPr>
            </a:lvl1pPr>
          </a:lstStyle>
          <a:p>
            <a:endParaRPr lang="en-GB" dirty="0"/>
          </a:p>
        </p:txBody>
      </p:sp>
      <p:sp>
        <p:nvSpPr>
          <p:cNvPr id="3" name="Content Placeholder 2">
            <a:extLst>
              <a:ext uri="{FF2B5EF4-FFF2-40B4-BE49-F238E27FC236}">
                <a16:creationId xmlns:a16="http://schemas.microsoft.com/office/drawing/2014/main" id="{6B720EA9-0DAF-BFE1-F59B-9B2B112183BE}"/>
              </a:ext>
            </a:extLst>
          </p:cNvPr>
          <p:cNvSpPr>
            <a:spLocks noGrp="1"/>
          </p:cNvSpPr>
          <p:nvPr>
            <p:ph idx="1"/>
          </p:nvPr>
        </p:nvSpPr>
        <p:spPr>
          <a:xfrm>
            <a:off x="751840" y="1825625"/>
            <a:ext cx="10703150" cy="3772535"/>
          </a:xfrm>
          <a:prstGeom prst="rect">
            <a:avLst/>
          </a:prstGeom>
        </p:spPr>
        <p:txBody>
          <a:bodyPr/>
          <a:lstStyle>
            <a:lvl1pPr>
              <a:defRPr>
                <a:solidFill>
                  <a:schemeClr val="tx1"/>
                </a:solidFill>
                <a:latin typeface="Quicksand" pitchFamily="2" charset="0"/>
              </a:defRPr>
            </a:lvl1pPr>
            <a:lvl2pPr marL="182563" indent="-182563">
              <a:buClr>
                <a:schemeClr val="tx2"/>
              </a:buClr>
              <a:buFont typeface="Arial" panose="020B0604020202020204" pitchFamily="34" charset="0"/>
              <a:buChar char="•"/>
              <a:defRPr>
                <a:solidFill>
                  <a:schemeClr val="tx1"/>
                </a:solidFill>
                <a:latin typeface="Quicksand" pitchFamily="2" charset="0"/>
              </a:defRPr>
            </a:lvl2pPr>
            <a:lvl3pPr marL="684000" indent="-182563">
              <a:buClr>
                <a:schemeClr val="tx2"/>
              </a:buClr>
              <a:buFont typeface="System Font Regular"/>
              <a:buChar char="-"/>
              <a:defRPr>
                <a:solidFill>
                  <a:schemeClr val="tx1"/>
                </a:solidFill>
                <a:latin typeface="Quicksand" pitchFamily="2" charset="0"/>
              </a:defRPr>
            </a:lvl3pPr>
            <a:lvl4pPr marL="1368000" indent="-182563">
              <a:buClr>
                <a:schemeClr val="tx2"/>
              </a:buClr>
              <a:buFont typeface="Arial" panose="020B0604020202020204" pitchFamily="34" charset="0"/>
              <a:buChar char="•"/>
              <a:defRPr>
                <a:solidFill>
                  <a:schemeClr val="tx1"/>
                </a:solidFill>
                <a:latin typeface="Quicksand" pitchFamily="2" charset="0"/>
              </a:defRPr>
            </a:lvl4pPr>
            <a:lvl5pPr marL="2052000" indent="-182563">
              <a:buClr>
                <a:schemeClr val="tx2"/>
              </a:buClr>
              <a:buFont typeface="System Font Regular"/>
              <a:buChar char="-"/>
              <a:defRPr>
                <a:solidFill>
                  <a:schemeClr val="tx1"/>
                </a:solidFill>
                <a:latin typeface="Quicksand"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4568194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ata Content -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0AE4B-071C-02F5-A372-F86D8DED5AA0}"/>
              </a:ext>
            </a:extLst>
          </p:cNvPr>
          <p:cNvSpPr>
            <a:spLocks noGrp="1"/>
          </p:cNvSpPr>
          <p:nvPr>
            <p:ph type="title"/>
          </p:nvPr>
        </p:nvSpPr>
        <p:spPr/>
        <p:txBody>
          <a:bodyPr>
            <a:normAutofit/>
          </a:bodyPr>
          <a:lstStyle>
            <a:lvl1pPr>
              <a:defRPr sz="3200">
                <a:solidFill>
                  <a:schemeClr val="accent3"/>
                </a:solidFill>
              </a:defRPr>
            </a:lvl1pPr>
          </a:lstStyle>
          <a:p>
            <a:r>
              <a:rPr lang="en-GB"/>
              <a:t>Click to edit Master title style</a:t>
            </a:r>
            <a:endParaRPr lang="en-GB" dirty="0"/>
          </a:p>
        </p:txBody>
      </p:sp>
      <p:sp>
        <p:nvSpPr>
          <p:cNvPr id="3" name="Content Placeholder 2">
            <a:extLst>
              <a:ext uri="{FF2B5EF4-FFF2-40B4-BE49-F238E27FC236}">
                <a16:creationId xmlns:a16="http://schemas.microsoft.com/office/drawing/2014/main" id="{73B1B0B9-AB91-426F-92D7-F2F806F72554}"/>
              </a:ext>
            </a:extLst>
          </p:cNvPr>
          <p:cNvSpPr>
            <a:spLocks noGrp="1"/>
          </p:cNvSpPr>
          <p:nvPr>
            <p:ph sz="half" idx="1"/>
          </p:nvPr>
        </p:nvSpPr>
        <p:spPr>
          <a:xfrm>
            <a:off x="751840" y="1825625"/>
            <a:ext cx="5267959" cy="3619212"/>
          </a:xfrm>
          <a:prstGeom prst="rect">
            <a:avLst/>
          </a:prstGeom>
        </p:spPr>
        <p:txBody>
          <a:bodyPr/>
          <a:lstStyle>
            <a:lvl1pPr>
              <a:defRPr>
                <a:latin typeface="Quicksand" pitchFamily="2" charset="0"/>
              </a:defRPr>
            </a:lvl1pPr>
            <a:lvl2pPr>
              <a:buClr>
                <a:schemeClr val="accent3"/>
              </a:buClr>
              <a:defRPr>
                <a:latin typeface="Quicksand" pitchFamily="2" charset="0"/>
              </a:defRPr>
            </a:lvl2pPr>
            <a:lvl3pPr>
              <a:buClr>
                <a:schemeClr val="accent3"/>
              </a:buClr>
              <a:defRPr>
                <a:latin typeface="Quicksand" pitchFamily="2" charset="0"/>
              </a:defRPr>
            </a:lvl3pPr>
            <a:lvl4pPr>
              <a:buClr>
                <a:schemeClr val="accent3"/>
              </a:buClr>
              <a:defRPr>
                <a:latin typeface="Quicksand" pitchFamily="2" charset="0"/>
              </a:defRPr>
            </a:lvl4pPr>
            <a:lvl5pPr>
              <a:buClr>
                <a:schemeClr val="accent3"/>
              </a:buClr>
              <a:defRPr>
                <a:latin typeface="Quicksand"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7" name="Chart Placeholder 4">
            <a:extLst>
              <a:ext uri="{FF2B5EF4-FFF2-40B4-BE49-F238E27FC236}">
                <a16:creationId xmlns:a16="http://schemas.microsoft.com/office/drawing/2014/main" id="{EE3E867B-9FE0-71C1-A521-89885EE0C426}"/>
              </a:ext>
            </a:extLst>
          </p:cNvPr>
          <p:cNvSpPr>
            <a:spLocks noGrp="1"/>
          </p:cNvSpPr>
          <p:nvPr>
            <p:ph type="chart" sz="quarter" idx="13"/>
          </p:nvPr>
        </p:nvSpPr>
        <p:spPr>
          <a:xfrm>
            <a:off x="6172201" y="1825625"/>
            <a:ext cx="5282789" cy="3619212"/>
          </a:xfrm>
          <a:prstGeom prst="rect">
            <a:avLst/>
          </a:prstGeom>
        </p:spPr>
        <p:txBody>
          <a:bodyPr anchor="ctr"/>
          <a:lstStyle>
            <a:lvl1pPr algn="ctr">
              <a:defRPr/>
            </a:lvl1pPr>
          </a:lstStyle>
          <a:p>
            <a:r>
              <a:rPr lang="en-GB"/>
              <a:t>Click icon to add chart</a:t>
            </a:r>
            <a:endParaRPr lang="en-GB" dirty="0"/>
          </a:p>
        </p:txBody>
      </p:sp>
      <p:sp>
        <p:nvSpPr>
          <p:cNvPr id="28" name="Footer Placeholder 4">
            <a:extLst>
              <a:ext uri="{FF2B5EF4-FFF2-40B4-BE49-F238E27FC236}">
                <a16:creationId xmlns:a16="http://schemas.microsoft.com/office/drawing/2014/main" id="{A728AFED-1DF7-D662-6492-F874A99CC229}"/>
              </a:ext>
            </a:extLst>
          </p:cNvPr>
          <p:cNvSpPr>
            <a:spLocks noGrp="1"/>
          </p:cNvSpPr>
          <p:nvPr>
            <p:ph type="ftr" sz="quarter" idx="3"/>
          </p:nvPr>
        </p:nvSpPr>
        <p:spPr>
          <a:xfrm>
            <a:off x="751840" y="6114954"/>
            <a:ext cx="8904068" cy="365125"/>
          </a:xfrm>
          <a:prstGeom prst="rect">
            <a:avLst/>
          </a:prstGeom>
        </p:spPr>
        <p:txBody>
          <a:bodyPr/>
          <a:lstStyle>
            <a:lvl1pPr>
              <a:defRPr>
                <a:solidFill>
                  <a:schemeClr val="bg2"/>
                </a:solidFill>
              </a:defRPr>
            </a:lvl1pPr>
          </a:lstStyle>
          <a:p>
            <a:endParaRPr lang="en-GB" dirty="0"/>
          </a:p>
        </p:txBody>
      </p:sp>
    </p:spTree>
    <p:extLst>
      <p:ext uri="{BB962C8B-B14F-4D97-AF65-F5344CB8AC3E}">
        <p14:creationId xmlns:p14="http://schemas.microsoft.com/office/powerpoint/2010/main" val="329346280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theme" Target="../theme/theme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theme" Target="../theme/theme3.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E338D11-380A-F98C-AE48-4EA3D89A1A12}"/>
              </a:ext>
            </a:extLst>
          </p:cNvPr>
          <p:cNvSpPr>
            <a:spLocks noGrp="1"/>
          </p:cNvSpPr>
          <p:nvPr>
            <p:ph type="title"/>
          </p:nvPr>
        </p:nvSpPr>
        <p:spPr>
          <a:xfrm>
            <a:off x="751841" y="365125"/>
            <a:ext cx="10703150" cy="1325563"/>
          </a:xfrm>
          <a:prstGeom prst="rect">
            <a:avLst/>
          </a:prstGeom>
        </p:spPr>
        <p:txBody>
          <a:bodyPr vert="horz" lIns="91440" tIns="45720" rIns="91440" bIns="45720" rtlCol="0" anchor="ctr">
            <a:normAutofit/>
          </a:body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9374A5C5-5D96-5E1C-995F-E06CAC92FCAF}"/>
              </a:ext>
            </a:extLst>
          </p:cNvPr>
          <p:cNvSpPr>
            <a:spLocks noGrp="1"/>
          </p:cNvSpPr>
          <p:nvPr>
            <p:ph type="body" idx="1"/>
          </p:nvPr>
        </p:nvSpPr>
        <p:spPr>
          <a:xfrm>
            <a:off x="751840" y="1825625"/>
            <a:ext cx="10703150" cy="3772535"/>
          </a:xfrm>
          <a:prstGeom prst="rect">
            <a:avLst/>
          </a:prstGeom>
        </p:spPr>
        <p:txBody>
          <a:bodyPr vert="horz" lIns="91440" tIns="45720" rIns="91440" bIns="45720" rtlCol="0">
            <a:normAutofit/>
          </a:bodyPr>
          <a:lstStyle/>
          <a:p>
            <a:pPr lvl="0"/>
            <a:r>
              <a:rPr lang="en-US" dirty="0"/>
              <a:t>Click to edit Master text styles</a:t>
            </a:r>
            <a:br>
              <a:rPr lang="en-US" dirty="0"/>
            </a:br>
            <a:endParaRPr lang="en-US" dirty="0"/>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4">
            <a:extLst>
              <a:ext uri="{FF2B5EF4-FFF2-40B4-BE49-F238E27FC236}">
                <a16:creationId xmlns:a16="http://schemas.microsoft.com/office/drawing/2014/main" id="{61B5FAC9-3535-A373-ACE1-F95DA7F453F4}"/>
              </a:ext>
            </a:extLst>
          </p:cNvPr>
          <p:cNvSpPr>
            <a:spLocks noGrp="1"/>
          </p:cNvSpPr>
          <p:nvPr>
            <p:ph type="ftr" sz="quarter" idx="3"/>
          </p:nvPr>
        </p:nvSpPr>
        <p:spPr>
          <a:xfrm>
            <a:off x="751840" y="6114954"/>
            <a:ext cx="8904068" cy="365125"/>
          </a:xfrm>
          <a:prstGeom prst="rect">
            <a:avLst/>
          </a:prstGeom>
        </p:spPr>
        <p:txBody>
          <a:bodyPr/>
          <a:lstStyle>
            <a:lvl1pPr>
              <a:defRPr sz="1400">
                <a:solidFill>
                  <a:schemeClr val="accent1"/>
                </a:solidFill>
                <a:latin typeface="Quicksand" pitchFamily="2" charset="0"/>
              </a:defRPr>
            </a:lvl1pPr>
          </a:lstStyle>
          <a:p>
            <a:endParaRPr lang="en-GB" dirty="0"/>
          </a:p>
        </p:txBody>
      </p:sp>
      <p:pic>
        <p:nvPicPr>
          <p:cNvPr id="5" name="Picture 4" descr="Icon&#10;&#10;Description automatically generated">
            <a:extLst>
              <a:ext uri="{FF2B5EF4-FFF2-40B4-BE49-F238E27FC236}">
                <a16:creationId xmlns:a16="http://schemas.microsoft.com/office/drawing/2014/main" id="{E933B7D9-4B12-B8C9-F890-0F38A297D05F}"/>
              </a:ext>
            </a:extLst>
          </p:cNvPr>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0664840" y="5816863"/>
            <a:ext cx="667048" cy="723001"/>
          </a:xfrm>
          <a:prstGeom prst="rect">
            <a:avLst/>
          </a:prstGeom>
        </p:spPr>
      </p:pic>
    </p:spTree>
    <p:extLst>
      <p:ext uri="{BB962C8B-B14F-4D97-AF65-F5344CB8AC3E}">
        <p14:creationId xmlns:p14="http://schemas.microsoft.com/office/powerpoint/2010/main" val="3131182336"/>
      </p:ext>
    </p:extLst>
  </p:cSld>
  <p:clrMap bg1="lt1" tx1="dk1" bg2="lt2" tx2="dk2" accent1="accent1" accent2="accent2" accent3="accent3" accent4="accent4" accent5="accent5" accent6="accent6" hlink="hlink" folHlink="folHlink"/>
  <p:sldLayoutIdLst>
    <p:sldLayoutId id="2147483681" r:id="rId1"/>
    <p:sldLayoutId id="2147483649" r:id="rId2"/>
    <p:sldLayoutId id="2147483662" r:id="rId3"/>
    <p:sldLayoutId id="2147483650" r:id="rId4"/>
    <p:sldLayoutId id="2147483660" r:id="rId5"/>
    <p:sldLayoutId id="2147483661" r:id="rId6"/>
    <p:sldLayoutId id="2147483682" r:id="rId7"/>
    <p:sldLayoutId id="2147483684" r:id="rId8"/>
    <p:sldLayoutId id="2147483652" r:id="rId9"/>
    <p:sldLayoutId id="2147483669" r:id="rId10"/>
    <p:sldLayoutId id="2147483651" r:id="rId11"/>
    <p:sldLayoutId id="2147483663" r:id="rId12"/>
    <p:sldLayoutId id="2147483665" r:id="rId13"/>
    <p:sldLayoutId id="2147483666" r:id="rId14"/>
    <p:sldLayoutId id="2147483664" r:id="rId15"/>
    <p:sldLayoutId id="2147483653" r:id="rId16"/>
    <p:sldLayoutId id="2147483667" r:id="rId17"/>
    <p:sldLayoutId id="2147483668" r:id="rId18"/>
    <p:sldLayoutId id="2147483671" r:id="rId19"/>
    <p:sldLayoutId id="2147483672" r:id="rId20"/>
    <p:sldLayoutId id="2147483673" r:id="rId21"/>
    <p:sldLayoutId id="2147483674" r:id="rId22"/>
    <p:sldLayoutId id="2147483675" r:id="rId23"/>
    <p:sldLayoutId id="2147483676" r:id="rId24"/>
    <p:sldLayoutId id="2147483677" r:id="rId25"/>
    <p:sldLayoutId id="2147483679" r:id="rId26"/>
    <p:sldLayoutId id="2147483680" r:id="rId27"/>
    <p:sldLayoutId id="2147483656" r:id="rId28"/>
    <p:sldLayoutId id="2147483683" r:id="rId29"/>
    <p:sldLayoutId id="2147483655" r:id="rId30"/>
    <p:sldLayoutId id="2147483685" r:id="rId31"/>
    <p:sldLayoutId id="2147483686" r:id="rId32"/>
    <p:sldLayoutId id="2147483687" r:id="rId33"/>
  </p:sldLayoutIdLst>
  <p:hf sldNum="0" hdr="0" dt="0"/>
  <p:txStyles>
    <p:titleStyle>
      <a:lvl1pPr algn="l" defTabSz="914400" rtl="0" eaLnBrk="1" latinLnBrk="0" hangingPunct="1">
        <a:lnSpc>
          <a:spcPct val="90000"/>
        </a:lnSpc>
        <a:spcBef>
          <a:spcPct val="0"/>
        </a:spcBef>
        <a:buNone/>
        <a:defRPr sz="4400" kern="1200">
          <a:solidFill>
            <a:schemeClr val="bg2"/>
          </a:solidFill>
          <a:latin typeface="Quicksand" pitchFamily="2" charset="0"/>
          <a:ea typeface="+mj-ea"/>
          <a:cs typeface="Quire Sans" panose="020B0502040204020203" pitchFamily="34" charset="0"/>
        </a:defRPr>
      </a:lvl1pPr>
    </p:titleStyle>
    <p:bodyStyle>
      <a:lvl1pPr marL="0" indent="0" algn="l" defTabSz="914400" rtl="0" eaLnBrk="1" latinLnBrk="0" hangingPunct="1">
        <a:lnSpc>
          <a:spcPct val="90000"/>
        </a:lnSpc>
        <a:spcBef>
          <a:spcPts val="1000"/>
        </a:spcBef>
        <a:buFontTx/>
        <a:buNone/>
        <a:defRPr sz="2200" b="0" kern="1200">
          <a:solidFill>
            <a:schemeClr val="tx1"/>
          </a:solidFill>
          <a:latin typeface="Quicksand Medium" pitchFamily="2" charset="0"/>
          <a:ea typeface="+mn-ea"/>
          <a:cs typeface="+mn-cs"/>
        </a:defRPr>
      </a:lvl1pPr>
      <a:lvl2pPr marL="342900" indent="-3429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Quicksand" pitchFamily="2" charset="0"/>
          <a:ea typeface="+mn-ea"/>
          <a:cs typeface="+mn-cs"/>
        </a:defRPr>
      </a:lvl2pPr>
      <a:lvl3pPr marL="684000" indent="-342900" algn="l" defTabSz="914400" rtl="0" eaLnBrk="1" latinLnBrk="0" hangingPunct="1">
        <a:lnSpc>
          <a:spcPct val="90000"/>
        </a:lnSpc>
        <a:spcBef>
          <a:spcPts val="500"/>
        </a:spcBef>
        <a:buFont typeface="System Font Regular"/>
        <a:buChar char="-"/>
        <a:defRPr sz="1800" kern="1200">
          <a:solidFill>
            <a:schemeClr val="tx1"/>
          </a:solidFill>
          <a:latin typeface="Quicksand" pitchFamily="2" charset="0"/>
          <a:ea typeface="+mn-ea"/>
          <a:cs typeface="+mn-cs"/>
        </a:defRPr>
      </a:lvl3pPr>
      <a:lvl4pPr marL="1368000" indent="-3429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Quicksand" pitchFamily="2" charset="0"/>
          <a:ea typeface="+mn-ea"/>
          <a:cs typeface="+mn-cs"/>
        </a:defRPr>
      </a:lvl4pPr>
      <a:lvl5pPr marL="2052000" indent="-342900" algn="l" defTabSz="914400" rtl="0" eaLnBrk="1" latinLnBrk="0" hangingPunct="1">
        <a:lnSpc>
          <a:spcPct val="90000"/>
        </a:lnSpc>
        <a:spcBef>
          <a:spcPts val="500"/>
        </a:spcBef>
        <a:buFont typeface="System Font Regular"/>
        <a:buChar char="-"/>
        <a:defRPr sz="1400" kern="1200">
          <a:solidFill>
            <a:schemeClr val="tx1"/>
          </a:solidFill>
          <a:latin typeface="Quicksand"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529" userDrawn="1">
          <p15:clr>
            <a:srgbClr val="F26B43"/>
          </p15:clr>
        </p15:guide>
        <p15:guide id="4" orient="horz" pos="754" userDrawn="1">
          <p15:clr>
            <a:srgbClr val="F26B43"/>
          </p15:clr>
        </p15:guide>
        <p15:guide id="5" orient="horz" pos="1321" userDrawn="1">
          <p15:clr>
            <a:srgbClr val="F26B43"/>
          </p15:clr>
        </p15:guide>
        <p15:guide id="6" orient="horz" pos="399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E338D11-380A-F98C-AE48-4EA3D89A1A12}"/>
              </a:ext>
            </a:extLst>
          </p:cNvPr>
          <p:cNvSpPr>
            <a:spLocks noGrp="1"/>
          </p:cNvSpPr>
          <p:nvPr>
            <p:ph type="title"/>
          </p:nvPr>
        </p:nvSpPr>
        <p:spPr>
          <a:xfrm>
            <a:off x="751841" y="365125"/>
            <a:ext cx="10703150" cy="1325563"/>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9374A5C5-5D96-5E1C-995F-E06CAC92FCAF}"/>
              </a:ext>
            </a:extLst>
          </p:cNvPr>
          <p:cNvSpPr>
            <a:spLocks noGrp="1"/>
          </p:cNvSpPr>
          <p:nvPr>
            <p:ph type="body" idx="1"/>
          </p:nvPr>
        </p:nvSpPr>
        <p:spPr>
          <a:xfrm>
            <a:off x="751840" y="1825625"/>
            <a:ext cx="10703150" cy="3772535"/>
          </a:xfrm>
          <a:prstGeom prst="rect">
            <a:avLst/>
          </a:prstGeom>
        </p:spPr>
        <p:txBody>
          <a:bodyPr vert="horz" lIns="91440" tIns="45720" rIns="91440" bIns="45720" rtlCol="0">
            <a:normAutofit/>
          </a:bodyPr>
          <a:lstStyle/>
          <a:p>
            <a:pPr lvl="0"/>
            <a:r>
              <a:rPr lang="en-US" dirty="0"/>
              <a:t>Click to edit Master text styles</a:t>
            </a:r>
            <a:br>
              <a:rPr lang="en-US" dirty="0"/>
            </a:br>
            <a:endParaRPr lang="en-US" dirty="0"/>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4">
            <a:extLst>
              <a:ext uri="{FF2B5EF4-FFF2-40B4-BE49-F238E27FC236}">
                <a16:creationId xmlns:a16="http://schemas.microsoft.com/office/drawing/2014/main" id="{61B5FAC9-3535-A373-ACE1-F95DA7F453F4}"/>
              </a:ext>
            </a:extLst>
          </p:cNvPr>
          <p:cNvSpPr>
            <a:spLocks noGrp="1"/>
          </p:cNvSpPr>
          <p:nvPr>
            <p:ph type="ftr" sz="quarter" idx="3"/>
          </p:nvPr>
        </p:nvSpPr>
        <p:spPr>
          <a:xfrm>
            <a:off x="751840" y="6114954"/>
            <a:ext cx="8904068" cy="365125"/>
          </a:xfrm>
          <a:prstGeom prst="rect">
            <a:avLst/>
          </a:prstGeom>
        </p:spPr>
        <p:txBody>
          <a:bodyPr/>
          <a:lstStyle>
            <a:lvl1pPr>
              <a:defRPr sz="1400">
                <a:solidFill>
                  <a:schemeClr val="accent1"/>
                </a:solidFill>
                <a:latin typeface="Quicksand" pitchFamily="2" charset="0"/>
              </a:defRPr>
            </a:lvl1pPr>
          </a:lstStyle>
          <a:p>
            <a:endParaRPr lang="en-GB" dirty="0"/>
          </a:p>
        </p:txBody>
      </p:sp>
      <p:pic>
        <p:nvPicPr>
          <p:cNvPr id="5" name="Picture 4" descr="Icon&#10;&#10;Description automatically generated">
            <a:extLst>
              <a:ext uri="{FF2B5EF4-FFF2-40B4-BE49-F238E27FC236}">
                <a16:creationId xmlns:a16="http://schemas.microsoft.com/office/drawing/2014/main" id="{E933B7D9-4B12-B8C9-F890-0F38A297D05F}"/>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0664840" y="5816863"/>
            <a:ext cx="667048" cy="723001"/>
          </a:xfrm>
          <a:prstGeom prst="rect">
            <a:avLst/>
          </a:prstGeom>
        </p:spPr>
      </p:pic>
    </p:spTree>
    <p:extLst>
      <p:ext uri="{BB962C8B-B14F-4D97-AF65-F5344CB8AC3E}">
        <p14:creationId xmlns:p14="http://schemas.microsoft.com/office/powerpoint/2010/main" val="1131610257"/>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Lst>
  <p:hf sldNum="0" hdr="0" dt="0"/>
  <p:txStyles>
    <p:titleStyle>
      <a:lvl1pPr algn="l" defTabSz="914400" rtl="0" eaLnBrk="1" latinLnBrk="0" hangingPunct="1">
        <a:lnSpc>
          <a:spcPct val="90000"/>
        </a:lnSpc>
        <a:spcBef>
          <a:spcPct val="0"/>
        </a:spcBef>
        <a:buNone/>
        <a:defRPr sz="4400" kern="1200">
          <a:solidFill>
            <a:schemeClr val="bg2"/>
          </a:solidFill>
          <a:latin typeface="Quicksand" pitchFamily="2" charset="0"/>
          <a:ea typeface="+mj-ea"/>
          <a:cs typeface="Quire Sans" panose="020B0502040204020203" pitchFamily="34" charset="0"/>
        </a:defRPr>
      </a:lvl1pPr>
    </p:titleStyle>
    <p:bodyStyle>
      <a:lvl1pPr marL="0" indent="0" algn="l" defTabSz="914400" rtl="0" eaLnBrk="1" latinLnBrk="0" hangingPunct="1">
        <a:lnSpc>
          <a:spcPct val="90000"/>
        </a:lnSpc>
        <a:spcBef>
          <a:spcPts val="1000"/>
        </a:spcBef>
        <a:buFontTx/>
        <a:buNone/>
        <a:defRPr sz="2200" b="0" kern="1200">
          <a:solidFill>
            <a:schemeClr val="tx1"/>
          </a:solidFill>
          <a:latin typeface="Quicksand" pitchFamily="2" charset="0"/>
          <a:ea typeface="+mn-ea"/>
          <a:cs typeface="+mn-cs"/>
        </a:defRPr>
      </a:lvl1pPr>
      <a:lvl2pPr marL="0" indent="0" algn="l" defTabSz="914400" rtl="0" eaLnBrk="1" latinLnBrk="0" hangingPunct="1">
        <a:lnSpc>
          <a:spcPct val="90000"/>
        </a:lnSpc>
        <a:spcBef>
          <a:spcPts val="500"/>
        </a:spcBef>
        <a:buFontTx/>
        <a:buNone/>
        <a:defRPr sz="2200" kern="1200">
          <a:solidFill>
            <a:schemeClr val="tx1"/>
          </a:solidFill>
          <a:latin typeface="Quicksand" pitchFamily="2" charset="0"/>
          <a:ea typeface="+mn-ea"/>
          <a:cs typeface="+mn-cs"/>
        </a:defRPr>
      </a:lvl2pPr>
      <a:lvl3pPr marL="0" indent="0" algn="l" defTabSz="914400" rtl="0" eaLnBrk="1" latinLnBrk="0" hangingPunct="1">
        <a:lnSpc>
          <a:spcPct val="90000"/>
        </a:lnSpc>
        <a:spcBef>
          <a:spcPts val="500"/>
        </a:spcBef>
        <a:buFontTx/>
        <a:buNone/>
        <a:defRPr sz="2200" kern="1200">
          <a:solidFill>
            <a:schemeClr val="tx1"/>
          </a:solidFill>
          <a:latin typeface="Quicksand" pitchFamily="2" charset="0"/>
          <a:ea typeface="+mn-ea"/>
          <a:cs typeface="+mn-cs"/>
        </a:defRPr>
      </a:lvl3pPr>
      <a:lvl4pPr marL="0" indent="0" algn="l" defTabSz="914400" rtl="0" eaLnBrk="1" latinLnBrk="0" hangingPunct="1">
        <a:lnSpc>
          <a:spcPct val="90000"/>
        </a:lnSpc>
        <a:spcBef>
          <a:spcPts val="500"/>
        </a:spcBef>
        <a:buFontTx/>
        <a:buNone/>
        <a:defRPr sz="2200" kern="1200">
          <a:solidFill>
            <a:schemeClr val="tx1"/>
          </a:solidFill>
          <a:latin typeface="Quicksand" pitchFamily="2" charset="0"/>
          <a:ea typeface="+mn-ea"/>
          <a:cs typeface="+mn-cs"/>
        </a:defRPr>
      </a:lvl4pPr>
      <a:lvl5pPr marL="0" indent="0" algn="l" defTabSz="914400" rtl="0" eaLnBrk="1" latinLnBrk="0" hangingPunct="1">
        <a:lnSpc>
          <a:spcPct val="90000"/>
        </a:lnSpc>
        <a:spcBef>
          <a:spcPts val="500"/>
        </a:spcBef>
        <a:buFontTx/>
        <a:buNone/>
        <a:defRPr sz="2200" kern="1200">
          <a:solidFill>
            <a:schemeClr val="tx1"/>
          </a:solidFill>
          <a:latin typeface="Quicksand"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529">
          <p15:clr>
            <a:srgbClr val="F26B43"/>
          </p15:clr>
        </p15:guide>
        <p15:guide id="4" orient="horz" pos="754">
          <p15:clr>
            <a:srgbClr val="F26B43"/>
          </p15:clr>
        </p15:guide>
        <p15:guide id="5" orient="horz" pos="1321">
          <p15:clr>
            <a:srgbClr val="F26B43"/>
          </p15:clr>
        </p15:guide>
        <p15:guide id="6" orient="horz" pos="399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7179F7-218C-AA8C-F064-DB56022E31E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22C31F23-7336-D4E6-3272-725DF6DD992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87AB2028-7899-7AC8-B9F8-266CDA9A86D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2D4AB6C-4A85-5446-B3E8-7C728880AC78}" type="datetimeFigureOut">
              <a:rPr lang="en-GB" smtClean="0"/>
              <a:t>03/05/2023</a:t>
            </a:fld>
            <a:endParaRPr lang="en-GB"/>
          </a:p>
        </p:txBody>
      </p:sp>
      <p:sp>
        <p:nvSpPr>
          <p:cNvPr id="5" name="Footer Placeholder 4">
            <a:extLst>
              <a:ext uri="{FF2B5EF4-FFF2-40B4-BE49-F238E27FC236}">
                <a16:creationId xmlns:a16="http://schemas.microsoft.com/office/drawing/2014/main" id="{753C2E81-7968-2DFA-094A-57B911CD545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F80E72D-A4F6-F182-7896-7ED66A17994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02C636-C95F-234F-B23F-6BCF86172A71}" type="slidenum">
              <a:rPr lang="en-GB" smtClean="0"/>
              <a:t>‹#›</a:t>
            </a:fld>
            <a:endParaRPr lang="en-GB"/>
          </a:p>
        </p:txBody>
      </p:sp>
    </p:spTree>
    <p:extLst>
      <p:ext uri="{BB962C8B-B14F-4D97-AF65-F5344CB8AC3E}">
        <p14:creationId xmlns:p14="http://schemas.microsoft.com/office/powerpoint/2010/main" val="3474320991"/>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60.xml"/><Relationship Id="rId4" Type="http://schemas.openxmlformats.org/officeDocument/2006/relationships/image" Target="../media/image15.emf"/></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9.xml"/><Relationship Id="rId4" Type="http://schemas.openxmlformats.org/officeDocument/2006/relationships/image" Target="../media/image45.PNG"/></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17.png"/><Relationship Id="rId2" Type="http://schemas.openxmlformats.org/officeDocument/2006/relationships/image" Target="../media/image46.png"/><Relationship Id="rId1" Type="http://schemas.openxmlformats.org/officeDocument/2006/relationships/slideLayout" Target="../slideLayouts/slideLayout4.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53.png"/><Relationship Id="rId4" Type="http://schemas.openxmlformats.org/officeDocument/2006/relationships/image" Target="../media/image52.png"/></Relationships>
</file>

<file path=ppt/slides/_rels/slide15.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7.png"/><Relationship Id="rId7" Type="http://schemas.openxmlformats.org/officeDocument/2006/relationships/diagramColors" Target="../diagrams/colors1.xml"/><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notesSlide" Target="../notesSlides/notesSlide16.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slideLayout" Target="../slideLayouts/slideLayout4.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chart" Target="../charts/chart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image" Target="../media/image17.png"/></Relationships>
</file>

<file path=ppt/slides/_rels/slide25.xml.rels><?xml version="1.0" encoding="UTF-8" standalone="yes"?>
<Relationships xmlns="http://schemas.openxmlformats.org/package/2006/relationships"><Relationship Id="rId3" Type="http://schemas.openxmlformats.org/officeDocument/2006/relationships/hyperlink" Target="https://finishmondial.org/leave-no-one-behind-working-for-socially-and-gender-inclusive-sanitation/" TargetMode="External"/><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hyperlink" Target="https://twitter.com/BBCAfrica/status/1547632014458703874?s=20&amp;t=FnU94nZKV0mF42iY6l0DzQ"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9.xml"/><Relationship Id="rId1" Type="http://schemas.openxmlformats.org/officeDocument/2006/relationships/slideLayout" Target="../slideLayouts/slideLayout31.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jpeg"/></Relationships>
</file>

<file path=ppt/slides/_rels/slide2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0.xml"/><Relationship Id="rId1" Type="http://schemas.openxmlformats.org/officeDocument/2006/relationships/slideLayout" Target="../slideLayouts/slideLayout30.xml"/><Relationship Id="rId6" Type="http://schemas.openxmlformats.org/officeDocument/2006/relationships/image" Target="../media/image68.jpeg"/><Relationship Id="rId5" Type="http://schemas.openxmlformats.org/officeDocument/2006/relationships/image" Target="../media/image67.png"/><Relationship Id="rId4" Type="http://schemas.openxmlformats.org/officeDocument/2006/relationships/image" Target="../media/image66.png"/></Relationships>
</file>

<file path=ppt/slides/_rels/slide3.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1.xml"/><Relationship Id="rId1" Type="http://schemas.openxmlformats.org/officeDocument/2006/relationships/slideLayout" Target="../slideLayouts/slideLayout30.xml"/><Relationship Id="rId5" Type="http://schemas.openxmlformats.org/officeDocument/2006/relationships/image" Target="../media/image68.jpeg"/><Relationship Id="rId4" Type="http://schemas.openxmlformats.org/officeDocument/2006/relationships/image" Target="../media/image64.png"/></Relationships>
</file>

<file path=ppt/slides/_rels/slide3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2.xml"/><Relationship Id="rId1" Type="http://schemas.openxmlformats.org/officeDocument/2006/relationships/slideLayout" Target="../slideLayouts/slideLayout30.xml"/><Relationship Id="rId5" Type="http://schemas.openxmlformats.org/officeDocument/2006/relationships/image" Target="../media/image71.jpeg"/><Relationship Id="rId4" Type="http://schemas.openxmlformats.org/officeDocument/2006/relationships/image" Target="../media/image70.png"/></Relationships>
</file>

<file path=ppt/slides/_rels/slide32.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23.xml"/><Relationship Id="rId1" Type="http://schemas.openxmlformats.org/officeDocument/2006/relationships/slideLayout" Target="../slideLayouts/slideLayout30.xml"/><Relationship Id="rId6" Type="http://schemas.openxmlformats.org/officeDocument/2006/relationships/image" Target="../media/image75.jpeg"/><Relationship Id="rId5" Type="http://schemas.openxmlformats.org/officeDocument/2006/relationships/image" Target="../media/image74.jpeg"/><Relationship Id="rId4" Type="http://schemas.openxmlformats.org/officeDocument/2006/relationships/image" Target="../media/image73.jpeg"/></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25.xml"/><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8.xml"/><Relationship Id="rId1" Type="http://schemas.openxmlformats.org/officeDocument/2006/relationships/slideLayout" Target="../slideLayouts/slideLayout4.xml"/><Relationship Id="rId5" Type="http://schemas.openxmlformats.org/officeDocument/2006/relationships/hyperlink" Target="https://www.globalwaters.org/resources/assets/Area-wide-Sanitation-brief" TargetMode="External"/><Relationship Id="rId4" Type="http://schemas.openxmlformats.org/officeDocument/2006/relationships/hyperlink" Target="https://www.globalwaters.org/resources/assets/Area-wide-Sanitation-Desk-Review"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8" Type="http://schemas.openxmlformats.org/officeDocument/2006/relationships/diagramData" Target="../diagrams/data8.xml"/><Relationship Id="rId3" Type="http://schemas.openxmlformats.org/officeDocument/2006/relationships/diagramData" Target="../diagrams/data7.xml"/><Relationship Id="rId7" Type="http://schemas.microsoft.com/office/2007/relationships/diagramDrawing" Target="../diagrams/drawing7.xml"/><Relationship Id="rId12" Type="http://schemas.microsoft.com/office/2007/relationships/diagramDrawing" Target="../diagrams/drawing8.xml"/><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diagramColors" Target="../diagrams/colors7.xml"/><Relationship Id="rId11" Type="http://schemas.openxmlformats.org/officeDocument/2006/relationships/diagramColors" Target="../diagrams/colors8.xml"/><Relationship Id="rId5" Type="http://schemas.openxmlformats.org/officeDocument/2006/relationships/diagramQuickStyle" Target="../diagrams/quickStyle7.xml"/><Relationship Id="rId10" Type="http://schemas.openxmlformats.org/officeDocument/2006/relationships/diagramQuickStyle" Target="../diagrams/quickStyle8.xml"/><Relationship Id="rId4" Type="http://schemas.openxmlformats.org/officeDocument/2006/relationships/diagramLayout" Target="../diagrams/layout7.xml"/><Relationship Id="rId9" Type="http://schemas.openxmlformats.org/officeDocument/2006/relationships/diagramLayout" Target="../diagrams/layout8.xml"/></Relationships>
</file>

<file path=ppt/slides/_rels/slide4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hyperlink" Target="mailto:Morris.Israel@tetratech.com" TargetMode="External"/><Relationship Id="rId7" Type="http://schemas.openxmlformats.org/officeDocument/2006/relationships/hyperlink" Target="mailto:nouibrahim@waste.nl" TargetMode="External"/><Relationship Id="rId2" Type="http://schemas.openxmlformats.org/officeDocument/2006/relationships/hyperlink" Target="mailto:Jeshapiro@usaid.gov" TargetMode="External"/><Relationship Id="rId1" Type="http://schemas.openxmlformats.org/officeDocument/2006/relationships/slideLayout" Target="../slideLayouts/slideLayout59.xml"/><Relationship Id="rId6" Type="http://schemas.openxmlformats.org/officeDocument/2006/relationships/hyperlink" Target="mailto:vpost@waste.nl" TargetMode="External"/><Relationship Id="rId5" Type="http://schemas.openxmlformats.org/officeDocument/2006/relationships/hyperlink" Target="mailto:programmemonitoring@yahoo.com" TargetMode="External"/><Relationship Id="rId4" Type="http://schemas.openxmlformats.org/officeDocument/2006/relationships/hyperlink" Target="mailto:c.vandervoorden@tetratech.com" TargetMode="External"/><Relationship Id="rId9" Type="http://schemas.openxmlformats.org/officeDocument/2006/relationships/comments" Target="../comments/comment3.xml"/></Relationships>
</file>

<file path=ppt/slides/_rels/slide43.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png"/><Relationship Id="rId18" Type="http://schemas.openxmlformats.org/officeDocument/2006/relationships/image" Target="../media/image97.emf"/><Relationship Id="rId3" Type="http://schemas.openxmlformats.org/officeDocument/2006/relationships/image" Target="../media/image82.png"/><Relationship Id="rId21" Type="http://schemas.openxmlformats.org/officeDocument/2006/relationships/image" Target="../media/image100.jpg"/><Relationship Id="rId7" Type="http://schemas.openxmlformats.org/officeDocument/2006/relationships/image" Target="../media/image86.png"/><Relationship Id="rId12" Type="http://schemas.openxmlformats.org/officeDocument/2006/relationships/image" Target="../media/image91.png"/><Relationship Id="rId17" Type="http://schemas.openxmlformats.org/officeDocument/2006/relationships/image" Target="../media/image96.png"/><Relationship Id="rId2" Type="http://schemas.openxmlformats.org/officeDocument/2006/relationships/image" Target="../media/image81.png"/><Relationship Id="rId16" Type="http://schemas.openxmlformats.org/officeDocument/2006/relationships/image" Target="../media/image95.jpg"/><Relationship Id="rId20" Type="http://schemas.openxmlformats.org/officeDocument/2006/relationships/image" Target="../media/image99.jpg"/><Relationship Id="rId1" Type="http://schemas.openxmlformats.org/officeDocument/2006/relationships/slideLayout" Target="../slideLayouts/slideLayout62.xml"/><Relationship Id="rId6" Type="http://schemas.openxmlformats.org/officeDocument/2006/relationships/image" Target="../media/image85.svg"/><Relationship Id="rId11" Type="http://schemas.openxmlformats.org/officeDocument/2006/relationships/image" Target="../media/image90.png"/><Relationship Id="rId5" Type="http://schemas.openxmlformats.org/officeDocument/2006/relationships/image" Target="../media/image84.png"/><Relationship Id="rId15" Type="http://schemas.openxmlformats.org/officeDocument/2006/relationships/image" Target="../media/image94.svg"/><Relationship Id="rId10" Type="http://schemas.openxmlformats.org/officeDocument/2006/relationships/image" Target="../media/image89.emf"/><Relationship Id="rId19" Type="http://schemas.openxmlformats.org/officeDocument/2006/relationships/image" Target="../media/image98.png"/><Relationship Id="rId4" Type="http://schemas.openxmlformats.org/officeDocument/2006/relationships/image" Target="../media/image83.png"/><Relationship Id="rId9" Type="http://schemas.openxmlformats.org/officeDocument/2006/relationships/image" Target="../media/image88.png"/><Relationship Id="rId14" Type="http://schemas.openxmlformats.org/officeDocument/2006/relationships/image" Target="../media/image93.png"/></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hyperlink" Target="https://www.youtube.com/watch?v=J3J-dok_xzM&amp;t=51s" TargetMode="External"/><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18" Type="http://schemas.openxmlformats.org/officeDocument/2006/relationships/image" Target="../media/image36.png"/><Relationship Id="rId26" Type="http://schemas.openxmlformats.org/officeDocument/2006/relationships/image" Target="../media/image44.png"/><Relationship Id="rId3" Type="http://schemas.openxmlformats.org/officeDocument/2006/relationships/image" Target="../media/image21.png"/><Relationship Id="rId21" Type="http://schemas.openxmlformats.org/officeDocument/2006/relationships/image" Target="../media/image39.jpeg"/><Relationship Id="rId7" Type="http://schemas.openxmlformats.org/officeDocument/2006/relationships/image" Target="../media/image25.jpeg"/><Relationship Id="rId12" Type="http://schemas.openxmlformats.org/officeDocument/2006/relationships/image" Target="../media/image30.png"/><Relationship Id="rId17" Type="http://schemas.openxmlformats.org/officeDocument/2006/relationships/image" Target="../media/image35.png"/><Relationship Id="rId25" Type="http://schemas.openxmlformats.org/officeDocument/2006/relationships/image" Target="../media/image43.png"/><Relationship Id="rId2" Type="http://schemas.openxmlformats.org/officeDocument/2006/relationships/image" Target="../media/image17.png"/><Relationship Id="rId16" Type="http://schemas.openxmlformats.org/officeDocument/2006/relationships/image" Target="../media/image34.png"/><Relationship Id="rId20" Type="http://schemas.openxmlformats.org/officeDocument/2006/relationships/image" Target="../media/image38.png"/><Relationship Id="rId1" Type="http://schemas.openxmlformats.org/officeDocument/2006/relationships/slideLayout" Target="../slideLayouts/slideLayout4.xml"/><Relationship Id="rId6" Type="http://schemas.openxmlformats.org/officeDocument/2006/relationships/image" Target="../media/image24.jpeg"/><Relationship Id="rId11" Type="http://schemas.openxmlformats.org/officeDocument/2006/relationships/image" Target="../media/image29.png"/><Relationship Id="rId24" Type="http://schemas.openxmlformats.org/officeDocument/2006/relationships/image" Target="../media/image42.jpeg"/><Relationship Id="rId5" Type="http://schemas.openxmlformats.org/officeDocument/2006/relationships/image" Target="../media/image23.png"/><Relationship Id="rId15" Type="http://schemas.openxmlformats.org/officeDocument/2006/relationships/image" Target="../media/image33.png"/><Relationship Id="rId23" Type="http://schemas.openxmlformats.org/officeDocument/2006/relationships/image" Target="../media/image41.png"/><Relationship Id="rId10" Type="http://schemas.openxmlformats.org/officeDocument/2006/relationships/image" Target="../media/image28.svg"/><Relationship Id="rId19" Type="http://schemas.openxmlformats.org/officeDocument/2006/relationships/image" Target="../media/image37.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jpeg"/><Relationship Id="rId22"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B5E4D85-7602-45A4-6D6C-F4B12E4A1E4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14262" y="1742826"/>
            <a:ext cx="5763477" cy="3372349"/>
          </a:xfrm>
          <a:prstGeom prst="rect">
            <a:avLst/>
          </a:prstGeom>
        </p:spPr>
      </p:pic>
      <p:sp>
        <p:nvSpPr>
          <p:cNvPr id="2" name="Rectangle 1">
            <a:extLst>
              <a:ext uri="{FF2B5EF4-FFF2-40B4-BE49-F238E27FC236}">
                <a16:creationId xmlns:a16="http://schemas.microsoft.com/office/drawing/2014/main" id="{26359DD2-52BC-2F4A-6D9D-AD636C642BD6}"/>
              </a:ext>
            </a:extLst>
          </p:cNvPr>
          <p:cNvSpPr/>
          <p:nvPr/>
        </p:nvSpPr>
        <p:spPr>
          <a:xfrm>
            <a:off x="10544175" y="5695950"/>
            <a:ext cx="895350" cy="1143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1017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5A4F3BA-CFCC-41BB-9188-49988530431B}"/>
              </a:ext>
            </a:extLst>
          </p:cNvPr>
          <p:cNvSpPr>
            <a:spLocks noGrp="1"/>
          </p:cNvSpPr>
          <p:nvPr>
            <p:ph type="body" idx="1"/>
          </p:nvPr>
        </p:nvSpPr>
        <p:spPr>
          <a:xfrm>
            <a:off x="735724" y="2298357"/>
            <a:ext cx="4351283" cy="1875324"/>
          </a:xfrm>
        </p:spPr>
        <p:txBody>
          <a:bodyPr>
            <a:normAutofit/>
          </a:bodyPr>
          <a:lstStyle/>
          <a:p>
            <a:r>
              <a:rPr lang="en-US" dirty="0"/>
              <a:t>Area-wide Sanitation – why, what and how?</a:t>
            </a:r>
          </a:p>
        </p:txBody>
      </p:sp>
      <p:pic>
        <p:nvPicPr>
          <p:cNvPr id="9" name="Content Placeholder 6">
            <a:extLst>
              <a:ext uri="{FF2B5EF4-FFF2-40B4-BE49-F238E27FC236}">
                <a16:creationId xmlns:a16="http://schemas.microsoft.com/office/drawing/2014/main" id="{36AEA526-A0E1-4C63-9719-9281FCFB343A}"/>
              </a:ext>
            </a:extLst>
          </p:cNvPr>
          <p:cNvPicPr>
            <a:picLocks/>
          </p:cNvPicPr>
          <p:nvPr/>
        </p:nvPicPr>
        <p:blipFill>
          <a:blip r:embed="rId3"/>
          <a:stretch>
            <a:fillRect/>
          </a:stretch>
        </p:blipFill>
        <p:spPr>
          <a:xfrm>
            <a:off x="468367" y="5926198"/>
            <a:ext cx="1709930" cy="665163"/>
          </a:xfrm>
          <a:prstGeom prst="rect">
            <a:avLst/>
          </a:prstGeom>
        </p:spPr>
      </p:pic>
      <p:pic>
        <p:nvPicPr>
          <p:cNvPr id="12" name="Picture 11" descr="A picture containing text&#10;&#10;Description automatically generated">
            <a:extLst>
              <a:ext uri="{FF2B5EF4-FFF2-40B4-BE49-F238E27FC236}">
                <a16:creationId xmlns:a16="http://schemas.microsoft.com/office/drawing/2014/main" id="{4A0A53C0-F7B5-46F5-A475-FE94759CC433}"/>
              </a:ext>
            </a:extLst>
          </p:cNvPr>
          <p:cNvPicPr>
            <a:picLocks noChangeAspect="1"/>
          </p:cNvPicPr>
          <p:nvPr/>
        </p:nvPicPr>
        <p:blipFill rotWithShape="1">
          <a:blip r:embed="rId4">
            <a:extLst>
              <a:ext uri="{28A0092B-C50C-407E-A947-70E740481C1C}">
                <a14:useLocalDpi xmlns:a14="http://schemas.microsoft.com/office/drawing/2010/main" val="0"/>
              </a:ext>
            </a:extLst>
          </a:blip>
          <a:srcRect l="839" t="684" r="1266" b="901"/>
          <a:stretch/>
        </p:blipFill>
        <p:spPr>
          <a:xfrm>
            <a:off x="6363324" y="385997"/>
            <a:ext cx="4736893" cy="6086006"/>
          </a:xfrm>
          <a:prstGeom prst="rect">
            <a:avLst/>
          </a:prstGeom>
        </p:spPr>
      </p:pic>
      <p:sp>
        <p:nvSpPr>
          <p:cNvPr id="5" name="Footer Placeholder 2">
            <a:extLst>
              <a:ext uri="{FF2B5EF4-FFF2-40B4-BE49-F238E27FC236}">
                <a16:creationId xmlns:a16="http://schemas.microsoft.com/office/drawing/2014/main" id="{DD896F7A-6719-40CB-A751-A565AFC973DA}"/>
              </a:ext>
            </a:extLst>
          </p:cNvPr>
          <p:cNvSpPr>
            <a:spLocks noGrp="1"/>
          </p:cNvSpPr>
          <p:nvPr>
            <p:ph type="ftr" sz="quarter" idx="3"/>
          </p:nvPr>
        </p:nvSpPr>
        <p:spPr>
          <a:xfrm>
            <a:off x="735724" y="5319824"/>
            <a:ext cx="4929352" cy="365125"/>
          </a:xfrm>
        </p:spPr>
        <p:txBody>
          <a:bodyPr/>
          <a:lstStyle/>
          <a:p>
            <a:r>
              <a:rPr lang="en-GB" sz="1600" dirty="0"/>
              <a:t>Carolien van der Voorden, </a:t>
            </a:r>
            <a:r>
              <a:rPr lang="en-GB" sz="1600" dirty="0" err="1"/>
              <a:t>WASHPaLS</a:t>
            </a:r>
            <a:r>
              <a:rPr lang="en-GB" sz="1600" dirty="0"/>
              <a:t> #2</a:t>
            </a:r>
          </a:p>
        </p:txBody>
      </p:sp>
    </p:spTree>
    <p:extLst>
      <p:ext uri="{BB962C8B-B14F-4D97-AF65-F5344CB8AC3E}">
        <p14:creationId xmlns:p14="http://schemas.microsoft.com/office/powerpoint/2010/main" val="2326853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1D18B427-F5EC-53CC-5254-D0105C9CE9FC}"/>
              </a:ext>
            </a:extLst>
          </p:cNvPr>
          <p:cNvSpPr>
            <a:spLocks noGrp="1"/>
          </p:cNvSpPr>
          <p:nvPr>
            <p:ph type="title"/>
          </p:nvPr>
        </p:nvSpPr>
        <p:spPr/>
        <p:txBody>
          <a:bodyPr>
            <a:normAutofit fontScale="90000"/>
          </a:bodyPr>
          <a:lstStyle/>
          <a:p>
            <a:pPr>
              <a:spcBef>
                <a:spcPts val="0"/>
              </a:spcBef>
              <a:buSzPts val="2800"/>
            </a:pPr>
            <a:r>
              <a:rPr lang="en-US" dirty="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0"/>
                  </a:ext>
                </a:extLst>
              </a:rPr>
              <a:t>USAID Water</a:t>
            </a:r>
            <a:r>
              <a:rPr lang="en-US" dirty="0"/>
              <a:t>, Sanitation, and Hygiene Partnerships and Learning for Sustainability (</a:t>
            </a:r>
            <a:r>
              <a:rPr lang="en-US" dirty="0" err="1"/>
              <a:t>WASHPaLS</a:t>
            </a:r>
            <a:r>
              <a:rPr lang="en-US" dirty="0"/>
              <a:t>) #2</a:t>
            </a:r>
            <a:endParaRPr lang="en-GB" dirty="0"/>
          </a:p>
        </p:txBody>
      </p:sp>
      <p:pic>
        <p:nvPicPr>
          <p:cNvPr id="5" name="Google Shape;773;g1563c0fe628_0_7">
            <a:extLst>
              <a:ext uri="{FF2B5EF4-FFF2-40B4-BE49-F238E27FC236}">
                <a16:creationId xmlns:a16="http://schemas.microsoft.com/office/drawing/2014/main" id="{05E32A94-FBA7-4914-93EB-006ED4F0C6B9}"/>
              </a:ext>
            </a:extLst>
          </p:cNvPr>
          <p:cNvPicPr preferRelativeResize="0"/>
          <p:nvPr/>
        </p:nvPicPr>
        <p:blipFill rotWithShape="1">
          <a:blip r:embed="rId2">
            <a:alphaModFix/>
          </a:blip>
          <a:srcRect/>
          <a:stretch/>
        </p:blipFill>
        <p:spPr>
          <a:xfrm>
            <a:off x="7707967" y="3222054"/>
            <a:ext cx="2351533" cy="691499"/>
          </a:xfrm>
          <a:prstGeom prst="rect">
            <a:avLst/>
          </a:prstGeom>
          <a:noFill/>
          <a:ln>
            <a:noFill/>
          </a:ln>
        </p:spPr>
      </p:pic>
      <p:pic>
        <p:nvPicPr>
          <p:cNvPr id="6" name="Google Shape;774;g1563c0fe628_0_7">
            <a:extLst>
              <a:ext uri="{FF2B5EF4-FFF2-40B4-BE49-F238E27FC236}">
                <a16:creationId xmlns:a16="http://schemas.microsoft.com/office/drawing/2014/main" id="{B16CD449-00B7-45D9-ADDE-835E60D24B59}"/>
              </a:ext>
            </a:extLst>
          </p:cNvPr>
          <p:cNvPicPr preferRelativeResize="0"/>
          <p:nvPr/>
        </p:nvPicPr>
        <p:blipFill rotWithShape="1">
          <a:blip r:embed="rId3">
            <a:alphaModFix/>
          </a:blip>
          <a:srcRect/>
          <a:stretch/>
        </p:blipFill>
        <p:spPr>
          <a:xfrm>
            <a:off x="6789839" y="4072897"/>
            <a:ext cx="1486729" cy="611112"/>
          </a:xfrm>
          <a:prstGeom prst="rect">
            <a:avLst/>
          </a:prstGeom>
          <a:noFill/>
          <a:ln>
            <a:noFill/>
          </a:ln>
        </p:spPr>
      </p:pic>
      <p:pic>
        <p:nvPicPr>
          <p:cNvPr id="7" name="Google Shape;775;g1563c0fe628_0_7">
            <a:extLst>
              <a:ext uri="{FF2B5EF4-FFF2-40B4-BE49-F238E27FC236}">
                <a16:creationId xmlns:a16="http://schemas.microsoft.com/office/drawing/2014/main" id="{B720704D-4301-41B2-BB46-246FF3BCBB9C}"/>
              </a:ext>
            </a:extLst>
          </p:cNvPr>
          <p:cNvPicPr preferRelativeResize="0"/>
          <p:nvPr/>
        </p:nvPicPr>
        <p:blipFill rotWithShape="1">
          <a:blip r:embed="rId4">
            <a:alphaModFix/>
          </a:blip>
          <a:srcRect/>
          <a:stretch/>
        </p:blipFill>
        <p:spPr>
          <a:xfrm>
            <a:off x="9113591" y="2106765"/>
            <a:ext cx="2166577" cy="474504"/>
          </a:xfrm>
          <a:prstGeom prst="rect">
            <a:avLst/>
          </a:prstGeom>
          <a:noFill/>
          <a:ln>
            <a:noFill/>
          </a:ln>
        </p:spPr>
      </p:pic>
      <p:pic>
        <p:nvPicPr>
          <p:cNvPr id="8" name="Google Shape;776;g1563c0fe628_0_7">
            <a:extLst>
              <a:ext uri="{FF2B5EF4-FFF2-40B4-BE49-F238E27FC236}">
                <a16:creationId xmlns:a16="http://schemas.microsoft.com/office/drawing/2014/main" id="{30D654DF-B159-4A18-B00A-CBAA5639BD14}"/>
              </a:ext>
            </a:extLst>
          </p:cNvPr>
          <p:cNvPicPr preferRelativeResize="0"/>
          <p:nvPr/>
        </p:nvPicPr>
        <p:blipFill rotWithShape="1">
          <a:blip r:embed="rId5">
            <a:alphaModFix/>
          </a:blip>
          <a:srcRect/>
          <a:stretch/>
        </p:blipFill>
        <p:spPr>
          <a:xfrm>
            <a:off x="6836828" y="2123522"/>
            <a:ext cx="1629654" cy="445829"/>
          </a:xfrm>
          <a:prstGeom prst="rect">
            <a:avLst/>
          </a:prstGeom>
          <a:noFill/>
          <a:ln>
            <a:noFill/>
          </a:ln>
        </p:spPr>
      </p:pic>
      <p:pic>
        <p:nvPicPr>
          <p:cNvPr id="11" name="Google Shape;778;g1563c0fe628_0_7">
            <a:extLst>
              <a:ext uri="{FF2B5EF4-FFF2-40B4-BE49-F238E27FC236}">
                <a16:creationId xmlns:a16="http://schemas.microsoft.com/office/drawing/2014/main" id="{1B68C74D-12E0-45B3-89A3-C90122E6A510}"/>
              </a:ext>
            </a:extLst>
          </p:cNvPr>
          <p:cNvPicPr preferRelativeResize="0"/>
          <p:nvPr/>
        </p:nvPicPr>
        <p:blipFill rotWithShape="1">
          <a:blip r:embed="rId6">
            <a:alphaModFix/>
          </a:blip>
          <a:srcRect/>
          <a:stretch/>
        </p:blipFill>
        <p:spPr>
          <a:xfrm>
            <a:off x="9041011" y="3897342"/>
            <a:ext cx="1963614" cy="794352"/>
          </a:xfrm>
          <a:prstGeom prst="rect">
            <a:avLst/>
          </a:prstGeom>
          <a:noFill/>
          <a:ln>
            <a:noFill/>
          </a:ln>
        </p:spPr>
      </p:pic>
      <p:sp>
        <p:nvSpPr>
          <p:cNvPr id="12" name="Google Shape;779;g1563c0fe628_0_7">
            <a:extLst>
              <a:ext uri="{FF2B5EF4-FFF2-40B4-BE49-F238E27FC236}">
                <a16:creationId xmlns:a16="http://schemas.microsoft.com/office/drawing/2014/main" id="{758A2DF6-4136-497C-92BC-7FE7F2AEBB19}"/>
              </a:ext>
            </a:extLst>
          </p:cNvPr>
          <p:cNvSpPr txBox="1"/>
          <p:nvPr/>
        </p:nvSpPr>
        <p:spPr>
          <a:xfrm>
            <a:off x="6789839" y="2510231"/>
            <a:ext cx="1719654" cy="323143"/>
          </a:xfrm>
          <a:prstGeom prst="rect">
            <a:avLst/>
          </a:prstGeom>
          <a:noFill/>
          <a:ln>
            <a:noFill/>
          </a:ln>
        </p:spPr>
        <p:txBody>
          <a:bodyPr spcFirstLastPara="1" wrap="square" lIns="68569" tIns="68569" rIns="68569" bIns="68569" anchor="t" anchorCtr="0">
            <a:spAutoFit/>
          </a:bodyPr>
          <a:lstStyle/>
          <a:p>
            <a:pPr algn="ctr">
              <a:buClr>
                <a:srgbClr val="000000"/>
              </a:buClr>
              <a:buSzPts val="1600"/>
            </a:pPr>
            <a:r>
              <a:rPr lang="en-US" sz="1200" dirty="0">
                <a:solidFill>
                  <a:schemeClr val="tx1">
                    <a:lumMod val="65000"/>
                    <a:lumOff val="35000"/>
                  </a:schemeClr>
                </a:solidFill>
                <a:latin typeface="Gill Sans MT" panose="020B0502020104020203" pitchFamily="34" charset="0"/>
                <a:ea typeface="Gill Sans"/>
                <a:cs typeface="Gill Sans"/>
                <a:sym typeface="Gill Sans"/>
              </a:rPr>
              <a:t>Area-wide sanitation</a:t>
            </a:r>
            <a:endParaRPr sz="1200" dirty="0">
              <a:solidFill>
                <a:schemeClr val="tx1">
                  <a:lumMod val="65000"/>
                  <a:lumOff val="35000"/>
                </a:schemeClr>
              </a:solidFill>
              <a:latin typeface="Gill Sans MT" panose="020B0502020104020203" pitchFamily="34" charset="0"/>
              <a:ea typeface="Gill Sans"/>
              <a:cs typeface="Gill Sans"/>
              <a:sym typeface="Gill Sans"/>
            </a:endParaRPr>
          </a:p>
        </p:txBody>
      </p:sp>
      <p:sp>
        <p:nvSpPr>
          <p:cNvPr id="13" name="Google Shape;780;g1563c0fe628_0_7">
            <a:extLst>
              <a:ext uri="{FF2B5EF4-FFF2-40B4-BE49-F238E27FC236}">
                <a16:creationId xmlns:a16="http://schemas.microsoft.com/office/drawing/2014/main" id="{AD824AE5-BCF9-4D3D-9D1D-D881929F7AAB}"/>
              </a:ext>
            </a:extLst>
          </p:cNvPr>
          <p:cNvSpPr txBox="1"/>
          <p:nvPr/>
        </p:nvSpPr>
        <p:spPr>
          <a:xfrm>
            <a:off x="9246820" y="2510231"/>
            <a:ext cx="1819813" cy="323143"/>
          </a:xfrm>
          <a:prstGeom prst="rect">
            <a:avLst/>
          </a:prstGeom>
          <a:noFill/>
          <a:ln>
            <a:noFill/>
          </a:ln>
        </p:spPr>
        <p:txBody>
          <a:bodyPr spcFirstLastPara="1" wrap="square" lIns="68569" tIns="68569" rIns="68569" bIns="68569" anchor="t" anchorCtr="0">
            <a:spAutoFit/>
          </a:bodyPr>
          <a:lstStyle/>
          <a:p>
            <a:pPr algn="ctr">
              <a:buClr>
                <a:schemeClr val="dk1"/>
              </a:buClr>
              <a:buSzPts val="1100"/>
            </a:pPr>
            <a:r>
              <a:rPr lang="en-US" sz="1200" dirty="0">
                <a:solidFill>
                  <a:schemeClr val="tx1">
                    <a:lumMod val="65000"/>
                    <a:lumOff val="35000"/>
                  </a:schemeClr>
                </a:solidFill>
                <a:latin typeface="Gill Sans MT" panose="020B0502020104020203" pitchFamily="34" charset="0"/>
                <a:ea typeface="Gill Sans"/>
                <a:cs typeface="Gill Sans"/>
                <a:sym typeface="Gill Sans"/>
              </a:rPr>
              <a:t>Market-based sanitation</a:t>
            </a:r>
            <a:endParaRPr sz="1200" dirty="0">
              <a:solidFill>
                <a:schemeClr val="tx1">
                  <a:lumMod val="65000"/>
                  <a:lumOff val="35000"/>
                </a:schemeClr>
              </a:solidFill>
              <a:latin typeface="Gill Sans MT" panose="020B0502020104020203" pitchFamily="34" charset="0"/>
              <a:ea typeface="Gill Sans"/>
              <a:cs typeface="Gill Sans"/>
              <a:sym typeface="Gill Sans"/>
            </a:endParaRPr>
          </a:p>
        </p:txBody>
      </p:sp>
      <p:sp>
        <p:nvSpPr>
          <p:cNvPr id="14" name="Google Shape;781;g1563c0fe628_0_7">
            <a:extLst>
              <a:ext uri="{FF2B5EF4-FFF2-40B4-BE49-F238E27FC236}">
                <a16:creationId xmlns:a16="http://schemas.microsoft.com/office/drawing/2014/main" id="{5C709D5B-7522-47DE-BB93-93FAB2565C52}"/>
              </a:ext>
            </a:extLst>
          </p:cNvPr>
          <p:cNvSpPr txBox="1"/>
          <p:nvPr/>
        </p:nvSpPr>
        <p:spPr>
          <a:xfrm>
            <a:off x="6746828" y="4711632"/>
            <a:ext cx="1719654" cy="323143"/>
          </a:xfrm>
          <a:prstGeom prst="rect">
            <a:avLst/>
          </a:prstGeom>
          <a:noFill/>
          <a:ln>
            <a:noFill/>
          </a:ln>
        </p:spPr>
        <p:txBody>
          <a:bodyPr spcFirstLastPara="1" wrap="square" lIns="68569" tIns="68569" rIns="68569" bIns="68569" anchor="t" anchorCtr="0">
            <a:spAutoFit/>
          </a:bodyPr>
          <a:lstStyle/>
          <a:p>
            <a:pPr algn="ctr">
              <a:buClr>
                <a:schemeClr val="dk1"/>
              </a:buClr>
              <a:buSzPts val="1100"/>
            </a:pPr>
            <a:r>
              <a:rPr lang="en-US" sz="1200" dirty="0">
                <a:solidFill>
                  <a:schemeClr val="tx1">
                    <a:lumMod val="65000"/>
                    <a:lumOff val="35000"/>
                  </a:schemeClr>
                </a:solidFill>
                <a:latin typeface="Gill Sans MT" panose="020B0502020104020203" pitchFamily="34" charset="0"/>
                <a:ea typeface="Gill Sans"/>
                <a:cs typeface="Gill Sans"/>
                <a:sym typeface="Gill Sans"/>
              </a:rPr>
              <a:t>Social behavior change</a:t>
            </a:r>
            <a:endParaRPr sz="1050" dirty="0">
              <a:solidFill>
                <a:schemeClr val="tx1">
                  <a:lumMod val="65000"/>
                  <a:lumOff val="35000"/>
                </a:schemeClr>
              </a:solidFill>
              <a:latin typeface="Gill Sans MT" panose="020B0502020104020203" pitchFamily="34" charset="0"/>
              <a:ea typeface="Gill Sans"/>
              <a:cs typeface="Gill Sans"/>
              <a:sym typeface="Gill Sans"/>
            </a:endParaRPr>
          </a:p>
        </p:txBody>
      </p:sp>
      <p:sp>
        <p:nvSpPr>
          <p:cNvPr id="15" name="Google Shape;782;g1563c0fe628_0_7">
            <a:extLst>
              <a:ext uri="{FF2B5EF4-FFF2-40B4-BE49-F238E27FC236}">
                <a16:creationId xmlns:a16="http://schemas.microsoft.com/office/drawing/2014/main" id="{B9CADE6D-2D7A-4019-8266-038047570DC5}"/>
              </a:ext>
            </a:extLst>
          </p:cNvPr>
          <p:cNvSpPr txBox="1"/>
          <p:nvPr/>
        </p:nvSpPr>
        <p:spPr>
          <a:xfrm>
            <a:off x="9041011" y="4711632"/>
            <a:ext cx="2166577" cy="507809"/>
          </a:xfrm>
          <a:prstGeom prst="rect">
            <a:avLst/>
          </a:prstGeom>
          <a:noFill/>
          <a:ln>
            <a:noFill/>
          </a:ln>
        </p:spPr>
        <p:txBody>
          <a:bodyPr spcFirstLastPara="1" wrap="square" lIns="68569" tIns="68569" rIns="68569" bIns="68569" anchor="t" anchorCtr="0">
            <a:spAutoFit/>
          </a:bodyPr>
          <a:lstStyle/>
          <a:p>
            <a:pPr algn="ctr">
              <a:buClr>
                <a:schemeClr val="dk1"/>
              </a:buClr>
              <a:buSzPts val="1100"/>
            </a:pPr>
            <a:r>
              <a:rPr lang="en-US" sz="1200" dirty="0">
                <a:solidFill>
                  <a:schemeClr val="tx1">
                    <a:lumMod val="65000"/>
                    <a:lumOff val="35000"/>
                  </a:schemeClr>
                </a:solidFill>
                <a:latin typeface="Gill Sans MT" panose="020B0502020104020203" pitchFamily="34" charset="0"/>
                <a:ea typeface="Gill Sans"/>
                <a:cs typeface="Gill Sans"/>
                <a:sym typeface="Gill Sans"/>
              </a:rPr>
              <a:t>Gender Equality and Social Inclusion</a:t>
            </a:r>
            <a:endParaRPr sz="1050" dirty="0">
              <a:solidFill>
                <a:schemeClr val="tx1">
                  <a:lumMod val="65000"/>
                  <a:lumOff val="35000"/>
                </a:schemeClr>
              </a:solidFill>
              <a:latin typeface="Gill Sans MT" panose="020B0502020104020203" pitchFamily="34" charset="0"/>
              <a:ea typeface="Gill Sans"/>
              <a:cs typeface="Gill Sans"/>
              <a:sym typeface="Gill Sans"/>
            </a:endParaRPr>
          </a:p>
        </p:txBody>
      </p:sp>
      <p:sp>
        <p:nvSpPr>
          <p:cNvPr id="25" name="Google Shape;777;g1563c0fe628_0_7">
            <a:extLst>
              <a:ext uri="{FF2B5EF4-FFF2-40B4-BE49-F238E27FC236}">
                <a16:creationId xmlns:a16="http://schemas.microsoft.com/office/drawing/2014/main" id="{DF2C0F4B-0C7B-410F-B859-E8A2FBAB4AE7}"/>
              </a:ext>
            </a:extLst>
          </p:cNvPr>
          <p:cNvSpPr/>
          <p:nvPr/>
        </p:nvSpPr>
        <p:spPr>
          <a:xfrm rot="5400000">
            <a:off x="4412633" y="3348007"/>
            <a:ext cx="3395039" cy="436900"/>
          </a:xfrm>
          <a:prstGeom prst="triangle">
            <a:avLst>
              <a:gd name="adj" fmla="val 50000"/>
            </a:avLst>
          </a:prstGeom>
          <a:solidFill>
            <a:schemeClr val="accent5">
              <a:lumMod val="20000"/>
              <a:lumOff val="80000"/>
            </a:schemeClr>
          </a:solidFill>
          <a:ln>
            <a:noFill/>
          </a:ln>
        </p:spPr>
        <p:txBody>
          <a:bodyPr spcFirstLastPara="1" wrap="square" lIns="68569" tIns="68569" rIns="68569" bIns="68569" anchor="ctr" anchorCtr="0">
            <a:noAutofit/>
          </a:bodyPr>
          <a:lstStyle/>
          <a:p>
            <a:pPr>
              <a:buClr>
                <a:srgbClr val="000000"/>
              </a:buClr>
              <a:buSzPts val="1400"/>
            </a:pPr>
            <a:endParaRPr sz="1050" dirty="0">
              <a:solidFill>
                <a:srgbClr val="000000"/>
              </a:solidFill>
              <a:latin typeface="Arial"/>
              <a:ea typeface="Arial"/>
              <a:cs typeface="Arial"/>
              <a:sym typeface="Arial"/>
            </a:endParaRPr>
          </a:p>
        </p:txBody>
      </p:sp>
      <p:pic>
        <p:nvPicPr>
          <p:cNvPr id="27" name="Content Placeholder 6">
            <a:extLst>
              <a:ext uri="{FF2B5EF4-FFF2-40B4-BE49-F238E27FC236}">
                <a16:creationId xmlns:a16="http://schemas.microsoft.com/office/drawing/2014/main" id="{85273AC6-2AC4-4952-85E9-41455400DAC1}"/>
              </a:ext>
            </a:extLst>
          </p:cNvPr>
          <p:cNvPicPr>
            <a:picLocks noGrp="1"/>
          </p:cNvPicPr>
          <p:nvPr>
            <p:ph sz="quarter" idx="11"/>
          </p:nvPr>
        </p:nvPicPr>
        <p:blipFill>
          <a:blip r:embed="rId7"/>
          <a:stretch>
            <a:fillRect/>
          </a:stretch>
        </p:blipFill>
        <p:spPr>
          <a:xfrm>
            <a:off x="468367" y="5926198"/>
            <a:ext cx="1709930" cy="665163"/>
          </a:xfrm>
          <a:prstGeom prst="rect">
            <a:avLst/>
          </a:prstGeom>
        </p:spPr>
      </p:pic>
      <p:sp>
        <p:nvSpPr>
          <p:cNvPr id="4" name="Content Placeholder 9">
            <a:extLst>
              <a:ext uri="{FF2B5EF4-FFF2-40B4-BE49-F238E27FC236}">
                <a16:creationId xmlns:a16="http://schemas.microsoft.com/office/drawing/2014/main" id="{A0506B98-78E8-FB55-0C66-5A6807DB9E3C}"/>
              </a:ext>
            </a:extLst>
          </p:cNvPr>
          <p:cNvSpPr txBox="1">
            <a:spLocks/>
          </p:cNvSpPr>
          <p:nvPr/>
        </p:nvSpPr>
        <p:spPr>
          <a:xfrm>
            <a:off x="803275" y="2097088"/>
            <a:ext cx="4994052" cy="3772535"/>
          </a:xfrm>
          <a:prstGeom prst="rect">
            <a:avLst/>
          </a:prstGeom>
        </p:spPr>
        <p:txBody>
          <a:bodyPr vert="horz" lIns="91440" tIns="45720" rIns="91440" bIns="45720" rtlCol="0">
            <a:normAutofit fontScale="85000" lnSpcReduction="10000"/>
          </a:bodyPr>
          <a:lstStyle>
            <a:lvl1pPr marL="0" indent="0" algn="l" defTabSz="914400" rtl="0" eaLnBrk="1" latinLnBrk="0" hangingPunct="1">
              <a:lnSpc>
                <a:spcPct val="90000"/>
              </a:lnSpc>
              <a:spcBef>
                <a:spcPts val="1000"/>
              </a:spcBef>
              <a:buFontTx/>
              <a:buNone/>
              <a:defRPr sz="2200" b="0" kern="1200">
                <a:solidFill>
                  <a:schemeClr val="tx1"/>
                </a:solidFill>
                <a:latin typeface="Quicksand" pitchFamily="2" charset="0"/>
                <a:ea typeface="+mn-ea"/>
                <a:cs typeface="+mn-cs"/>
              </a:defRPr>
            </a:lvl1pPr>
            <a:lvl2pPr marL="182563" indent="-182563"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tx1"/>
                </a:solidFill>
                <a:latin typeface="Quicksand" pitchFamily="2" charset="0"/>
                <a:ea typeface="+mn-ea"/>
                <a:cs typeface="+mn-cs"/>
              </a:defRPr>
            </a:lvl2pPr>
            <a:lvl3pPr marL="684000" indent="-182563" algn="l" defTabSz="914400" rtl="0" eaLnBrk="1" latinLnBrk="0" hangingPunct="1">
              <a:lnSpc>
                <a:spcPct val="90000"/>
              </a:lnSpc>
              <a:spcBef>
                <a:spcPts val="500"/>
              </a:spcBef>
              <a:buClr>
                <a:schemeClr val="bg2"/>
              </a:buClr>
              <a:buFont typeface="System Font Regular"/>
              <a:buChar char="-"/>
              <a:defRPr sz="1800" kern="1200">
                <a:solidFill>
                  <a:schemeClr val="tx1"/>
                </a:solidFill>
                <a:latin typeface="Quicksand" pitchFamily="2" charset="0"/>
                <a:ea typeface="+mn-ea"/>
                <a:cs typeface="+mn-cs"/>
              </a:defRPr>
            </a:lvl3pPr>
            <a:lvl4pPr marL="1368000" indent="-182563" algn="l" defTabSz="914400" rtl="0" eaLnBrk="1" latinLnBrk="0" hangingPunct="1">
              <a:lnSpc>
                <a:spcPct val="90000"/>
              </a:lnSpc>
              <a:spcBef>
                <a:spcPts val="500"/>
              </a:spcBef>
              <a:buClr>
                <a:schemeClr val="bg2"/>
              </a:buClr>
              <a:buFont typeface="Arial" panose="020B0604020202020204" pitchFamily="34" charset="0"/>
              <a:buChar char="•"/>
              <a:defRPr sz="1600" kern="1200">
                <a:solidFill>
                  <a:schemeClr val="tx1"/>
                </a:solidFill>
                <a:latin typeface="Quicksand" pitchFamily="2" charset="0"/>
                <a:ea typeface="+mn-ea"/>
                <a:cs typeface="+mn-cs"/>
              </a:defRPr>
            </a:lvl4pPr>
            <a:lvl5pPr marL="2052000" indent="-182563" algn="l" defTabSz="914400" rtl="0" eaLnBrk="1" latinLnBrk="0" hangingPunct="1">
              <a:lnSpc>
                <a:spcPct val="90000"/>
              </a:lnSpc>
              <a:spcBef>
                <a:spcPts val="500"/>
              </a:spcBef>
              <a:buClr>
                <a:schemeClr val="bg2"/>
              </a:buClr>
              <a:buFont typeface="System Font Regular"/>
              <a:buChar char="-"/>
              <a:defRPr sz="1400" kern="1200">
                <a:solidFill>
                  <a:schemeClr val="tx1"/>
                </a:solidFill>
                <a:latin typeface="Quicksand"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7187" indent="-285750">
              <a:lnSpc>
                <a:spcPct val="110000"/>
              </a:lnSpc>
              <a:buClr>
                <a:schemeClr val="tx1">
                  <a:lumMod val="65000"/>
                  <a:lumOff val="35000"/>
                </a:schemeClr>
              </a:buClr>
              <a:buSzPts val="2100"/>
              <a:buFont typeface="Arial" panose="020B0604020202020204" pitchFamily="34" charset="0"/>
              <a:buChar char="•"/>
            </a:pPr>
            <a:r>
              <a:rPr lang="en-US" sz="2400" dirty="0" err="1">
                <a:solidFill>
                  <a:schemeClr val="accent3"/>
                </a:solidFill>
                <a:ea typeface="Gill Sans"/>
                <a:cs typeface="Gill Sans"/>
                <a:sym typeface="Gill Sans"/>
              </a:rPr>
              <a:t>WASHPaLS</a:t>
            </a:r>
            <a:r>
              <a:rPr lang="en-US" sz="2400" dirty="0">
                <a:solidFill>
                  <a:schemeClr val="accent3"/>
                </a:solidFill>
                <a:ea typeface="Gill Sans"/>
                <a:cs typeface="Gill Sans"/>
                <a:sym typeface="Gill Sans"/>
              </a:rPr>
              <a:t> #2 is a 5-year (2021-2026) project with the goal of improving WASH programs by ensuring quality, equity, sustainability, and scale of sanitation products and  services and adoption of sound hygienic practices, particularly in rural areas. </a:t>
            </a:r>
          </a:p>
          <a:p>
            <a:pPr marL="357187" indent="-285750">
              <a:lnSpc>
                <a:spcPct val="110000"/>
              </a:lnSpc>
              <a:buClr>
                <a:schemeClr val="tx1">
                  <a:lumMod val="65000"/>
                  <a:lumOff val="35000"/>
                </a:schemeClr>
              </a:buClr>
              <a:buSzPts val="2100"/>
              <a:buFont typeface="Arial" panose="020B0604020202020204" pitchFamily="34" charset="0"/>
              <a:buChar char="•"/>
            </a:pPr>
            <a:r>
              <a:rPr lang="en-US" sz="2400" dirty="0">
                <a:solidFill>
                  <a:schemeClr val="accent3"/>
                </a:solidFill>
                <a:ea typeface="Gill Sans"/>
                <a:cs typeface="Gill Sans"/>
                <a:sym typeface="Gill Sans"/>
              </a:rPr>
              <a:t>Area-wide Sanitation is the overarching theme for </a:t>
            </a:r>
            <a:r>
              <a:rPr lang="en-US" sz="2400" dirty="0" err="1">
                <a:solidFill>
                  <a:schemeClr val="accent3"/>
                </a:solidFill>
                <a:ea typeface="Gill Sans"/>
                <a:cs typeface="Gill Sans"/>
                <a:sym typeface="Gill Sans"/>
              </a:rPr>
              <a:t>WASHPaLS</a:t>
            </a:r>
            <a:r>
              <a:rPr lang="en-US" sz="2400" dirty="0">
                <a:solidFill>
                  <a:schemeClr val="accent3"/>
                </a:solidFill>
                <a:ea typeface="Gill Sans"/>
                <a:cs typeface="Gill Sans"/>
                <a:sym typeface="Gill Sans"/>
              </a:rPr>
              <a:t> #2 Research and Learning</a:t>
            </a:r>
          </a:p>
        </p:txBody>
      </p:sp>
    </p:spTree>
    <p:extLst>
      <p:ext uri="{BB962C8B-B14F-4D97-AF65-F5344CB8AC3E}">
        <p14:creationId xmlns:p14="http://schemas.microsoft.com/office/powerpoint/2010/main" val="1090200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1D18B427-F5EC-53CC-5254-D0105C9CE9FC}"/>
              </a:ext>
            </a:extLst>
          </p:cNvPr>
          <p:cNvSpPr>
            <a:spLocks noGrp="1"/>
          </p:cNvSpPr>
          <p:nvPr>
            <p:ph type="title"/>
          </p:nvPr>
        </p:nvSpPr>
        <p:spPr/>
        <p:txBody>
          <a:bodyPr>
            <a:normAutofit/>
          </a:bodyPr>
          <a:lstStyle/>
          <a:p>
            <a:pPr>
              <a:spcBef>
                <a:spcPts val="0"/>
              </a:spcBef>
              <a:buSzPts val="2800"/>
            </a:pPr>
            <a:r>
              <a:rPr lang="en-US" dirty="0">
                <a:extLst>
                  <a:ext uri="http://customooxmlschemas.google.com/">
                    <go:slidesCustomData xmlns:lc="http://schemas.openxmlformats.org/drawingml/2006/lockedCanva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0"/>
                  </a:ext>
                </a:extLst>
              </a:rPr>
              <a:t>The goal</a:t>
            </a:r>
            <a:endParaRPr lang="en-GB" dirty="0"/>
          </a:p>
        </p:txBody>
      </p:sp>
      <p:sp>
        <p:nvSpPr>
          <p:cNvPr id="10" name="Content Placeholder 9">
            <a:extLst>
              <a:ext uri="{FF2B5EF4-FFF2-40B4-BE49-F238E27FC236}">
                <a16:creationId xmlns:a16="http://schemas.microsoft.com/office/drawing/2014/main" id="{93BC70BD-D587-E0A7-D787-5CB81963B284}"/>
              </a:ext>
            </a:extLst>
          </p:cNvPr>
          <p:cNvSpPr>
            <a:spLocks noGrp="1"/>
          </p:cNvSpPr>
          <p:nvPr>
            <p:ph idx="1"/>
          </p:nvPr>
        </p:nvSpPr>
        <p:spPr>
          <a:xfrm>
            <a:off x="751840" y="1825625"/>
            <a:ext cx="10586720" cy="3772535"/>
          </a:xfrm>
        </p:spPr>
        <p:txBody>
          <a:bodyPr>
            <a:normAutofit/>
          </a:bodyPr>
          <a:lstStyle/>
          <a:p>
            <a:pPr marL="444500" indent="-227013">
              <a:lnSpc>
                <a:spcPct val="100000"/>
              </a:lnSpc>
              <a:buClr>
                <a:schemeClr val="tx1">
                  <a:lumMod val="65000"/>
                  <a:lumOff val="35000"/>
                </a:schemeClr>
              </a:buClr>
              <a:buSzPts val="2100"/>
            </a:pPr>
            <a:r>
              <a:rPr lang="en-US" sz="2400" dirty="0">
                <a:latin typeface="Quicksand"/>
                <a:ea typeface="Gill Sans"/>
                <a:cs typeface="Gill Sans"/>
                <a:sym typeface="Gill Sans"/>
              </a:rPr>
              <a:t>	By 2030, achieve access to adequate and equitable sanitation and hygiene for all and end open defecation, paying special attention to the needs of women and girls and those in vulnerable situations:</a:t>
            </a:r>
          </a:p>
          <a:p>
            <a:pPr marL="630238" indent="-185738">
              <a:lnSpc>
                <a:spcPct val="100000"/>
              </a:lnSpc>
              <a:buClr>
                <a:schemeClr val="bg2"/>
              </a:buClr>
              <a:buSzPts val="2100"/>
              <a:buFont typeface="Arial" panose="020B0604020202020204" pitchFamily="34" charset="0"/>
              <a:buChar char="•"/>
              <a:tabLst>
                <a:tab pos="901700" algn="l"/>
              </a:tabLst>
            </a:pPr>
            <a:r>
              <a:rPr lang="en-US" sz="2400" i="1" dirty="0">
                <a:latin typeface="Quicksand"/>
                <a:ea typeface="Gill Sans"/>
                <a:cs typeface="Gill Sans"/>
                <a:sym typeface="Gill Sans"/>
              </a:rPr>
              <a:t>Elimination of open defecation </a:t>
            </a:r>
          </a:p>
          <a:p>
            <a:pPr marL="630238" indent="-185738">
              <a:lnSpc>
                <a:spcPct val="100000"/>
              </a:lnSpc>
              <a:buClr>
                <a:schemeClr val="bg2"/>
              </a:buClr>
              <a:buSzPts val="2100"/>
              <a:buFont typeface="Arial" panose="020B0604020202020204" pitchFamily="34" charset="0"/>
              <a:buChar char="•"/>
              <a:tabLst>
                <a:tab pos="901700" algn="l"/>
              </a:tabLst>
            </a:pPr>
            <a:r>
              <a:rPr lang="en-US" sz="2400" i="1" dirty="0">
                <a:latin typeface="Quicksand"/>
                <a:ea typeface="Gill Sans"/>
                <a:cs typeface="Gill Sans"/>
                <a:sym typeface="Gill Sans"/>
              </a:rPr>
              <a:t>Universal access to safely managed sanitation and hygiene</a:t>
            </a:r>
          </a:p>
          <a:p>
            <a:pPr marL="630238" indent="-185738">
              <a:lnSpc>
                <a:spcPct val="100000"/>
              </a:lnSpc>
              <a:buClr>
                <a:schemeClr val="bg2"/>
              </a:buClr>
              <a:buSzPts val="2100"/>
              <a:buFont typeface="Arial" panose="020B0604020202020204" pitchFamily="34" charset="0"/>
              <a:buChar char="•"/>
              <a:tabLst>
                <a:tab pos="901700" algn="l"/>
              </a:tabLst>
            </a:pPr>
            <a:r>
              <a:rPr lang="en-US" sz="2400" i="1" dirty="0">
                <a:latin typeface="Quicksand"/>
                <a:ea typeface="Gill Sans"/>
                <a:cs typeface="Gill Sans"/>
                <a:sym typeface="Gill Sans"/>
              </a:rPr>
              <a:t>Progressive reduction of inequalities among population sub-groups; reduced sanitation and hygiene burdens for women and girls</a:t>
            </a:r>
          </a:p>
        </p:txBody>
      </p:sp>
      <p:pic>
        <p:nvPicPr>
          <p:cNvPr id="27" name="Content Placeholder 6">
            <a:extLst>
              <a:ext uri="{FF2B5EF4-FFF2-40B4-BE49-F238E27FC236}">
                <a16:creationId xmlns:a16="http://schemas.microsoft.com/office/drawing/2014/main" id="{85273AC6-2AC4-4952-85E9-41455400DAC1}"/>
              </a:ext>
            </a:extLst>
          </p:cNvPr>
          <p:cNvPicPr>
            <a:picLocks noGrp="1"/>
          </p:cNvPicPr>
          <p:nvPr>
            <p:ph sz="quarter" idx="11"/>
          </p:nvPr>
        </p:nvPicPr>
        <p:blipFill>
          <a:blip r:embed="rId3"/>
          <a:stretch>
            <a:fillRect/>
          </a:stretch>
        </p:blipFill>
        <p:spPr>
          <a:xfrm>
            <a:off x="468367" y="5926198"/>
            <a:ext cx="1709930" cy="665163"/>
          </a:xfrm>
          <a:prstGeom prst="rect">
            <a:avLst/>
          </a:prstGeom>
        </p:spPr>
      </p:pic>
    </p:spTree>
    <p:extLst>
      <p:ext uri="{BB962C8B-B14F-4D97-AF65-F5344CB8AC3E}">
        <p14:creationId xmlns:p14="http://schemas.microsoft.com/office/powerpoint/2010/main" val="30694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1D18B427-F5EC-53CC-5254-D0105C9CE9FC}"/>
              </a:ext>
            </a:extLst>
          </p:cNvPr>
          <p:cNvSpPr>
            <a:spLocks noGrp="1"/>
          </p:cNvSpPr>
          <p:nvPr>
            <p:ph type="title"/>
          </p:nvPr>
        </p:nvSpPr>
        <p:spPr/>
        <p:txBody>
          <a:bodyPr>
            <a:normAutofit/>
          </a:bodyPr>
          <a:lstStyle/>
          <a:p>
            <a:pPr>
              <a:spcBef>
                <a:spcPts val="0"/>
              </a:spcBef>
              <a:buSzPts val="2800"/>
            </a:pPr>
            <a:r>
              <a:rPr lang="en-US" dirty="0">
                <a:extLst>
                  <a:ext uri="http://customooxmlschemas.google.com/">
                    <go:slidesCustomData xmlns:lc="http://schemas.openxmlformats.org/drawingml/2006/lockedCanva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0"/>
                  </a:ext>
                </a:extLst>
              </a:rPr>
              <a:t>The reality</a:t>
            </a:r>
            <a:endParaRPr lang="en-GB" dirty="0"/>
          </a:p>
        </p:txBody>
      </p:sp>
      <p:pic>
        <p:nvPicPr>
          <p:cNvPr id="2" name="Content Placeholder 1">
            <a:extLst>
              <a:ext uri="{FF2B5EF4-FFF2-40B4-BE49-F238E27FC236}">
                <a16:creationId xmlns:a16="http://schemas.microsoft.com/office/drawing/2014/main" id="{CE8C7158-AFB8-450C-8D84-CECE7BE4A743}"/>
              </a:ext>
            </a:extLst>
          </p:cNvPr>
          <p:cNvPicPr>
            <a:picLocks noGrp="1" noChangeAspect="1"/>
          </p:cNvPicPr>
          <p:nvPr>
            <p:ph idx="1"/>
          </p:nvPr>
        </p:nvPicPr>
        <p:blipFill>
          <a:blip r:embed="rId3"/>
          <a:stretch>
            <a:fillRect/>
          </a:stretch>
        </p:blipFill>
        <p:spPr>
          <a:xfrm>
            <a:off x="826053" y="1690688"/>
            <a:ext cx="4416886" cy="3771900"/>
          </a:xfrm>
          <a:prstGeom prst="rect">
            <a:avLst/>
          </a:prstGeom>
        </p:spPr>
      </p:pic>
      <p:pic>
        <p:nvPicPr>
          <p:cNvPr id="27" name="Content Placeholder 6">
            <a:extLst>
              <a:ext uri="{FF2B5EF4-FFF2-40B4-BE49-F238E27FC236}">
                <a16:creationId xmlns:a16="http://schemas.microsoft.com/office/drawing/2014/main" id="{85273AC6-2AC4-4952-85E9-41455400DAC1}"/>
              </a:ext>
            </a:extLst>
          </p:cNvPr>
          <p:cNvPicPr>
            <a:picLocks noGrp="1"/>
          </p:cNvPicPr>
          <p:nvPr>
            <p:ph sz="quarter" idx="11"/>
          </p:nvPr>
        </p:nvPicPr>
        <p:blipFill>
          <a:blip r:embed="rId4"/>
          <a:stretch>
            <a:fillRect/>
          </a:stretch>
        </p:blipFill>
        <p:spPr>
          <a:xfrm>
            <a:off x="468367" y="5926198"/>
            <a:ext cx="1709930" cy="665163"/>
          </a:xfrm>
          <a:prstGeom prst="rect">
            <a:avLst/>
          </a:prstGeom>
        </p:spPr>
      </p:pic>
      <p:sp>
        <p:nvSpPr>
          <p:cNvPr id="6" name="Content Placeholder 9">
            <a:extLst>
              <a:ext uri="{FF2B5EF4-FFF2-40B4-BE49-F238E27FC236}">
                <a16:creationId xmlns:a16="http://schemas.microsoft.com/office/drawing/2014/main" id="{6C45F99B-25C9-4B4C-8457-6A876C80523F}"/>
              </a:ext>
            </a:extLst>
          </p:cNvPr>
          <p:cNvSpPr txBox="1">
            <a:spLocks/>
          </p:cNvSpPr>
          <p:nvPr/>
        </p:nvSpPr>
        <p:spPr>
          <a:xfrm>
            <a:off x="5788550" y="1690689"/>
            <a:ext cx="5550010" cy="390747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Tx/>
              <a:buNone/>
              <a:defRPr sz="2200" b="0" kern="1200">
                <a:solidFill>
                  <a:schemeClr val="tx1"/>
                </a:solidFill>
                <a:latin typeface="Quicksand" pitchFamily="2" charset="0"/>
                <a:ea typeface="+mn-ea"/>
                <a:cs typeface="+mn-cs"/>
              </a:defRPr>
            </a:lvl1pPr>
            <a:lvl2pPr marL="182563" indent="-182563"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tx1"/>
                </a:solidFill>
                <a:latin typeface="Quicksand" pitchFamily="2" charset="0"/>
                <a:ea typeface="+mn-ea"/>
                <a:cs typeface="+mn-cs"/>
              </a:defRPr>
            </a:lvl2pPr>
            <a:lvl3pPr marL="684000" indent="-182563" algn="l" defTabSz="914400" rtl="0" eaLnBrk="1" latinLnBrk="0" hangingPunct="1">
              <a:lnSpc>
                <a:spcPct val="90000"/>
              </a:lnSpc>
              <a:spcBef>
                <a:spcPts val="500"/>
              </a:spcBef>
              <a:buClr>
                <a:schemeClr val="bg2"/>
              </a:buClr>
              <a:buFont typeface="System Font Regular"/>
              <a:buChar char="-"/>
              <a:defRPr sz="1800" kern="1200">
                <a:solidFill>
                  <a:schemeClr val="tx1"/>
                </a:solidFill>
                <a:latin typeface="Quicksand" pitchFamily="2" charset="0"/>
                <a:ea typeface="+mn-ea"/>
                <a:cs typeface="+mn-cs"/>
              </a:defRPr>
            </a:lvl3pPr>
            <a:lvl4pPr marL="1368000" indent="-182563" algn="l" defTabSz="914400" rtl="0" eaLnBrk="1" latinLnBrk="0" hangingPunct="1">
              <a:lnSpc>
                <a:spcPct val="90000"/>
              </a:lnSpc>
              <a:spcBef>
                <a:spcPts val="500"/>
              </a:spcBef>
              <a:buClr>
                <a:schemeClr val="bg2"/>
              </a:buClr>
              <a:buFont typeface="Arial" panose="020B0604020202020204" pitchFamily="34" charset="0"/>
              <a:buChar char="•"/>
              <a:defRPr sz="1600" kern="1200">
                <a:solidFill>
                  <a:schemeClr val="tx1"/>
                </a:solidFill>
                <a:latin typeface="Quicksand" pitchFamily="2" charset="0"/>
                <a:ea typeface="+mn-ea"/>
                <a:cs typeface="+mn-cs"/>
              </a:defRPr>
            </a:lvl4pPr>
            <a:lvl5pPr marL="2052000" indent="-182563" algn="l" defTabSz="914400" rtl="0" eaLnBrk="1" latinLnBrk="0" hangingPunct="1">
              <a:lnSpc>
                <a:spcPct val="90000"/>
              </a:lnSpc>
              <a:spcBef>
                <a:spcPts val="500"/>
              </a:spcBef>
              <a:buClr>
                <a:schemeClr val="bg2"/>
              </a:buClr>
              <a:buFont typeface="System Font Regular"/>
              <a:buChar char="-"/>
              <a:defRPr sz="1400" kern="1200">
                <a:solidFill>
                  <a:schemeClr val="tx1"/>
                </a:solidFill>
                <a:latin typeface="Quicksand"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1437">
              <a:lnSpc>
                <a:spcPct val="100000"/>
              </a:lnSpc>
              <a:buClr>
                <a:schemeClr val="tx1">
                  <a:lumMod val="65000"/>
                  <a:lumOff val="35000"/>
                </a:schemeClr>
              </a:buClr>
              <a:buSzPts val="2100"/>
            </a:pPr>
            <a:r>
              <a:rPr lang="en-US" sz="2400" dirty="0">
                <a:latin typeface="Quicksand"/>
                <a:ea typeface="Gill Sans"/>
                <a:cs typeface="Gill Sans"/>
                <a:sym typeface="Gill Sans"/>
              </a:rPr>
              <a:t>Progress has  been substantial, but many countries are off track to meet their Sustainable Development Goal (SDG) 6.2 targets. </a:t>
            </a:r>
            <a:endParaRPr lang="en-US" sz="2400" i="1" dirty="0">
              <a:latin typeface="Quicksand"/>
              <a:ea typeface="Gill Sans"/>
              <a:cs typeface="Gill Sans"/>
              <a:sym typeface="Gill Sans"/>
            </a:endParaRPr>
          </a:p>
          <a:p>
            <a:pPr marL="71437">
              <a:lnSpc>
                <a:spcPct val="100000"/>
              </a:lnSpc>
              <a:buClr>
                <a:schemeClr val="tx1">
                  <a:lumMod val="65000"/>
                  <a:lumOff val="35000"/>
                </a:schemeClr>
              </a:buClr>
              <a:buSzPts val="2100"/>
            </a:pPr>
            <a:r>
              <a:rPr lang="en-US" sz="2400" dirty="0">
                <a:latin typeface="Quicksand"/>
                <a:ea typeface="Gill Sans"/>
                <a:cs typeface="Gill Sans"/>
                <a:sym typeface="Gill Sans"/>
              </a:rPr>
              <a:t>A concerted effort is needed to broaden, combine, and strengthen existing approaches throughout the sector to accelerate progress. </a:t>
            </a:r>
          </a:p>
        </p:txBody>
      </p:sp>
    </p:spTree>
    <p:extLst>
      <p:ext uri="{BB962C8B-B14F-4D97-AF65-F5344CB8AC3E}">
        <p14:creationId xmlns:p14="http://schemas.microsoft.com/office/powerpoint/2010/main" val="1360267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1D18B427-F5EC-53CC-5254-D0105C9CE9FC}"/>
              </a:ext>
            </a:extLst>
          </p:cNvPr>
          <p:cNvSpPr>
            <a:spLocks noGrp="1"/>
          </p:cNvSpPr>
          <p:nvPr>
            <p:ph type="title"/>
          </p:nvPr>
        </p:nvSpPr>
        <p:spPr>
          <a:xfrm>
            <a:off x="754174" y="357629"/>
            <a:ext cx="10703150" cy="1325563"/>
          </a:xfrm>
        </p:spPr>
        <p:txBody>
          <a:bodyPr>
            <a:normAutofit/>
          </a:bodyPr>
          <a:lstStyle/>
          <a:p>
            <a:pPr>
              <a:spcBef>
                <a:spcPts val="0"/>
              </a:spcBef>
              <a:buSzPts val="2800"/>
            </a:pPr>
            <a:r>
              <a:rPr lang="en-US" dirty="0">
                <a:extLst>
                  <a:ext uri="http://customooxmlschemas.google.com/">
                    <go:slidesCustomData xmlns:lc="http://schemas.openxmlformats.org/drawingml/2006/lockedCanva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0"/>
                  </a:ext>
                </a:extLst>
              </a:rPr>
              <a:t>A response</a:t>
            </a:r>
            <a:endParaRPr lang="en-GB" dirty="0"/>
          </a:p>
        </p:txBody>
      </p:sp>
      <p:sp>
        <p:nvSpPr>
          <p:cNvPr id="10" name="Content Placeholder 9">
            <a:extLst>
              <a:ext uri="{FF2B5EF4-FFF2-40B4-BE49-F238E27FC236}">
                <a16:creationId xmlns:a16="http://schemas.microsoft.com/office/drawing/2014/main" id="{93BC70BD-D587-E0A7-D787-5CB81963B284}"/>
              </a:ext>
            </a:extLst>
          </p:cNvPr>
          <p:cNvSpPr>
            <a:spLocks noGrp="1"/>
          </p:cNvSpPr>
          <p:nvPr>
            <p:ph idx="1"/>
          </p:nvPr>
        </p:nvSpPr>
        <p:spPr>
          <a:xfrm>
            <a:off x="751841" y="1591245"/>
            <a:ext cx="10586720" cy="1792218"/>
          </a:xfrm>
        </p:spPr>
        <p:txBody>
          <a:bodyPr>
            <a:normAutofit/>
          </a:bodyPr>
          <a:lstStyle/>
          <a:p>
            <a:pPr marL="71437">
              <a:buClr>
                <a:schemeClr val="tx1">
                  <a:lumMod val="65000"/>
                  <a:lumOff val="35000"/>
                </a:schemeClr>
              </a:buClr>
              <a:buSzPts val="2100"/>
            </a:pPr>
            <a:r>
              <a:rPr lang="en-US" sz="2800" b="1" dirty="0">
                <a:latin typeface="Quicksand"/>
                <a:ea typeface="Gill Sans"/>
                <a:cs typeface="Gill Sans"/>
                <a:sym typeface="Gill Sans"/>
              </a:rPr>
              <a:t>Area-wide sanitation (AWS): </a:t>
            </a:r>
          </a:p>
          <a:p>
            <a:pPr marL="71437">
              <a:buClr>
                <a:schemeClr val="tx1">
                  <a:lumMod val="65000"/>
                  <a:lumOff val="35000"/>
                </a:schemeClr>
              </a:buClr>
              <a:buSzPts val="2100"/>
            </a:pPr>
            <a:r>
              <a:rPr lang="en-US" sz="2800" dirty="0">
                <a:latin typeface="Quicksand"/>
                <a:ea typeface="Gill Sans"/>
                <a:cs typeface="Gill Sans"/>
                <a:sym typeface="Gill Sans"/>
              </a:rPr>
              <a:t>A systems-based, outcome driven framework to achieve universal access and use of safely managed sanitation and hygiene in a given administrative area, such as a district </a:t>
            </a:r>
          </a:p>
          <a:p>
            <a:pPr marL="71437">
              <a:buClr>
                <a:schemeClr val="tx1">
                  <a:lumMod val="65000"/>
                  <a:lumOff val="35000"/>
                </a:schemeClr>
              </a:buClr>
              <a:buSzPts val="2100"/>
            </a:pPr>
            <a:endParaRPr lang="en-US" sz="2400" dirty="0">
              <a:latin typeface="Quicksand"/>
              <a:ea typeface="Gill Sans"/>
              <a:cs typeface="Gill Sans"/>
              <a:sym typeface="Gill Sans"/>
            </a:endParaRPr>
          </a:p>
        </p:txBody>
      </p:sp>
      <p:pic>
        <p:nvPicPr>
          <p:cNvPr id="27" name="Content Placeholder 6">
            <a:extLst>
              <a:ext uri="{FF2B5EF4-FFF2-40B4-BE49-F238E27FC236}">
                <a16:creationId xmlns:a16="http://schemas.microsoft.com/office/drawing/2014/main" id="{85273AC6-2AC4-4952-85E9-41455400DAC1}"/>
              </a:ext>
            </a:extLst>
          </p:cNvPr>
          <p:cNvPicPr>
            <a:picLocks noGrp="1"/>
          </p:cNvPicPr>
          <p:nvPr>
            <p:ph sz="quarter" idx="11"/>
          </p:nvPr>
        </p:nvPicPr>
        <p:blipFill>
          <a:blip r:embed="rId3"/>
          <a:stretch>
            <a:fillRect/>
          </a:stretch>
        </p:blipFill>
        <p:spPr>
          <a:xfrm>
            <a:off x="468367" y="5926198"/>
            <a:ext cx="1709930" cy="665163"/>
          </a:xfrm>
          <a:prstGeom prst="rect">
            <a:avLst/>
          </a:prstGeom>
        </p:spPr>
      </p:pic>
      <p:pic>
        <p:nvPicPr>
          <p:cNvPr id="6" name="Picture 5">
            <a:extLst>
              <a:ext uri="{FF2B5EF4-FFF2-40B4-BE49-F238E27FC236}">
                <a16:creationId xmlns:a16="http://schemas.microsoft.com/office/drawing/2014/main" id="{43590BE9-B7DF-415A-B58F-324725F40575}"/>
              </a:ext>
            </a:extLst>
          </p:cNvPr>
          <p:cNvPicPr>
            <a:picLocks noChangeAspect="1"/>
          </p:cNvPicPr>
          <p:nvPr/>
        </p:nvPicPr>
        <p:blipFill rotWithShape="1">
          <a:blip r:embed="rId4"/>
          <a:srcRect t="9808"/>
          <a:stretch/>
        </p:blipFill>
        <p:spPr>
          <a:xfrm>
            <a:off x="703146" y="4027915"/>
            <a:ext cx="4901565" cy="805055"/>
          </a:xfrm>
          <a:prstGeom prst="rect">
            <a:avLst/>
          </a:prstGeom>
        </p:spPr>
      </p:pic>
      <p:pic>
        <p:nvPicPr>
          <p:cNvPr id="7" name="Picture 6">
            <a:extLst>
              <a:ext uri="{FF2B5EF4-FFF2-40B4-BE49-F238E27FC236}">
                <a16:creationId xmlns:a16="http://schemas.microsoft.com/office/drawing/2014/main" id="{5AA9A4D6-A29C-4DBA-81F8-75D3945D519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968420" y="3773306"/>
            <a:ext cx="5519107" cy="1524791"/>
          </a:xfrm>
          <a:prstGeom prst="rect">
            <a:avLst/>
          </a:prstGeom>
        </p:spPr>
      </p:pic>
    </p:spTree>
    <p:extLst>
      <p:ext uri="{BB962C8B-B14F-4D97-AF65-F5344CB8AC3E}">
        <p14:creationId xmlns:p14="http://schemas.microsoft.com/office/powerpoint/2010/main" val="3995853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8D6EA-3BE5-4F3B-BA59-ECDAB29C90BD}"/>
              </a:ext>
            </a:extLst>
          </p:cNvPr>
          <p:cNvSpPr>
            <a:spLocks noGrp="1"/>
          </p:cNvSpPr>
          <p:nvPr>
            <p:ph type="title"/>
          </p:nvPr>
        </p:nvSpPr>
        <p:spPr/>
        <p:txBody>
          <a:bodyPr/>
          <a:lstStyle/>
          <a:p>
            <a:r>
              <a:rPr lang="en-US" dirty="0"/>
              <a:t>AWS principles – what’s different?</a:t>
            </a:r>
          </a:p>
        </p:txBody>
      </p:sp>
      <p:sp>
        <p:nvSpPr>
          <p:cNvPr id="5" name="Google Shape;804;g1493e27e650_0_154">
            <a:extLst>
              <a:ext uri="{FF2B5EF4-FFF2-40B4-BE49-F238E27FC236}">
                <a16:creationId xmlns:a16="http://schemas.microsoft.com/office/drawing/2014/main" id="{F778129E-F515-4F1E-9661-D5CD3E531018}"/>
              </a:ext>
            </a:extLst>
          </p:cNvPr>
          <p:cNvSpPr/>
          <p:nvPr/>
        </p:nvSpPr>
        <p:spPr>
          <a:xfrm>
            <a:off x="344646" y="1493425"/>
            <a:ext cx="2780100" cy="4120276"/>
          </a:xfrm>
          <a:prstGeom prst="rect">
            <a:avLst/>
          </a:prstGeom>
          <a:solidFill>
            <a:srgbClr val="F3F3F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 name="Google Shape;805;g1493e27e650_0_154">
            <a:extLst>
              <a:ext uri="{FF2B5EF4-FFF2-40B4-BE49-F238E27FC236}">
                <a16:creationId xmlns:a16="http://schemas.microsoft.com/office/drawing/2014/main" id="{A52AFAD7-2069-49DD-BB96-64ABCA209E39}"/>
              </a:ext>
            </a:extLst>
          </p:cNvPr>
          <p:cNvSpPr txBox="1"/>
          <p:nvPr/>
        </p:nvSpPr>
        <p:spPr>
          <a:xfrm>
            <a:off x="344646" y="2556801"/>
            <a:ext cx="2780100" cy="6156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chemeClr val="lt2"/>
                </a:solidFill>
                <a:latin typeface="Gill Sans"/>
                <a:ea typeface="Gill Sans"/>
                <a:cs typeface="Gill Sans"/>
                <a:sym typeface="Gill Sans"/>
              </a:rPr>
              <a:t>SCALE</a:t>
            </a:r>
            <a:endParaRPr sz="1600" b="1" i="0" u="none" strike="noStrike" cap="none">
              <a:solidFill>
                <a:schemeClr val="lt2"/>
              </a:solidFill>
              <a:latin typeface="Gill Sans"/>
              <a:ea typeface="Gill Sans"/>
              <a:cs typeface="Gill Sans"/>
              <a:sym typeface="Gill Sans"/>
            </a:endParaRPr>
          </a:p>
        </p:txBody>
      </p:sp>
      <p:sp>
        <p:nvSpPr>
          <p:cNvPr id="7" name="Google Shape;806;g1493e27e650_0_154">
            <a:extLst>
              <a:ext uri="{FF2B5EF4-FFF2-40B4-BE49-F238E27FC236}">
                <a16:creationId xmlns:a16="http://schemas.microsoft.com/office/drawing/2014/main" id="{6ECE6970-540B-441F-947B-539D80C5064A}"/>
              </a:ext>
            </a:extLst>
          </p:cNvPr>
          <p:cNvSpPr txBox="1"/>
          <p:nvPr/>
        </p:nvSpPr>
        <p:spPr>
          <a:xfrm flipH="1">
            <a:off x="350544" y="3152626"/>
            <a:ext cx="2780100" cy="1476600"/>
          </a:xfrm>
          <a:prstGeom prst="rect">
            <a:avLst/>
          </a:prstGeom>
          <a:noFill/>
          <a:ln>
            <a:noFill/>
          </a:ln>
        </p:spPr>
        <p:txBody>
          <a:bodyPr spcFirstLastPara="1" wrap="square" lIns="91425" tIns="91425" rIns="91425" bIns="91425" anchor="t" anchorCtr="0">
            <a:noAutofit/>
          </a:bodyPr>
          <a:lstStyle/>
          <a:p>
            <a:pPr marL="457200" marR="0" lvl="0" indent="-285750" algn="l" rtl="0">
              <a:lnSpc>
                <a:spcPct val="100000"/>
              </a:lnSpc>
              <a:spcBef>
                <a:spcPts val="0"/>
              </a:spcBef>
              <a:spcAft>
                <a:spcPts val="0"/>
              </a:spcAft>
              <a:buClr>
                <a:schemeClr val="dk1"/>
              </a:buClr>
              <a:buSzPts val="900"/>
              <a:buFont typeface="Gill Sans"/>
              <a:buChar char="●"/>
            </a:pPr>
            <a:r>
              <a:rPr lang="en-US" sz="1200" b="0" i="0" u="none" strike="noStrike" cap="none" dirty="0">
                <a:solidFill>
                  <a:schemeClr val="dk1"/>
                </a:solidFill>
                <a:latin typeface="Quicksand" pitchFamily="2" charset="0"/>
                <a:ea typeface="Gill Sans"/>
                <a:cs typeface="Gill Sans"/>
                <a:sym typeface="Gill Sans"/>
              </a:rPr>
              <a:t>Sanitation service provision is </a:t>
            </a:r>
            <a:r>
              <a:rPr lang="en-US" sz="1200" b="1" i="0" u="none" strike="noStrike" cap="none" dirty="0">
                <a:solidFill>
                  <a:schemeClr val="dk1"/>
                </a:solidFill>
                <a:latin typeface="Quicksand" pitchFamily="2" charset="0"/>
                <a:ea typeface="Gill Sans"/>
                <a:cs typeface="Gill Sans"/>
                <a:sym typeface="Gill Sans"/>
              </a:rPr>
              <a:t>coordinated and implemented at an administrative level</a:t>
            </a:r>
            <a:r>
              <a:rPr lang="en-US" sz="1200" b="0" i="0" u="none" strike="noStrike" cap="none" dirty="0">
                <a:solidFill>
                  <a:schemeClr val="dk1"/>
                </a:solidFill>
                <a:latin typeface="Quicksand" pitchFamily="2" charset="0"/>
                <a:ea typeface="Gill Sans"/>
                <a:cs typeface="Gill Sans"/>
                <a:sym typeface="Gill Sans"/>
              </a:rPr>
              <a:t> above individual communities or specific populations</a:t>
            </a:r>
            <a:endParaRPr sz="1200" b="0" i="0" u="none" strike="noStrike" cap="none" dirty="0">
              <a:solidFill>
                <a:schemeClr val="dk1"/>
              </a:solidFill>
              <a:latin typeface="Quicksand" pitchFamily="2" charset="0"/>
              <a:ea typeface="Gill Sans"/>
              <a:cs typeface="Gill Sans"/>
              <a:sym typeface="Gill Sans"/>
            </a:endParaRPr>
          </a:p>
          <a:p>
            <a:pPr marL="457200" marR="0" lvl="0" indent="-285750" algn="l" rtl="0">
              <a:lnSpc>
                <a:spcPct val="100000"/>
              </a:lnSpc>
              <a:spcBef>
                <a:spcPts val="0"/>
              </a:spcBef>
              <a:spcAft>
                <a:spcPts val="0"/>
              </a:spcAft>
              <a:buClr>
                <a:schemeClr val="dk1"/>
              </a:buClr>
              <a:buSzPts val="900"/>
              <a:buFont typeface="Gill Sans"/>
              <a:buChar char="●"/>
            </a:pPr>
            <a:r>
              <a:rPr lang="en-US" sz="1200" b="0" i="0" u="none" strike="noStrike" cap="none" dirty="0">
                <a:solidFill>
                  <a:schemeClr val="dk1"/>
                </a:solidFill>
                <a:latin typeface="Quicksand" pitchFamily="2" charset="0"/>
                <a:ea typeface="Gill Sans"/>
                <a:cs typeface="Gill Sans"/>
                <a:sym typeface="Gill Sans"/>
              </a:rPr>
              <a:t>“Area” may include: commune, district, municipality, county, provinc</a:t>
            </a:r>
            <a:r>
              <a:rPr lang="en-US" sz="1200" dirty="0">
                <a:solidFill>
                  <a:schemeClr val="dk1"/>
                </a:solidFill>
                <a:latin typeface="Quicksand" pitchFamily="2" charset="0"/>
                <a:ea typeface="Gill Sans"/>
                <a:cs typeface="Gill Sans"/>
                <a:sym typeface="Gill Sans"/>
              </a:rPr>
              <a:t>e</a:t>
            </a:r>
            <a:r>
              <a:rPr lang="en-US" sz="1200" b="0" i="0" u="none" strike="noStrike" cap="none" dirty="0">
                <a:solidFill>
                  <a:schemeClr val="dk1"/>
                </a:solidFill>
                <a:latin typeface="Quicksand" pitchFamily="2" charset="0"/>
                <a:ea typeface="Gill Sans"/>
                <a:cs typeface="Gill Sans"/>
                <a:sym typeface="Gill Sans"/>
              </a:rPr>
              <a:t>, etc.</a:t>
            </a:r>
            <a:endParaRPr sz="1200" b="0" i="0" u="none" strike="noStrike" cap="none" dirty="0">
              <a:solidFill>
                <a:schemeClr val="dk1"/>
              </a:solidFill>
              <a:latin typeface="Quicksand" pitchFamily="2" charset="0"/>
              <a:ea typeface="Gill Sans"/>
              <a:cs typeface="Gill Sans"/>
              <a:sym typeface="Gill Sans"/>
            </a:endParaRPr>
          </a:p>
          <a:p>
            <a:pPr marL="0" marR="0" lvl="0" indent="0" algn="just" rtl="0">
              <a:lnSpc>
                <a:spcPct val="100000"/>
              </a:lnSpc>
              <a:spcBef>
                <a:spcPts val="0"/>
              </a:spcBef>
              <a:spcAft>
                <a:spcPts val="0"/>
              </a:spcAft>
              <a:buClr>
                <a:srgbClr val="000000"/>
              </a:buClr>
              <a:buSzPts val="1600"/>
              <a:buFont typeface="Arial"/>
              <a:buNone/>
            </a:pPr>
            <a:endParaRPr sz="1200" b="0" i="0" u="none" strike="noStrike" cap="none" dirty="0">
              <a:solidFill>
                <a:srgbClr val="000000"/>
              </a:solidFill>
              <a:latin typeface="Quicksand" pitchFamily="2" charset="0"/>
              <a:ea typeface="Gill Sans"/>
              <a:cs typeface="Gill Sans"/>
              <a:sym typeface="Gill Sans"/>
            </a:endParaRPr>
          </a:p>
        </p:txBody>
      </p:sp>
      <p:pic>
        <p:nvPicPr>
          <p:cNvPr id="8" name="Google Shape;808;g1493e27e650_0_154">
            <a:extLst>
              <a:ext uri="{FF2B5EF4-FFF2-40B4-BE49-F238E27FC236}">
                <a16:creationId xmlns:a16="http://schemas.microsoft.com/office/drawing/2014/main" id="{250C066A-5812-40EB-B4A2-5C4B0E1B8F4D}"/>
              </a:ext>
            </a:extLst>
          </p:cNvPr>
          <p:cNvPicPr preferRelativeResize="0"/>
          <p:nvPr/>
        </p:nvPicPr>
        <p:blipFill rotWithShape="1">
          <a:blip r:embed="rId3">
            <a:alphaModFix/>
          </a:blip>
          <a:srcRect/>
          <a:stretch/>
        </p:blipFill>
        <p:spPr>
          <a:xfrm>
            <a:off x="1230348" y="1704951"/>
            <a:ext cx="1008695" cy="851850"/>
          </a:xfrm>
          <a:prstGeom prst="rect">
            <a:avLst/>
          </a:prstGeom>
          <a:noFill/>
          <a:ln>
            <a:noFill/>
          </a:ln>
        </p:spPr>
      </p:pic>
      <p:sp>
        <p:nvSpPr>
          <p:cNvPr id="9" name="Google Shape;809;g1493e27e650_0_154">
            <a:extLst>
              <a:ext uri="{FF2B5EF4-FFF2-40B4-BE49-F238E27FC236}">
                <a16:creationId xmlns:a16="http://schemas.microsoft.com/office/drawing/2014/main" id="{FF044A75-0C9D-4874-BC13-C7398E0D3EC3}"/>
              </a:ext>
            </a:extLst>
          </p:cNvPr>
          <p:cNvSpPr/>
          <p:nvPr/>
        </p:nvSpPr>
        <p:spPr>
          <a:xfrm>
            <a:off x="3247509" y="1493423"/>
            <a:ext cx="2780100" cy="4120277"/>
          </a:xfrm>
          <a:prstGeom prst="rect">
            <a:avLst/>
          </a:prstGeom>
          <a:solidFill>
            <a:srgbClr val="F3F3F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 name="Google Shape;810;g1493e27e650_0_154">
            <a:extLst>
              <a:ext uri="{FF2B5EF4-FFF2-40B4-BE49-F238E27FC236}">
                <a16:creationId xmlns:a16="http://schemas.microsoft.com/office/drawing/2014/main" id="{3C968629-54FB-494A-874E-367A197201AE}"/>
              </a:ext>
            </a:extLst>
          </p:cNvPr>
          <p:cNvSpPr/>
          <p:nvPr/>
        </p:nvSpPr>
        <p:spPr>
          <a:xfrm>
            <a:off x="6150371" y="1493423"/>
            <a:ext cx="2780100" cy="4120278"/>
          </a:xfrm>
          <a:prstGeom prst="rect">
            <a:avLst/>
          </a:prstGeom>
          <a:solidFill>
            <a:srgbClr val="F3F3F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 name="Google Shape;811;g1493e27e650_0_154">
            <a:extLst>
              <a:ext uri="{FF2B5EF4-FFF2-40B4-BE49-F238E27FC236}">
                <a16:creationId xmlns:a16="http://schemas.microsoft.com/office/drawing/2014/main" id="{3C357831-5357-4608-97F2-101DC66E2611}"/>
              </a:ext>
            </a:extLst>
          </p:cNvPr>
          <p:cNvSpPr txBox="1"/>
          <p:nvPr/>
        </p:nvSpPr>
        <p:spPr>
          <a:xfrm>
            <a:off x="3247521" y="2556801"/>
            <a:ext cx="2780100" cy="6156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chemeClr val="lt2"/>
                </a:solidFill>
                <a:latin typeface="Gill Sans"/>
                <a:ea typeface="Gill Sans"/>
                <a:cs typeface="Gill Sans"/>
                <a:sym typeface="Gill Sans"/>
              </a:rPr>
              <a:t>UNIVERSAL COVERAGE</a:t>
            </a:r>
            <a:endParaRPr sz="1600" b="1" i="0" u="none" strike="noStrike" cap="none">
              <a:solidFill>
                <a:schemeClr val="lt2"/>
              </a:solidFill>
              <a:latin typeface="Gill Sans"/>
              <a:ea typeface="Gill Sans"/>
              <a:cs typeface="Gill Sans"/>
              <a:sym typeface="Gill Sans"/>
            </a:endParaRPr>
          </a:p>
        </p:txBody>
      </p:sp>
      <p:sp>
        <p:nvSpPr>
          <p:cNvPr id="12" name="Google Shape;812;g1493e27e650_0_154">
            <a:extLst>
              <a:ext uri="{FF2B5EF4-FFF2-40B4-BE49-F238E27FC236}">
                <a16:creationId xmlns:a16="http://schemas.microsoft.com/office/drawing/2014/main" id="{6E1B379B-E6E8-4F6D-AA32-9FF75083C633}"/>
              </a:ext>
            </a:extLst>
          </p:cNvPr>
          <p:cNvSpPr txBox="1"/>
          <p:nvPr/>
        </p:nvSpPr>
        <p:spPr>
          <a:xfrm flipH="1">
            <a:off x="3247521" y="3152626"/>
            <a:ext cx="2780100" cy="1476600"/>
          </a:xfrm>
          <a:prstGeom prst="rect">
            <a:avLst/>
          </a:prstGeom>
          <a:noFill/>
          <a:ln>
            <a:noFill/>
          </a:ln>
        </p:spPr>
        <p:txBody>
          <a:bodyPr spcFirstLastPara="1" wrap="square" lIns="91425" tIns="91425" rIns="91425" bIns="91425" anchor="t" anchorCtr="0">
            <a:noAutofit/>
          </a:bodyPr>
          <a:lstStyle/>
          <a:p>
            <a:pPr marL="457200" marR="0" lvl="0" indent="-285750" algn="l" rtl="0">
              <a:lnSpc>
                <a:spcPct val="100000"/>
              </a:lnSpc>
              <a:spcBef>
                <a:spcPts val="0"/>
              </a:spcBef>
              <a:spcAft>
                <a:spcPts val="0"/>
              </a:spcAft>
              <a:buClr>
                <a:schemeClr val="dk1"/>
              </a:buClr>
              <a:buSzPts val="900"/>
              <a:buFont typeface="Gill Sans"/>
              <a:buChar char="●"/>
            </a:pPr>
            <a:r>
              <a:rPr lang="en-US" sz="1200" b="0" i="0" u="none" strike="noStrike" cap="none" dirty="0">
                <a:solidFill>
                  <a:schemeClr val="dk1"/>
                </a:solidFill>
                <a:latin typeface="Quicksand" pitchFamily="2" charset="0"/>
                <a:ea typeface="Gill Sans"/>
                <a:cs typeface="Gill Sans"/>
                <a:sym typeface="Gill Sans"/>
              </a:rPr>
              <a:t>Intentionally </a:t>
            </a:r>
            <a:r>
              <a:rPr lang="en-US" sz="1200" b="1" i="0" u="none" strike="noStrike" cap="none" dirty="0">
                <a:solidFill>
                  <a:schemeClr val="dk1"/>
                </a:solidFill>
                <a:latin typeface="Quicksand" pitchFamily="2" charset="0"/>
                <a:ea typeface="Gill Sans"/>
                <a:cs typeface="Gill Sans"/>
                <a:sym typeface="Gill Sans"/>
              </a:rPr>
              <a:t>identify marginalized</a:t>
            </a:r>
            <a:r>
              <a:rPr lang="en-US" sz="1200" b="0" i="0" u="none" strike="noStrike" cap="none" dirty="0">
                <a:solidFill>
                  <a:schemeClr val="dk1"/>
                </a:solidFill>
                <a:latin typeface="Quicksand" pitchFamily="2" charset="0"/>
                <a:ea typeface="Gill Sans"/>
                <a:cs typeface="Gill Sans"/>
                <a:sym typeface="Gill Sans"/>
              </a:rPr>
              <a:t> or at-risk populations and </a:t>
            </a:r>
            <a:r>
              <a:rPr lang="en-US" sz="1200" b="1" i="0" u="none" strike="noStrike" cap="none" dirty="0">
                <a:solidFill>
                  <a:schemeClr val="dk1"/>
                </a:solidFill>
                <a:latin typeface="Quicksand" pitchFamily="2" charset="0"/>
                <a:ea typeface="Gill Sans"/>
                <a:cs typeface="Gill Sans"/>
                <a:sym typeface="Gill Sa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
                  </a:ext>
                </a:extLst>
              </a:rPr>
              <a:t>ad</a:t>
            </a:r>
            <a:r>
              <a:rPr lang="en-US" sz="1200" b="1" dirty="0">
                <a:solidFill>
                  <a:schemeClr val="dk1"/>
                </a:solidFill>
                <a:latin typeface="Quicksand" pitchFamily="2" charset="0"/>
                <a:ea typeface="Gill Sans"/>
                <a:cs typeface="Gill Sans"/>
                <a:sym typeface="Gill Sans"/>
              </a:rPr>
              <a:t>apt</a:t>
            </a:r>
            <a:r>
              <a:rPr lang="en-US" sz="1200" b="1" i="0" u="none" strike="noStrike" cap="none" dirty="0">
                <a:solidFill>
                  <a:schemeClr val="dk1"/>
                </a:solidFill>
                <a:latin typeface="Quicksand" pitchFamily="2" charset="0"/>
                <a:ea typeface="Gill Sans"/>
                <a:cs typeface="Gill Sans"/>
                <a:sym typeface="Gill Sans"/>
              </a:rPr>
              <a:t> interventions</a:t>
            </a:r>
            <a:r>
              <a:rPr lang="en-US" sz="1200" b="0" i="0" u="none" strike="noStrike" cap="none" dirty="0">
                <a:solidFill>
                  <a:schemeClr val="dk1"/>
                </a:solidFill>
                <a:latin typeface="Quicksand" pitchFamily="2" charset="0"/>
                <a:ea typeface="Gill Sans"/>
                <a:cs typeface="Gill Sans"/>
                <a:sym typeface="Gill Sans"/>
              </a:rPr>
              <a:t> to the needs of the most vulnerable</a:t>
            </a:r>
            <a:endParaRPr sz="1200" b="0" i="0" u="none" strike="noStrike" cap="none" dirty="0">
              <a:solidFill>
                <a:schemeClr val="dk1"/>
              </a:solidFill>
              <a:latin typeface="Quicksand" pitchFamily="2" charset="0"/>
              <a:ea typeface="Gill Sans"/>
              <a:cs typeface="Gill Sans"/>
              <a:sym typeface="Gill Sans"/>
            </a:endParaRPr>
          </a:p>
          <a:p>
            <a:pPr marL="457200" marR="0" lvl="0" indent="-285750" algn="l" rtl="0">
              <a:lnSpc>
                <a:spcPct val="100000"/>
              </a:lnSpc>
              <a:spcBef>
                <a:spcPts val="0"/>
              </a:spcBef>
              <a:spcAft>
                <a:spcPts val="0"/>
              </a:spcAft>
              <a:buClr>
                <a:schemeClr val="dk1"/>
              </a:buClr>
              <a:buSzPts val="900"/>
              <a:buFont typeface="Gill Sans"/>
              <a:buChar char="●"/>
            </a:pPr>
            <a:r>
              <a:rPr lang="en-US" sz="1200" b="0" i="0" u="none" strike="noStrike" cap="none" dirty="0">
                <a:solidFill>
                  <a:schemeClr val="dk1"/>
                </a:solidFill>
                <a:latin typeface="Quicksand" pitchFamily="2" charset="0"/>
                <a:ea typeface="Gill Sans"/>
                <a:cs typeface="Gill Sans"/>
                <a:sym typeface="Gill Sans"/>
              </a:rPr>
              <a:t>Tailor and </a:t>
            </a:r>
            <a:r>
              <a:rPr lang="en-US" sz="1200" b="1" i="0" u="none" strike="noStrike" cap="none" dirty="0">
                <a:solidFill>
                  <a:schemeClr val="dk1"/>
                </a:solidFill>
                <a:latin typeface="Quicksand" pitchFamily="2" charset="0"/>
                <a:ea typeface="Gill Sans"/>
                <a:cs typeface="Gill Sans"/>
                <a:sym typeface="Gill Sans"/>
              </a:rPr>
              <a:t>combine sanitation interventions</a:t>
            </a:r>
            <a:r>
              <a:rPr lang="en-US" sz="1200" b="0" i="0" u="none" strike="noStrike" cap="none" dirty="0">
                <a:solidFill>
                  <a:schemeClr val="dk1"/>
                </a:solidFill>
                <a:latin typeface="Quicksand" pitchFamily="2" charset="0"/>
                <a:ea typeface="Gill Sans"/>
                <a:cs typeface="Gill Sans"/>
                <a:sym typeface="Gill Sans"/>
              </a:rPr>
              <a:t> to address </a:t>
            </a:r>
            <a:r>
              <a:rPr lang="en-US" sz="1200" b="1" i="0" u="none" strike="noStrike" cap="none" dirty="0">
                <a:solidFill>
                  <a:schemeClr val="dk1"/>
                </a:solidFill>
                <a:latin typeface="Quicksand" pitchFamily="2" charset="0"/>
                <a:ea typeface="Gill Sans"/>
                <a:cs typeface="Gill Sans"/>
                <a:sym typeface="Gill Sans"/>
              </a:rPr>
              <a:t>multi-dimensional deprivations</a:t>
            </a:r>
            <a:endParaRPr sz="1200" b="0" i="0" u="none" strike="noStrike" cap="none" dirty="0">
              <a:solidFill>
                <a:srgbClr val="000000"/>
              </a:solidFill>
              <a:latin typeface="Quicksand" pitchFamily="2" charset="0"/>
              <a:ea typeface="Gill Sans"/>
              <a:cs typeface="Gill Sans"/>
              <a:sym typeface="Gill Sans"/>
            </a:endParaRPr>
          </a:p>
        </p:txBody>
      </p:sp>
      <p:pic>
        <p:nvPicPr>
          <p:cNvPr id="13" name="Google Shape;813;g1493e27e650_0_154">
            <a:extLst>
              <a:ext uri="{FF2B5EF4-FFF2-40B4-BE49-F238E27FC236}">
                <a16:creationId xmlns:a16="http://schemas.microsoft.com/office/drawing/2014/main" id="{BA896BE7-C02C-4BBE-92BE-A08638183C20}"/>
              </a:ext>
            </a:extLst>
          </p:cNvPr>
          <p:cNvPicPr preferRelativeResize="0"/>
          <p:nvPr/>
        </p:nvPicPr>
        <p:blipFill rotWithShape="1">
          <a:blip r:embed="rId4">
            <a:alphaModFix/>
          </a:blip>
          <a:srcRect/>
          <a:stretch/>
        </p:blipFill>
        <p:spPr>
          <a:xfrm>
            <a:off x="4155229" y="1704951"/>
            <a:ext cx="964660" cy="887046"/>
          </a:xfrm>
          <a:prstGeom prst="rect">
            <a:avLst/>
          </a:prstGeom>
          <a:noFill/>
          <a:ln>
            <a:noFill/>
          </a:ln>
        </p:spPr>
      </p:pic>
      <p:pic>
        <p:nvPicPr>
          <p:cNvPr id="14" name="Google Shape;814;g1493e27e650_0_154">
            <a:extLst>
              <a:ext uri="{FF2B5EF4-FFF2-40B4-BE49-F238E27FC236}">
                <a16:creationId xmlns:a16="http://schemas.microsoft.com/office/drawing/2014/main" id="{8D41C838-4CF9-4731-824E-8AD55CCD8F4C}"/>
              </a:ext>
            </a:extLst>
          </p:cNvPr>
          <p:cNvPicPr preferRelativeResize="0"/>
          <p:nvPr/>
        </p:nvPicPr>
        <p:blipFill rotWithShape="1">
          <a:blip r:embed="rId5">
            <a:alphaModFix/>
          </a:blip>
          <a:srcRect/>
          <a:stretch/>
        </p:blipFill>
        <p:spPr>
          <a:xfrm>
            <a:off x="7043002" y="1572326"/>
            <a:ext cx="1091683" cy="951507"/>
          </a:xfrm>
          <a:prstGeom prst="rect">
            <a:avLst/>
          </a:prstGeom>
          <a:noFill/>
          <a:ln>
            <a:noFill/>
          </a:ln>
        </p:spPr>
      </p:pic>
      <p:sp>
        <p:nvSpPr>
          <p:cNvPr id="15" name="Google Shape;815;g1493e27e650_0_154">
            <a:extLst>
              <a:ext uri="{FF2B5EF4-FFF2-40B4-BE49-F238E27FC236}">
                <a16:creationId xmlns:a16="http://schemas.microsoft.com/office/drawing/2014/main" id="{18D08825-1768-4411-8080-F5F5B8952DE4}"/>
              </a:ext>
            </a:extLst>
          </p:cNvPr>
          <p:cNvSpPr txBox="1"/>
          <p:nvPr/>
        </p:nvSpPr>
        <p:spPr>
          <a:xfrm>
            <a:off x="6150396" y="2556801"/>
            <a:ext cx="2780100" cy="6156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chemeClr val="dk1"/>
              </a:buClr>
              <a:buSzPts val="1600"/>
              <a:buFont typeface="Arial"/>
              <a:buNone/>
            </a:pPr>
            <a:endParaRPr sz="1600" b="1" i="0" u="none" strike="noStrike" cap="none">
              <a:solidFill>
                <a:schemeClr val="lt2"/>
              </a:solidFill>
              <a:latin typeface="Gill Sans"/>
              <a:ea typeface="Gill Sans"/>
              <a:cs typeface="Gill Sans"/>
              <a:sym typeface="Gill Sans"/>
            </a:endParaRPr>
          </a:p>
          <a:p>
            <a:pPr marL="0" marR="0" lvl="0" indent="0" algn="ctr" rtl="0">
              <a:lnSpc>
                <a:spcPct val="100000"/>
              </a:lnSpc>
              <a:spcBef>
                <a:spcPts val="0"/>
              </a:spcBef>
              <a:spcAft>
                <a:spcPts val="0"/>
              </a:spcAft>
              <a:buClr>
                <a:schemeClr val="dk1"/>
              </a:buClr>
              <a:buSzPts val="1600"/>
              <a:buFont typeface="Arial"/>
              <a:buNone/>
            </a:pPr>
            <a:r>
              <a:rPr lang="en-US" sz="1600" b="1" i="0" u="none" strike="noStrike" cap="none">
                <a:solidFill>
                  <a:schemeClr val="lt2"/>
                </a:solidFill>
                <a:latin typeface="Gill Sans"/>
                <a:ea typeface="Gill Sans"/>
                <a:cs typeface="Gill Sans"/>
                <a:sym typeface="Gill Sans"/>
              </a:rPr>
              <a:t>GOVERNMENT LEADERSHIP</a:t>
            </a:r>
            <a:endParaRPr sz="1600" b="1" i="0" u="none" strike="noStrike" cap="none">
              <a:solidFill>
                <a:schemeClr val="lt2"/>
              </a:solidFill>
              <a:latin typeface="Gill Sans"/>
              <a:ea typeface="Gill Sans"/>
              <a:cs typeface="Gill Sans"/>
              <a:sym typeface="Gill Sans"/>
            </a:endParaRPr>
          </a:p>
          <a:p>
            <a:pPr marL="0" marR="0" lvl="0" indent="0" algn="ctr" rtl="0">
              <a:lnSpc>
                <a:spcPct val="100000"/>
              </a:lnSpc>
              <a:spcBef>
                <a:spcPts val="0"/>
              </a:spcBef>
              <a:spcAft>
                <a:spcPts val="0"/>
              </a:spcAft>
              <a:buClr>
                <a:srgbClr val="000000"/>
              </a:buClr>
              <a:buSzPts val="1600"/>
              <a:buFont typeface="Arial"/>
              <a:buNone/>
            </a:pPr>
            <a:endParaRPr sz="1600" b="1" i="0" u="none" strike="noStrike" cap="none">
              <a:solidFill>
                <a:schemeClr val="lt2"/>
              </a:solidFill>
              <a:latin typeface="Gill Sans"/>
              <a:ea typeface="Gill Sans"/>
              <a:cs typeface="Gill Sans"/>
              <a:sym typeface="Gill Sans"/>
            </a:endParaRPr>
          </a:p>
        </p:txBody>
      </p:sp>
      <p:sp>
        <p:nvSpPr>
          <p:cNvPr id="16" name="Google Shape;816;g1493e27e650_0_154">
            <a:extLst>
              <a:ext uri="{FF2B5EF4-FFF2-40B4-BE49-F238E27FC236}">
                <a16:creationId xmlns:a16="http://schemas.microsoft.com/office/drawing/2014/main" id="{70552CF3-5130-4CD4-A14B-1EBFA4D8D60D}"/>
              </a:ext>
            </a:extLst>
          </p:cNvPr>
          <p:cNvSpPr txBox="1"/>
          <p:nvPr/>
        </p:nvSpPr>
        <p:spPr>
          <a:xfrm flipH="1">
            <a:off x="6150373" y="3152626"/>
            <a:ext cx="2780100" cy="1476600"/>
          </a:xfrm>
          <a:prstGeom prst="rect">
            <a:avLst/>
          </a:prstGeom>
          <a:noFill/>
          <a:ln>
            <a:noFill/>
          </a:ln>
        </p:spPr>
        <p:txBody>
          <a:bodyPr spcFirstLastPara="1" wrap="square" lIns="91425" tIns="91425" rIns="91425" bIns="91425" anchor="t" anchorCtr="0">
            <a:noAutofit/>
          </a:bodyPr>
          <a:lstStyle/>
          <a:p>
            <a:pPr marL="457200" marR="0" lvl="0" indent="-285750" algn="l" rtl="0">
              <a:lnSpc>
                <a:spcPct val="100000"/>
              </a:lnSpc>
              <a:spcBef>
                <a:spcPts val="0"/>
              </a:spcBef>
              <a:spcAft>
                <a:spcPts val="0"/>
              </a:spcAft>
              <a:buClr>
                <a:schemeClr val="dk1"/>
              </a:buClr>
              <a:buSzPts val="900"/>
              <a:buFont typeface="Gill Sans"/>
              <a:buChar char="●"/>
            </a:pPr>
            <a:r>
              <a:rPr lang="en-US" sz="1200" b="0" i="0" u="none" strike="noStrike" cap="none">
                <a:solidFill>
                  <a:schemeClr val="dk1"/>
                </a:solidFill>
                <a:latin typeface="Quicksand" pitchFamily="2" charset="0"/>
                <a:ea typeface="Gill Sans"/>
                <a:cs typeface="Gill Sans"/>
                <a:sym typeface="Gill Sans"/>
              </a:rPr>
              <a:t>Governments are the “</a:t>
            </a:r>
            <a:r>
              <a:rPr lang="en-US" sz="1200" b="1" i="0" u="none" strike="noStrike" cap="none">
                <a:solidFill>
                  <a:schemeClr val="dk1"/>
                </a:solidFill>
                <a:latin typeface="Quicksand" pitchFamily="2" charset="0"/>
                <a:ea typeface="Gill Sans"/>
                <a:cs typeface="Gill Sans"/>
                <a:sym typeface="Gill Sans"/>
              </a:rPr>
              <a:t>duty bearers</a:t>
            </a:r>
            <a:r>
              <a:rPr lang="en-US" sz="1200" b="0" i="0" u="none" strike="noStrike" cap="none">
                <a:solidFill>
                  <a:schemeClr val="dk1"/>
                </a:solidFill>
                <a:latin typeface="Quicksand" pitchFamily="2" charset="0"/>
                <a:ea typeface="Gill Sans"/>
                <a:cs typeface="Gill Sans"/>
                <a:sym typeface="Gill Sans"/>
              </a:rPr>
              <a:t>” for ensuring access to sanitation services</a:t>
            </a:r>
            <a:endParaRPr sz="1200" b="0" i="0" u="none" strike="noStrike" cap="none">
              <a:solidFill>
                <a:schemeClr val="dk1"/>
              </a:solidFill>
              <a:latin typeface="Quicksand" pitchFamily="2" charset="0"/>
              <a:ea typeface="Gill Sans"/>
              <a:cs typeface="Gill Sans"/>
              <a:sym typeface="Gill Sans"/>
            </a:endParaRPr>
          </a:p>
          <a:p>
            <a:pPr marL="457200" marR="0" lvl="0" indent="-285750" algn="l" rtl="0">
              <a:lnSpc>
                <a:spcPct val="100000"/>
              </a:lnSpc>
              <a:spcBef>
                <a:spcPts val="0"/>
              </a:spcBef>
              <a:spcAft>
                <a:spcPts val="0"/>
              </a:spcAft>
              <a:buClr>
                <a:schemeClr val="dk1"/>
              </a:buClr>
              <a:buSzPts val="900"/>
              <a:buFont typeface="Gill Sans"/>
              <a:buChar char="●"/>
            </a:pPr>
            <a:r>
              <a:rPr lang="en-US" sz="1200" b="1" i="0" u="none" strike="noStrike" cap="none">
                <a:solidFill>
                  <a:schemeClr val="dk1"/>
                </a:solidFill>
                <a:latin typeface="Quicksand" pitchFamily="2" charset="0"/>
                <a:ea typeface="Gill Sans"/>
                <a:cs typeface="Gill Sans"/>
                <a:sym typeface="Gill Sa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
                  </a:ext>
                </a:extLst>
              </a:rPr>
              <a:t>Local governments </a:t>
            </a:r>
            <a:r>
              <a:rPr lang="en-US" sz="1200" b="1">
                <a:solidFill>
                  <a:schemeClr val="dk1"/>
                </a:solidFill>
                <a:latin typeface="Quicksand" pitchFamily="2" charset="0"/>
                <a:ea typeface="Gill Sans"/>
                <a:cs typeface="Gill Sans"/>
                <a:sym typeface="Gill Sa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3"/>
                  </a:ext>
                </a:extLst>
              </a:rPr>
              <a:t>ensure</a:t>
            </a:r>
            <a:r>
              <a:rPr lang="en-US" sz="1200" b="1" i="0" u="none" strike="noStrike" cap="none">
                <a:solidFill>
                  <a:schemeClr val="dk1"/>
                </a:solidFill>
                <a:latin typeface="Quicksand" pitchFamily="2" charset="0"/>
                <a:ea typeface="Gill Sans"/>
                <a:cs typeface="Gill Sans"/>
                <a:sym typeface="Gill Sa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4"/>
                  </a:ext>
                </a:extLst>
              </a:rPr>
              <a:t> capacity</a:t>
            </a:r>
            <a:r>
              <a:rPr lang="en-US" sz="1200" b="0" i="0" u="none" strike="noStrike" cap="none">
                <a:solidFill>
                  <a:schemeClr val="dk1"/>
                </a:solidFill>
                <a:latin typeface="Quicksand" pitchFamily="2" charset="0"/>
                <a:ea typeface="Gill Sans"/>
                <a:cs typeface="Gill Sans"/>
                <a:sym typeface="Gill Sa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5"/>
                  </a:ext>
                </a:extLst>
              </a:rPr>
              <a:t> to oversee coordination of stakeholders, design and implement interventions, and strengthen M&amp;E systems</a:t>
            </a:r>
            <a:endParaRPr sz="1200" b="0" i="0" u="none" strike="noStrike" cap="none">
              <a:solidFill>
                <a:schemeClr val="dk1"/>
              </a:solidFill>
              <a:latin typeface="Quicksand" pitchFamily="2" charset="0"/>
              <a:ea typeface="Gill Sans"/>
              <a:cs typeface="Gill Sans"/>
              <a:sym typeface="Gill Sans"/>
            </a:endParaRPr>
          </a:p>
        </p:txBody>
      </p:sp>
      <p:sp>
        <p:nvSpPr>
          <p:cNvPr id="17" name="Google Shape;817;g1493e27e650_0_154">
            <a:extLst>
              <a:ext uri="{FF2B5EF4-FFF2-40B4-BE49-F238E27FC236}">
                <a16:creationId xmlns:a16="http://schemas.microsoft.com/office/drawing/2014/main" id="{B43F35F2-C0E4-4473-8402-C8179C205789}"/>
              </a:ext>
            </a:extLst>
          </p:cNvPr>
          <p:cNvSpPr/>
          <p:nvPr/>
        </p:nvSpPr>
        <p:spPr>
          <a:xfrm>
            <a:off x="9053221" y="1493421"/>
            <a:ext cx="2780100" cy="4120279"/>
          </a:xfrm>
          <a:prstGeom prst="rect">
            <a:avLst/>
          </a:prstGeom>
          <a:solidFill>
            <a:srgbClr val="F3F3F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 name="Google Shape;818;g1493e27e650_0_154">
            <a:extLst>
              <a:ext uri="{FF2B5EF4-FFF2-40B4-BE49-F238E27FC236}">
                <a16:creationId xmlns:a16="http://schemas.microsoft.com/office/drawing/2014/main" id="{177759E4-98E8-4708-BB92-3556C598480E}"/>
              </a:ext>
            </a:extLst>
          </p:cNvPr>
          <p:cNvSpPr txBox="1"/>
          <p:nvPr/>
        </p:nvSpPr>
        <p:spPr>
          <a:xfrm>
            <a:off x="9053271" y="2556801"/>
            <a:ext cx="2780100" cy="6156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chemeClr val="dk1"/>
              </a:buClr>
              <a:buSzPts val="1600"/>
              <a:buFont typeface="Arial"/>
              <a:buNone/>
            </a:pPr>
            <a:endParaRPr sz="1600" b="1" i="0" u="none" strike="noStrike" cap="none">
              <a:solidFill>
                <a:schemeClr val="lt2"/>
              </a:solidFill>
              <a:latin typeface="Gill Sans"/>
              <a:ea typeface="Gill Sans"/>
              <a:cs typeface="Gill Sans"/>
              <a:sym typeface="Gill Sans"/>
            </a:endParaRPr>
          </a:p>
          <a:p>
            <a:pPr marL="0" marR="0" lvl="0" indent="0" algn="ctr" rtl="0">
              <a:lnSpc>
                <a:spcPct val="100000"/>
              </a:lnSpc>
              <a:spcBef>
                <a:spcPts val="0"/>
              </a:spcBef>
              <a:spcAft>
                <a:spcPts val="0"/>
              </a:spcAft>
              <a:buClr>
                <a:schemeClr val="dk1"/>
              </a:buClr>
              <a:buSzPts val="1600"/>
              <a:buFont typeface="Arial"/>
              <a:buNone/>
            </a:pPr>
            <a:r>
              <a:rPr lang="en-US" sz="1600" b="1">
                <a:solidFill>
                  <a:schemeClr val="lt2"/>
                </a:solidFill>
                <a:latin typeface="Gill Sans"/>
                <a:ea typeface="Gill Sans"/>
                <a:cs typeface="Gill Sans"/>
                <a:sym typeface="Gill Sans"/>
              </a:rPr>
              <a:t>SUSTAINABILITY</a:t>
            </a:r>
            <a:endParaRPr sz="1600" b="1" i="0" u="none" strike="noStrike" cap="none">
              <a:solidFill>
                <a:schemeClr val="lt2"/>
              </a:solidFill>
              <a:latin typeface="Gill Sans"/>
              <a:ea typeface="Gill Sans"/>
              <a:cs typeface="Gill Sans"/>
              <a:sym typeface="Gill Sans"/>
            </a:endParaRPr>
          </a:p>
          <a:p>
            <a:pPr marL="0" marR="0" lvl="0" indent="0" algn="ctr" rtl="0">
              <a:lnSpc>
                <a:spcPct val="100000"/>
              </a:lnSpc>
              <a:spcBef>
                <a:spcPts val="0"/>
              </a:spcBef>
              <a:spcAft>
                <a:spcPts val="0"/>
              </a:spcAft>
              <a:buClr>
                <a:srgbClr val="000000"/>
              </a:buClr>
              <a:buSzPts val="1600"/>
              <a:buFont typeface="Arial"/>
              <a:buNone/>
            </a:pPr>
            <a:endParaRPr sz="1600" b="1" i="0" u="none" strike="noStrike" cap="none">
              <a:solidFill>
                <a:schemeClr val="lt2"/>
              </a:solidFill>
              <a:latin typeface="Gill Sans"/>
              <a:ea typeface="Gill Sans"/>
              <a:cs typeface="Gill Sans"/>
              <a:sym typeface="Gill Sans"/>
            </a:endParaRPr>
          </a:p>
        </p:txBody>
      </p:sp>
      <p:sp>
        <p:nvSpPr>
          <p:cNvPr id="19" name="Google Shape;819;g1493e27e650_0_154">
            <a:extLst>
              <a:ext uri="{FF2B5EF4-FFF2-40B4-BE49-F238E27FC236}">
                <a16:creationId xmlns:a16="http://schemas.microsoft.com/office/drawing/2014/main" id="{ACDBFFD1-C156-4EBD-9EAF-017BFEC0D37B}"/>
              </a:ext>
            </a:extLst>
          </p:cNvPr>
          <p:cNvSpPr txBox="1"/>
          <p:nvPr/>
        </p:nvSpPr>
        <p:spPr>
          <a:xfrm flipH="1">
            <a:off x="9053273" y="3152626"/>
            <a:ext cx="2780100" cy="1476600"/>
          </a:xfrm>
          <a:prstGeom prst="rect">
            <a:avLst/>
          </a:prstGeom>
          <a:noFill/>
          <a:ln>
            <a:noFill/>
          </a:ln>
        </p:spPr>
        <p:txBody>
          <a:bodyPr spcFirstLastPara="1" wrap="square" lIns="91425" tIns="91425" rIns="91425" bIns="91425" anchor="t" anchorCtr="0">
            <a:noAutofit/>
          </a:bodyPr>
          <a:lstStyle/>
          <a:p>
            <a:pPr marL="457200" lvl="0" indent="-285750" algn="l" rtl="0">
              <a:spcBef>
                <a:spcPts val="0"/>
              </a:spcBef>
              <a:spcAft>
                <a:spcPts val="0"/>
              </a:spcAft>
              <a:buClr>
                <a:schemeClr val="dk1"/>
              </a:buClr>
              <a:buSzPts val="900"/>
              <a:buFont typeface="Gill Sans"/>
              <a:buChar char="●"/>
            </a:pPr>
            <a:r>
              <a:rPr lang="en-US" sz="1200" dirty="0">
                <a:solidFill>
                  <a:schemeClr val="dk1"/>
                </a:solidFill>
                <a:latin typeface="Quicksand" pitchFamily="2" charset="0"/>
                <a:ea typeface="Gill Sans"/>
                <a:cs typeface="Gill Sans"/>
                <a:sym typeface="Gill Sans"/>
              </a:rPr>
              <a:t>Toilet use and safe management are sustained through a </a:t>
            </a:r>
            <a:r>
              <a:rPr lang="en-US" sz="1200" b="1" dirty="0">
                <a:solidFill>
                  <a:schemeClr val="dk1"/>
                </a:solidFill>
                <a:latin typeface="Quicksand" pitchFamily="2" charset="0"/>
                <a:ea typeface="Gill Sans"/>
                <a:cs typeface="Gill Sans"/>
                <a:sym typeface="Gill Sans"/>
              </a:rPr>
              <a:t>focus on durability, service delivery, and systems strengthening</a:t>
            </a:r>
            <a:endParaRPr sz="1200" b="1" dirty="0">
              <a:solidFill>
                <a:schemeClr val="dk1"/>
              </a:solidFill>
              <a:latin typeface="Quicksand" pitchFamily="2" charset="0"/>
              <a:ea typeface="Gill Sans"/>
              <a:cs typeface="Gill Sans"/>
              <a:sym typeface="Gill Sans"/>
            </a:endParaRPr>
          </a:p>
          <a:p>
            <a:pPr marL="457200" lvl="0" indent="-285750" algn="l" rtl="0">
              <a:spcBef>
                <a:spcPts val="0"/>
              </a:spcBef>
              <a:spcAft>
                <a:spcPts val="0"/>
              </a:spcAft>
              <a:buClr>
                <a:schemeClr val="dk1"/>
              </a:buClr>
              <a:buSzPts val="900"/>
              <a:buFont typeface="Gill Sans"/>
              <a:buChar char="●"/>
            </a:pPr>
            <a:r>
              <a:rPr lang="en-US" sz="1200" dirty="0">
                <a:solidFill>
                  <a:schemeClr val="dk1"/>
                </a:solidFill>
                <a:latin typeface="Quicksand" pitchFamily="2" charset="0"/>
                <a:ea typeface="Gill Sans"/>
                <a:cs typeface="Gill Sans"/>
                <a:sym typeface="Gill Sans"/>
              </a:rPr>
              <a:t>Programming is aimed at achieving sustained access to safely managed sanitation services</a:t>
            </a:r>
            <a:endParaRPr sz="1200" dirty="0">
              <a:solidFill>
                <a:schemeClr val="dk1"/>
              </a:solidFill>
              <a:latin typeface="Quicksand" pitchFamily="2" charset="0"/>
              <a:ea typeface="Gill Sans"/>
              <a:cs typeface="Gill Sans"/>
              <a:sym typeface="Gill Sans"/>
            </a:endParaRPr>
          </a:p>
          <a:p>
            <a:pPr marL="0" marR="0" lvl="0" indent="0" algn="l" rtl="0">
              <a:lnSpc>
                <a:spcPct val="100000"/>
              </a:lnSpc>
              <a:spcBef>
                <a:spcPts val="0"/>
              </a:spcBef>
              <a:spcAft>
                <a:spcPts val="0"/>
              </a:spcAft>
              <a:buNone/>
            </a:pPr>
            <a:endParaRPr sz="1200" dirty="0">
              <a:solidFill>
                <a:schemeClr val="dk1"/>
              </a:solidFill>
              <a:latin typeface="Quicksand" pitchFamily="2" charset="0"/>
              <a:ea typeface="Gill Sans"/>
              <a:cs typeface="Gill Sans"/>
              <a:sym typeface="Gill Sans"/>
            </a:endParaRPr>
          </a:p>
        </p:txBody>
      </p:sp>
      <p:pic>
        <p:nvPicPr>
          <p:cNvPr id="20" name="Google Shape;820;g1493e27e650_0_154">
            <a:extLst>
              <a:ext uri="{FF2B5EF4-FFF2-40B4-BE49-F238E27FC236}">
                <a16:creationId xmlns:a16="http://schemas.microsoft.com/office/drawing/2014/main" id="{2D507254-E86D-4986-8C15-B86DB8CB1872}"/>
              </a:ext>
            </a:extLst>
          </p:cNvPr>
          <p:cNvPicPr preferRelativeResize="0"/>
          <p:nvPr/>
        </p:nvPicPr>
        <p:blipFill>
          <a:blip r:embed="rId6">
            <a:alphaModFix/>
          </a:blip>
          <a:stretch>
            <a:fillRect/>
          </a:stretch>
        </p:blipFill>
        <p:spPr>
          <a:xfrm>
            <a:off x="9930644" y="1615315"/>
            <a:ext cx="1025254" cy="976682"/>
          </a:xfrm>
          <a:prstGeom prst="rect">
            <a:avLst/>
          </a:prstGeom>
          <a:noFill/>
          <a:ln>
            <a:noFill/>
          </a:ln>
        </p:spPr>
      </p:pic>
      <p:pic>
        <p:nvPicPr>
          <p:cNvPr id="21" name="Content Placeholder 6">
            <a:extLst>
              <a:ext uri="{FF2B5EF4-FFF2-40B4-BE49-F238E27FC236}">
                <a16:creationId xmlns:a16="http://schemas.microsoft.com/office/drawing/2014/main" id="{ED18AA56-9427-4712-A90F-8C5B1DCA6CE4}"/>
              </a:ext>
            </a:extLst>
          </p:cNvPr>
          <p:cNvPicPr>
            <a:picLocks/>
          </p:cNvPicPr>
          <p:nvPr/>
        </p:nvPicPr>
        <p:blipFill>
          <a:blip r:embed="rId7"/>
          <a:stretch>
            <a:fillRect/>
          </a:stretch>
        </p:blipFill>
        <p:spPr>
          <a:xfrm>
            <a:off x="468367" y="5926198"/>
            <a:ext cx="1709930" cy="665163"/>
          </a:xfrm>
          <a:prstGeom prst="rect">
            <a:avLst/>
          </a:prstGeom>
        </p:spPr>
      </p:pic>
    </p:spTree>
    <p:extLst>
      <p:ext uri="{BB962C8B-B14F-4D97-AF65-F5344CB8AC3E}">
        <p14:creationId xmlns:p14="http://schemas.microsoft.com/office/powerpoint/2010/main" val="445536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2B3B68-C576-49C2-9FD2-DADADF2C0152}"/>
              </a:ext>
            </a:extLst>
          </p:cNvPr>
          <p:cNvSpPr>
            <a:spLocks noGrp="1"/>
          </p:cNvSpPr>
          <p:nvPr>
            <p:ph type="title"/>
          </p:nvPr>
        </p:nvSpPr>
        <p:spPr/>
        <p:txBody>
          <a:bodyPr/>
          <a:lstStyle/>
          <a:p>
            <a:r>
              <a:rPr lang="en-US" dirty="0"/>
              <a:t>How to implement AWS?</a:t>
            </a:r>
          </a:p>
        </p:txBody>
      </p:sp>
      <p:sp>
        <p:nvSpPr>
          <p:cNvPr id="4" name="Content Placeholder 3">
            <a:extLst>
              <a:ext uri="{FF2B5EF4-FFF2-40B4-BE49-F238E27FC236}">
                <a16:creationId xmlns:a16="http://schemas.microsoft.com/office/drawing/2014/main" id="{0B5C02C0-5B11-482F-9DCE-417450FEFC57}"/>
              </a:ext>
            </a:extLst>
          </p:cNvPr>
          <p:cNvSpPr>
            <a:spLocks noGrp="1"/>
          </p:cNvSpPr>
          <p:nvPr>
            <p:ph idx="1"/>
          </p:nvPr>
        </p:nvSpPr>
        <p:spPr>
          <a:xfrm>
            <a:off x="751840" y="1445741"/>
            <a:ext cx="10703150" cy="4152419"/>
          </a:xfrm>
        </p:spPr>
        <p:txBody>
          <a:bodyPr>
            <a:normAutofit fontScale="92500"/>
          </a:bodyPr>
          <a:lstStyle/>
          <a:p>
            <a:pPr>
              <a:lnSpc>
                <a:spcPct val="110000"/>
              </a:lnSpc>
            </a:pPr>
            <a:r>
              <a:rPr lang="en-US" b="1" dirty="0" err="1"/>
              <a:t>WASHPaLS</a:t>
            </a:r>
            <a:r>
              <a:rPr lang="en-US" b="1" dirty="0"/>
              <a:t> #2 set out to answer two questions:</a:t>
            </a:r>
          </a:p>
          <a:p>
            <a:pPr marL="342900" indent="-342900">
              <a:lnSpc>
                <a:spcPct val="110000"/>
              </a:lnSpc>
              <a:buFont typeface="Arial" panose="020B0604020202020204" pitchFamily="34" charset="0"/>
              <a:buChar char="•"/>
            </a:pPr>
            <a:r>
              <a:rPr lang="en-US" dirty="0"/>
              <a:t>What sanitation interventions are required in different contexts to ensure long-term access to safely managed sanitation services in rural areas, and how can we target, integrate, phase, monitor, and finance those interventions at an area-wide level?</a:t>
            </a:r>
          </a:p>
          <a:p>
            <a:pPr marL="342900" indent="-342900">
              <a:lnSpc>
                <a:spcPct val="110000"/>
              </a:lnSpc>
              <a:buFont typeface="Arial" panose="020B0604020202020204" pitchFamily="34" charset="0"/>
              <a:buChar char="•"/>
            </a:pPr>
            <a:r>
              <a:rPr lang="en-US" dirty="0"/>
              <a:t>What is needed to achieve equitable access to sanitation under an area-wide approach? </a:t>
            </a:r>
          </a:p>
          <a:p>
            <a:pPr marL="342900" indent="-342900">
              <a:lnSpc>
                <a:spcPct val="110000"/>
              </a:lnSpc>
              <a:buFont typeface="Arial" panose="020B0604020202020204" pitchFamily="34" charset="0"/>
              <a:buChar char="•"/>
            </a:pPr>
            <a:endParaRPr lang="en-US" dirty="0"/>
          </a:p>
          <a:p>
            <a:pPr>
              <a:lnSpc>
                <a:spcPct val="110000"/>
              </a:lnSpc>
            </a:pPr>
            <a:r>
              <a:rPr lang="en-US" dirty="0"/>
              <a:t>Extensive desk review identified a set of core components of AWS.</a:t>
            </a:r>
          </a:p>
          <a:p>
            <a:pPr>
              <a:lnSpc>
                <a:spcPct val="110000"/>
              </a:lnSpc>
            </a:pPr>
            <a:r>
              <a:rPr lang="en-US" dirty="0"/>
              <a:t>A Theory of Change can outline how we think these core components connect and interact and can be a framework to guide further learning.</a:t>
            </a:r>
          </a:p>
        </p:txBody>
      </p:sp>
      <p:pic>
        <p:nvPicPr>
          <p:cNvPr id="5" name="Content Placeholder 6">
            <a:extLst>
              <a:ext uri="{FF2B5EF4-FFF2-40B4-BE49-F238E27FC236}">
                <a16:creationId xmlns:a16="http://schemas.microsoft.com/office/drawing/2014/main" id="{003659D6-80BB-4F69-B1FD-B09BBFBE2A49}"/>
              </a:ext>
            </a:extLst>
          </p:cNvPr>
          <p:cNvPicPr>
            <a:picLocks/>
          </p:cNvPicPr>
          <p:nvPr/>
        </p:nvPicPr>
        <p:blipFill>
          <a:blip r:embed="rId3"/>
          <a:stretch>
            <a:fillRect/>
          </a:stretch>
        </p:blipFill>
        <p:spPr>
          <a:xfrm>
            <a:off x="468367" y="5926198"/>
            <a:ext cx="1709930" cy="665163"/>
          </a:xfrm>
          <a:prstGeom prst="rect">
            <a:avLst/>
          </a:prstGeom>
        </p:spPr>
      </p:pic>
    </p:spTree>
    <p:extLst>
      <p:ext uri="{BB962C8B-B14F-4D97-AF65-F5344CB8AC3E}">
        <p14:creationId xmlns:p14="http://schemas.microsoft.com/office/powerpoint/2010/main" val="3511569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ABE8B8-BA68-4069-931E-2737B41F7E74}"/>
              </a:ext>
            </a:extLst>
          </p:cNvPr>
          <p:cNvSpPr>
            <a:spLocks noGrp="1"/>
          </p:cNvSpPr>
          <p:nvPr>
            <p:ph type="body" idx="1"/>
          </p:nvPr>
        </p:nvSpPr>
        <p:spPr/>
        <p:txBody>
          <a:bodyPr>
            <a:normAutofit fontScale="92500"/>
          </a:bodyPr>
          <a:lstStyle/>
          <a:p>
            <a:pPr>
              <a:lnSpc>
                <a:spcPct val="100000"/>
              </a:lnSpc>
            </a:pPr>
            <a:r>
              <a:rPr lang="en-US" sz="6000" dirty="0"/>
              <a:t>AWS Theory of Change</a:t>
            </a:r>
          </a:p>
          <a:p>
            <a:pPr>
              <a:lnSpc>
                <a:spcPct val="100000"/>
              </a:lnSpc>
            </a:pPr>
            <a:r>
              <a:rPr lang="en-US" sz="6000" dirty="0"/>
              <a:t>exercise</a:t>
            </a:r>
          </a:p>
        </p:txBody>
      </p:sp>
      <p:sp>
        <p:nvSpPr>
          <p:cNvPr id="3" name="Footer Placeholder 2">
            <a:extLst>
              <a:ext uri="{FF2B5EF4-FFF2-40B4-BE49-F238E27FC236}">
                <a16:creationId xmlns:a16="http://schemas.microsoft.com/office/drawing/2014/main" id="{AE603162-E861-45AA-937B-794077932387}"/>
              </a:ext>
            </a:extLst>
          </p:cNvPr>
          <p:cNvSpPr>
            <a:spLocks noGrp="1"/>
          </p:cNvSpPr>
          <p:nvPr>
            <p:ph type="ftr" sz="quarter" idx="3"/>
          </p:nvPr>
        </p:nvSpPr>
        <p:spPr/>
        <p:txBody>
          <a:bodyPr/>
          <a:lstStyle/>
          <a:p>
            <a:endParaRPr lang="en-GB" dirty="0"/>
          </a:p>
        </p:txBody>
      </p:sp>
      <p:pic>
        <p:nvPicPr>
          <p:cNvPr id="8" name="Picture Placeholder 7" descr="A picture containing sky, outdoor&#10;&#10;Description automatically generated">
            <a:extLst>
              <a:ext uri="{FF2B5EF4-FFF2-40B4-BE49-F238E27FC236}">
                <a16:creationId xmlns:a16="http://schemas.microsoft.com/office/drawing/2014/main" id="{8DEF3F53-0ABB-468F-9A9A-BA2FF2805FC4}"/>
              </a:ext>
            </a:extLst>
          </p:cNvPr>
          <p:cNvPicPr>
            <a:picLocks noGrp="1" noChangeAspect="1"/>
          </p:cNvPicPr>
          <p:nvPr>
            <p:ph type="pic" idx="10"/>
          </p:nvPr>
        </p:nvPicPr>
        <p:blipFill>
          <a:blip r:embed="rId2">
            <a:extLst>
              <a:ext uri="{28A0092B-C50C-407E-A947-70E740481C1C}">
                <a14:useLocalDpi xmlns:a14="http://schemas.microsoft.com/office/drawing/2010/main" val="0"/>
              </a:ext>
            </a:extLst>
          </a:blip>
          <a:srcRect l="11995" r="11995"/>
          <a:stretch>
            <a:fillRect/>
          </a:stretch>
        </p:blipFill>
        <p:spPr/>
      </p:pic>
    </p:spTree>
    <p:extLst>
      <p:ext uri="{BB962C8B-B14F-4D97-AF65-F5344CB8AC3E}">
        <p14:creationId xmlns:p14="http://schemas.microsoft.com/office/powerpoint/2010/main" val="1003213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6">
            <a:extLst>
              <a:ext uri="{FF2B5EF4-FFF2-40B4-BE49-F238E27FC236}">
                <a16:creationId xmlns:a16="http://schemas.microsoft.com/office/drawing/2014/main" id="{2EA7CC78-6757-449D-968D-A7FEF353685D}"/>
              </a:ext>
            </a:extLst>
          </p:cNvPr>
          <p:cNvPicPr>
            <a:picLocks/>
          </p:cNvPicPr>
          <p:nvPr/>
        </p:nvPicPr>
        <p:blipFill>
          <a:blip r:embed="rId3"/>
          <a:stretch>
            <a:fillRect/>
          </a:stretch>
        </p:blipFill>
        <p:spPr>
          <a:xfrm>
            <a:off x="468367" y="5926198"/>
            <a:ext cx="1709930" cy="665163"/>
          </a:xfrm>
          <a:prstGeom prst="rect">
            <a:avLst/>
          </a:prstGeom>
        </p:spPr>
      </p:pic>
      <p:graphicFrame>
        <p:nvGraphicFramePr>
          <p:cNvPr id="7" name="Diagram 6">
            <a:extLst>
              <a:ext uri="{FF2B5EF4-FFF2-40B4-BE49-F238E27FC236}">
                <a16:creationId xmlns:a16="http://schemas.microsoft.com/office/drawing/2014/main" id="{A12A9027-492B-468F-90E5-F1E42BA23737}"/>
              </a:ext>
            </a:extLst>
          </p:cNvPr>
          <p:cNvGraphicFramePr/>
          <p:nvPr>
            <p:extLst>
              <p:ext uri="{D42A27DB-BD31-4B8C-83A1-F6EECF244321}">
                <p14:modId xmlns:p14="http://schemas.microsoft.com/office/powerpoint/2010/main" val="1916012162"/>
              </p:ext>
            </p:extLst>
          </p:nvPr>
        </p:nvGraphicFramePr>
        <p:xfrm>
          <a:off x="737009" y="1690688"/>
          <a:ext cx="10665501" cy="368726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Title 1">
            <a:extLst>
              <a:ext uri="{FF2B5EF4-FFF2-40B4-BE49-F238E27FC236}">
                <a16:creationId xmlns:a16="http://schemas.microsoft.com/office/drawing/2014/main" id="{22D2B261-7C67-489C-A289-3A43B8377810}"/>
              </a:ext>
            </a:extLst>
          </p:cNvPr>
          <p:cNvSpPr>
            <a:spLocks noGrp="1"/>
          </p:cNvSpPr>
          <p:nvPr>
            <p:ph type="title"/>
          </p:nvPr>
        </p:nvSpPr>
        <p:spPr>
          <a:xfrm>
            <a:off x="751841" y="365125"/>
            <a:ext cx="10703150" cy="1325563"/>
          </a:xfrm>
        </p:spPr>
        <p:txBody>
          <a:bodyPr/>
          <a:lstStyle/>
          <a:p>
            <a:r>
              <a:rPr lang="en-US" dirty="0"/>
              <a:t>Summary </a:t>
            </a:r>
            <a:r>
              <a:rPr lang="en-US" dirty="0" err="1"/>
              <a:t>ToC</a:t>
            </a:r>
            <a:endParaRPr lang="en-US" dirty="0"/>
          </a:p>
        </p:txBody>
      </p:sp>
    </p:spTree>
    <p:extLst>
      <p:ext uri="{BB962C8B-B14F-4D97-AF65-F5344CB8AC3E}">
        <p14:creationId xmlns:p14="http://schemas.microsoft.com/office/powerpoint/2010/main" val="4136269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A12A9027-492B-468F-90E5-F1E42BA23737}"/>
              </a:ext>
            </a:extLst>
          </p:cNvPr>
          <p:cNvGraphicFramePr/>
          <p:nvPr>
            <p:extLst>
              <p:ext uri="{D42A27DB-BD31-4B8C-83A1-F6EECF244321}">
                <p14:modId xmlns:p14="http://schemas.microsoft.com/office/powerpoint/2010/main" val="479055654"/>
              </p:ext>
            </p:extLst>
          </p:nvPr>
        </p:nvGraphicFramePr>
        <p:xfrm>
          <a:off x="1310390" y="144365"/>
          <a:ext cx="10665501" cy="24391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Rectangle: Rounded Corners 14">
            <a:extLst>
              <a:ext uri="{FF2B5EF4-FFF2-40B4-BE49-F238E27FC236}">
                <a16:creationId xmlns:a16="http://schemas.microsoft.com/office/drawing/2014/main" id="{53A1D041-1E1C-474D-A01D-99172EB0EC00}"/>
              </a:ext>
            </a:extLst>
          </p:cNvPr>
          <p:cNvSpPr/>
          <p:nvPr/>
        </p:nvSpPr>
        <p:spPr>
          <a:xfrm>
            <a:off x="1321861" y="2720069"/>
            <a:ext cx="3463977" cy="2376805"/>
          </a:xfrm>
          <a:prstGeom prst="roundRect">
            <a:avLst/>
          </a:prstGeom>
          <a:solidFill>
            <a:srgbClr val="8C8985"/>
          </a:solidFill>
          <a:ln>
            <a:solidFill>
              <a:srgbClr val="8C8985"/>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600"/>
              </a:spcAft>
            </a:pPr>
            <a:r>
              <a:rPr lang="en-US" sz="1200" b="1" dirty="0">
                <a:solidFill>
                  <a:srgbClr val="FFFFFF"/>
                </a:solidFill>
                <a:effectLst/>
                <a:latin typeface="Quicksand" pitchFamily="2" charset="0"/>
                <a:ea typeface="Gill Sans"/>
                <a:cs typeface="Gill Sans"/>
              </a:rPr>
              <a:t>National system building blocks:</a:t>
            </a:r>
            <a:endParaRPr lang="en-US" sz="1200" dirty="0">
              <a:solidFill>
                <a:srgbClr val="6B6462"/>
              </a:solidFill>
              <a:effectLst/>
              <a:latin typeface="Quicksand" pitchFamily="2" charset="0"/>
              <a:ea typeface="Gill Sans"/>
              <a:cs typeface="Gill Sans"/>
            </a:endParaRPr>
          </a:p>
          <a:p>
            <a:pPr marL="342900" lvl="0" indent="-342900">
              <a:lnSpc>
                <a:spcPts val="1400"/>
              </a:lnSpc>
              <a:spcAft>
                <a:spcPts val="400"/>
              </a:spcAft>
              <a:buFont typeface="Symbol" panose="05050102010706020507" pitchFamily="18" charset="2"/>
              <a:buChar char=""/>
            </a:pPr>
            <a:r>
              <a:rPr lang="en-GB" sz="1200" dirty="0">
                <a:solidFill>
                  <a:srgbClr val="FFFFFF"/>
                </a:solidFill>
                <a:effectLst/>
                <a:latin typeface="Quicksand" pitchFamily="2" charset="0"/>
                <a:ea typeface="Calibri" panose="020F0502020204030204" pitchFamily="34" charset="0"/>
                <a:cs typeface="Arial" panose="020B0604020202020204" pitchFamily="34" charset="0"/>
              </a:rPr>
              <a:t>Sector policies and strategies</a:t>
            </a:r>
            <a:endParaRPr lang="en-US" sz="1200" dirty="0">
              <a:solidFill>
                <a:srgbClr val="6B6462"/>
              </a:solidFill>
              <a:effectLst/>
              <a:latin typeface="Quicksand" pitchFamily="2" charset="0"/>
              <a:ea typeface="Calibri" panose="020F0502020204030204" pitchFamily="34" charset="0"/>
              <a:cs typeface="Arial" panose="020B0604020202020204" pitchFamily="34" charset="0"/>
            </a:endParaRPr>
          </a:p>
          <a:p>
            <a:pPr marL="342900" lvl="0" indent="-342900">
              <a:lnSpc>
                <a:spcPts val="1400"/>
              </a:lnSpc>
              <a:spcAft>
                <a:spcPts val="400"/>
              </a:spcAft>
              <a:buFont typeface="Symbol" panose="05050102010706020507" pitchFamily="18" charset="2"/>
              <a:buChar char=""/>
            </a:pPr>
            <a:r>
              <a:rPr lang="en-GB" sz="1200" dirty="0">
                <a:solidFill>
                  <a:srgbClr val="FFFFFF"/>
                </a:solidFill>
                <a:effectLst/>
                <a:latin typeface="Quicksand" pitchFamily="2" charset="0"/>
                <a:ea typeface="Calibri" panose="020F0502020204030204" pitchFamily="34" charset="0"/>
                <a:cs typeface="Arial" panose="020B0604020202020204" pitchFamily="34" charset="0"/>
              </a:rPr>
              <a:t>Planning, monitoring, and financing</a:t>
            </a:r>
            <a:endParaRPr lang="en-US" sz="1200" dirty="0">
              <a:solidFill>
                <a:srgbClr val="6B6462"/>
              </a:solidFill>
              <a:effectLst/>
              <a:latin typeface="Quicksand" pitchFamily="2" charset="0"/>
              <a:ea typeface="Calibri" panose="020F0502020204030204" pitchFamily="34" charset="0"/>
              <a:cs typeface="Arial" panose="020B0604020202020204" pitchFamily="34" charset="0"/>
            </a:endParaRPr>
          </a:p>
          <a:p>
            <a:pPr marL="342900" lvl="0" indent="-342900">
              <a:lnSpc>
                <a:spcPts val="1400"/>
              </a:lnSpc>
              <a:spcAft>
                <a:spcPts val="400"/>
              </a:spcAft>
              <a:buFont typeface="Symbol" panose="05050102010706020507" pitchFamily="18" charset="2"/>
              <a:buChar char=""/>
            </a:pPr>
            <a:r>
              <a:rPr lang="en-GB" sz="1200" dirty="0">
                <a:solidFill>
                  <a:srgbClr val="FFFFFF"/>
                </a:solidFill>
                <a:effectLst/>
                <a:latin typeface="Quicksand" pitchFamily="2" charset="0"/>
                <a:ea typeface="Calibri" panose="020F0502020204030204" pitchFamily="34" charset="0"/>
                <a:cs typeface="Arial" panose="020B0604020202020204" pitchFamily="34" charset="0"/>
              </a:rPr>
              <a:t>Legislation, regulation, standards, and guidelines</a:t>
            </a:r>
            <a:endParaRPr lang="en-US" sz="1200" dirty="0">
              <a:solidFill>
                <a:srgbClr val="6B6462"/>
              </a:solidFill>
              <a:effectLst/>
              <a:latin typeface="Quicksand" pitchFamily="2" charset="0"/>
              <a:ea typeface="Calibri" panose="020F0502020204030204" pitchFamily="34" charset="0"/>
              <a:cs typeface="Arial" panose="020B0604020202020204" pitchFamily="34" charset="0"/>
            </a:endParaRPr>
          </a:p>
          <a:p>
            <a:pPr marL="342900" lvl="0" indent="-342900">
              <a:lnSpc>
                <a:spcPts val="1400"/>
              </a:lnSpc>
              <a:spcAft>
                <a:spcPts val="400"/>
              </a:spcAft>
              <a:buFont typeface="Symbol" panose="05050102010706020507" pitchFamily="18" charset="2"/>
              <a:buChar char=""/>
            </a:pPr>
            <a:r>
              <a:rPr lang="en-GB" sz="1200" dirty="0">
                <a:solidFill>
                  <a:srgbClr val="FFFFFF"/>
                </a:solidFill>
                <a:effectLst/>
                <a:latin typeface="Quicksand" pitchFamily="2" charset="0"/>
                <a:ea typeface="Calibri" panose="020F0502020204030204" pitchFamily="34" charset="0"/>
                <a:cs typeface="Arial" panose="020B0604020202020204" pitchFamily="34" charset="0"/>
              </a:rPr>
              <a:t>Capacity </a:t>
            </a:r>
            <a:r>
              <a:rPr lang="en-GB" sz="1200" dirty="0">
                <a:solidFill>
                  <a:srgbClr val="FFFFFF"/>
                </a:solidFill>
                <a:latin typeface="Quicksand" pitchFamily="2" charset="0"/>
                <a:ea typeface="Calibri" panose="020F0502020204030204" pitchFamily="34" charset="0"/>
                <a:cs typeface="Arial" panose="020B0604020202020204" pitchFamily="34" charset="0"/>
              </a:rPr>
              <a:t>development</a:t>
            </a:r>
            <a:r>
              <a:rPr lang="en-GB" sz="1200" dirty="0">
                <a:solidFill>
                  <a:srgbClr val="FFFFFF"/>
                </a:solidFill>
                <a:effectLst/>
                <a:latin typeface="Quicksand" pitchFamily="2" charset="0"/>
                <a:ea typeface="Calibri" panose="020F0502020204030204" pitchFamily="34" charset="0"/>
                <a:cs typeface="Arial" panose="020B0604020202020204" pitchFamily="34" charset="0"/>
              </a:rPr>
              <a:t> and technical assistance</a:t>
            </a:r>
            <a:endParaRPr lang="en-US" sz="1200" dirty="0">
              <a:solidFill>
                <a:srgbClr val="6B6462"/>
              </a:solidFill>
              <a:effectLst/>
              <a:latin typeface="Quicksand" pitchFamily="2" charset="0"/>
              <a:ea typeface="Calibri" panose="020F0502020204030204" pitchFamily="34" charset="0"/>
              <a:cs typeface="Arial" panose="020B0604020202020204" pitchFamily="34" charset="0"/>
            </a:endParaRPr>
          </a:p>
          <a:p>
            <a:pPr marL="342900" lvl="0" indent="-342900">
              <a:lnSpc>
                <a:spcPts val="1400"/>
              </a:lnSpc>
              <a:spcAft>
                <a:spcPts val="400"/>
              </a:spcAft>
              <a:buFont typeface="Symbol" panose="05050102010706020507" pitchFamily="18" charset="2"/>
              <a:buChar char=""/>
            </a:pPr>
            <a:r>
              <a:rPr lang="en-GB" sz="1200" dirty="0">
                <a:solidFill>
                  <a:srgbClr val="FFFFFF"/>
                </a:solidFill>
                <a:effectLst/>
                <a:latin typeface="Quicksand" pitchFamily="2" charset="0"/>
                <a:ea typeface="Calibri" panose="020F0502020204030204" pitchFamily="34" charset="0"/>
                <a:cs typeface="Arial" panose="020B0604020202020204" pitchFamily="34" charset="0"/>
              </a:rPr>
              <a:t>Functioning market systems</a:t>
            </a:r>
            <a:endParaRPr lang="en-US" sz="1200" dirty="0">
              <a:solidFill>
                <a:srgbClr val="6B6462"/>
              </a:solidFill>
              <a:effectLst/>
              <a:latin typeface="Quicksand" pitchFamily="2" charset="0"/>
              <a:ea typeface="Calibri" panose="020F0502020204030204" pitchFamily="34" charset="0"/>
              <a:cs typeface="Arial" panose="020B0604020202020204" pitchFamily="34" charset="0"/>
            </a:endParaRPr>
          </a:p>
        </p:txBody>
      </p:sp>
      <p:grpSp>
        <p:nvGrpSpPr>
          <p:cNvPr id="16" name="Group 15">
            <a:extLst>
              <a:ext uri="{FF2B5EF4-FFF2-40B4-BE49-F238E27FC236}">
                <a16:creationId xmlns:a16="http://schemas.microsoft.com/office/drawing/2014/main" id="{4AC2675D-002A-4E9D-A740-2CB58EF4882D}"/>
              </a:ext>
            </a:extLst>
          </p:cNvPr>
          <p:cNvGrpSpPr/>
          <p:nvPr/>
        </p:nvGrpSpPr>
        <p:grpSpPr>
          <a:xfrm>
            <a:off x="1310390" y="2720069"/>
            <a:ext cx="10665500" cy="3871291"/>
            <a:chOff x="0" y="0"/>
            <a:chExt cx="5904231" cy="2991967"/>
          </a:xfrm>
        </p:grpSpPr>
        <p:sp>
          <p:nvSpPr>
            <p:cNvPr id="17" name="Rectangle: Rounded Corners 16">
              <a:extLst>
                <a:ext uri="{FF2B5EF4-FFF2-40B4-BE49-F238E27FC236}">
                  <a16:creationId xmlns:a16="http://schemas.microsoft.com/office/drawing/2014/main" id="{A7377A9D-2092-41B4-BAF7-2D969A50445D}"/>
                </a:ext>
              </a:extLst>
            </p:cNvPr>
            <p:cNvSpPr/>
            <p:nvPr/>
          </p:nvSpPr>
          <p:spPr>
            <a:xfrm>
              <a:off x="2070100" y="0"/>
              <a:ext cx="1722908" cy="1836939"/>
            </a:xfrm>
            <a:prstGeom prst="roundRect">
              <a:avLst/>
            </a:prstGeom>
            <a:solidFill>
              <a:srgbClr val="8C8985"/>
            </a:solidFill>
            <a:ln>
              <a:solidFill>
                <a:srgbClr val="8C8985"/>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600"/>
                </a:spcAft>
              </a:pPr>
              <a:r>
                <a:rPr lang="en-US" sz="1200" b="1" dirty="0">
                  <a:solidFill>
                    <a:srgbClr val="FFFFFF"/>
                  </a:solidFill>
                  <a:effectLst/>
                  <a:latin typeface="Quicksand" pitchFamily="2" charset="0"/>
                  <a:ea typeface="Gill Sans"/>
                  <a:cs typeface="Gill Sans"/>
                </a:rPr>
                <a:t>Subnational system building blocks:</a:t>
              </a:r>
              <a:endParaRPr lang="en-US" sz="1200" dirty="0">
                <a:solidFill>
                  <a:srgbClr val="6B6462"/>
                </a:solidFill>
                <a:effectLst/>
                <a:latin typeface="Quicksand" pitchFamily="2" charset="0"/>
                <a:ea typeface="Gill Sans"/>
                <a:cs typeface="Gill Sans"/>
              </a:endParaRPr>
            </a:p>
            <a:p>
              <a:pPr marL="285750" indent="-285750">
                <a:lnSpc>
                  <a:spcPts val="1400"/>
                </a:lnSpc>
                <a:spcAft>
                  <a:spcPts val="400"/>
                </a:spcAft>
                <a:buFont typeface="Arial" panose="020B0604020202020204" pitchFamily="34" charset="0"/>
                <a:buChar char="•"/>
              </a:pPr>
              <a:r>
                <a:rPr lang="en-GB" sz="1200" dirty="0">
                  <a:solidFill>
                    <a:srgbClr val="FFFFFF"/>
                  </a:solidFill>
                  <a:effectLst/>
                  <a:latin typeface="Quicksand" pitchFamily="2" charset="0"/>
                  <a:ea typeface="Calibri" panose="020F0502020204030204" pitchFamily="34" charset="0"/>
                  <a:cs typeface="Arial" panose="020B0604020202020204" pitchFamily="34" charset="0"/>
                </a:rPr>
                <a:t>Planning and budgeting</a:t>
              </a:r>
              <a:endParaRPr lang="en-US" sz="1200" dirty="0">
                <a:solidFill>
                  <a:srgbClr val="6B6462"/>
                </a:solidFill>
                <a:effectLst/>
                <a:latin typeface="Quicksand" pitchFamily="2" charset="0"/>
                <a:ea typeface="Calibri" panose="020F0502020204030204" pitchFamily="34" charset="0"/>
                <a:cs typeface="Arial" panose="020B0604020202020204" pitchFamily="34" charset="0"/>
              </a:endParaRPr>
            </a:p>
            <a:p>
              <a:pPr marL="285750" indent="-285750">
                <a:lnSpc>
                  <a:spcPts val="1400"/>
                </a:lnSpc>
                <a:spcAft>
                  <a:spcPts val="400"/>
                </a:spcAft>
                <a:buFont typeface="Arial" panose="020B0604020202020204" pitchFamily="34" charset="0"/>
                <a:buChar char="•"/>
              </a:pPr>
              <a:r>
                <a:rPr lang="en-GB" sz="1200" dirty="0">
                  <a:solidFill>
                    <a:srgbClr val="FFFFFF"/>
                  </a:solidFill>
                  <a:effectLst/>
                  <a:latin typeface="Quicksand" pitchFamily="2" charset="0"/>
                  <a:ea typeface="Calibri" panose="020F0502020204030204" pitchFamily="34" charset="0"/>
                  <a:cs typeface="Arial" panose="020B0604020202020204" pitchFamily="34" charset="0"/>
                </a:rPr>
                <a:t>Local regulation, standards, and guidelines</a:t>
              </a:r>
              <a:endParaRPr lang="en-US" sz="1200" dirty="0">
                <a:solidFill>
                  <a:srgbClr val="6B6462"/>
                </a:solidFill>
                <a:effectLst/>
                <a:latin typeface="Quicksand" pitchFamily="2" charset="0"/>
                <a:ea typeface="Calibri" panose="020F0502020204030204" pitchFamily="34" charset="0"/>
                <a:cs typeface="Arial" panose="020B0604020202020204" pitchFamily="34" charset="0"/>
              </a:endParaRPr>
            </a:p>
            <a:p>
              <a:pPr marL="285750" indent="-285750">
                <a:lnSpc>
                  <a:spcPts val="1400"/>
                </a:lnSpc>
                <a:spcAft>
                  <a:spcPts val="400"/>
                </a:spcAft>
                <a:buFont typeface="Arial" panose="020B0604020202020204" pitchFamily="34" charset="0"/>
                <a:buChar char="•"/>
              </a:pPr>
              <a:r>
                <a:rPr lang="en-GB" sz="1200" dirty="0">
                  <a:solidFill>
                    <a:srgbClr val="FFFFFF"/>
                  </a:solidFill>
                  <a:effectLst/>
                  <a:latin typeface="Quicksand" pitchFamily="2" charset="0"/>
                  <a:ea typeface="Calibri" panose="020F0502020204030204" pitchFamily="34" charset="0"/>
                  <a:cs typeface="Arial" panose="020B0604020202020204" pitchFamily="34" charset="0"/>
                </a:rPr>
                <a:t>Capacity and HR</a:t>
              </a:r>
              <a:endParaRPr lang="en-US" sz="1200" dirty="0">
                <a:solidFill>
                  <a:srgbClr val="6B6462"/>
                </a:solidFill>
                <a:effectLst/>
                <a:latin typeface="Quicksand" pitchFamily="2" charset="0"/>
                <a:ea typeface="Calibri" panose="020F0502020204030204" pitchFamily="34" charset="0"/>
                <a:cs typeface="Arial" panose="020B0604020202020204" pitchFamily="34" charset="0"/>
              </a:endParaRPr>
            </a:p>
            <a:p>
              <a:pPr marL="285750" indent="-285750">
                <a:lnSpc>
                  <a:spcPts val="1400"/>
                </a:lnSpc>
                <a:spcAft>
                  <a:spcPts val="400"/>
                </a:spcAft>
                <a:buFont typeface="Arial" panose="020B0604020202020204" pitchFamily="34" charset="0"/>
                <a:buChar char="•"/>
              </a:pPr>
              <a:r>
                <a:rPr lang="en-GB" sz="1200" dirty="0">
                  <a:solidFill>
                    <a:srgbClr val="FFFFFF"/>
                  </a:solidFill>
                  <a:effectLst/>
                  <a:latin typeface="Quicksand" pitchFamily="2" charset="0"/>
                  <a:ea typeface="Calibri" panose="020F0502020204030204" pitchFamily="34" charset="0"/>
                  <a:cs typeface="Arial" panose="020B0604020202020204" pitchFamily="34" charset="0"/>
                </a:rPr>
                <a:t>Political will and ownership</a:t>
              </a:r>
              <a:endParaRPr lang="en-US" sz="1200" dirty="0">
                <a:solidFill>
                  <a:srgbClr val="6B6462"/>
                </a:solidFill>
                <a:effectLst/>
                <a:latin typeface="Quicksand" pitchFamily="2" charset="0"/>
                <a:ea typeface="Calibri" panose="020F0502020204030204" pitchFamily="34" charset="0"/>
                <a:cs typeface="Arial" panose="020B0604020202020204" pitchFamily="34" charset="0"/>
              </a:endParaRPr>
            </a:p>
            <a:p>
              <a:pPr marL="285750" indent="-285750">
                <a:lnSpc>
                  <a:spcPts val="1400"/>
                </a:lnSpc>
                <a:spcAft>
                  <a:spcPts val="400"/>
                </a:spcAft>
                <a:buFont typeface="Arial" panose="020B0604020202020204" pitchFamily="34" charset="0"/>
                <a:buChar char="•"/>
              </a:pPr>
              <a:r>
                <a:rPr lang="en-GB" sz="1200" dirty="0">
                  <a:solidFill>
                    <a:srgbClr val="FFFFFF"/>
                  </a:solidFill>
                  <a:effectLst/>
                  <a:latin typeface="Quicksand" pitchFamily="2" charset="0"/>
                  <a:ea typeface="Calibri" panose="020F0502020204030204" pitchFamily="34" charset="0"/>
                  <a:cs typeface="Arial" panose="020B0604020202020204" pitchFamily="34" charset="0"/>
                </a:rPr>
                <a:t>Institutional arrangements and partnership</a:t>
              </a:r>
              <a:endParaRPr lang="en-US" sz="1200" dirty="0">
                <a:solidFill>
                  <a:srgbClr val="6B6462"/>
                </a:solidFill>
                <a:effectLst/>
                <a:latin typeface="Quicksand" pitchFamily="2" charset="0"/>
                <a:ea typeface="Calibri" panose="020F0502020204030204" pitchFamily="34" charset="0"/>
                <a:cs typeface="Arial" panose="020B0604020202020204" pitchFamily="34" charset="0"/>
              </a:endParaRPr>
            </a:p>
            <a:p>
              <a:pPr marL="285750" indent="-285750">
                <a:lnSpc>
                  <a:spcPts val="1400"/>
                </a:lnSpc>
                <a:spcAft>
                  <a:spcPts val="400"/>
                </a:spcAft>
                <a:buFont typeface="Arial" panose="020B0604020202020204" pitchFamily="34" charset="0"/>
                <a:buChar char="•"/>
              </a:pPr>
              <a:r>
                <a:rPr lang="en-GB" sz="1200" dirty="0">
                  <a:solidFill>
                    <a:srgbClr val="FFFFFF"/>
                  </a:solidFill>
                  <a:effectLst/>
                  <a:latin typeface="Quicksand" pitchFamily="2" charset="0"/>
                  <a:ea typeface="Calibri" panose="020F0502020204030204" pitchFamily="34" charset="0"/>
                  <a:cs typeface="Arial" panose="020B0604020202020204" pitchFamily="34" charset="0"/>
                </a:rPr>
                <a:t>MEL</a:t>
              </a:r>
              <a:endParaRPr lang="en-US" sz="1200" dirty="0">
                <a:solidFill>
                  <a:srgbClr val="6B6462"/>
                </a:solidFill>
                <a:effectLst/>
                <a:latin typeface="Quicksand" pitchFamily="2" charset="0"/>
                <a:ea typeface="Calibri" panose="020F0502020204030204" pitchFamily="34" charset="0"/>
                <a:cs typeface="Arial" panose="020B0604020202020204" pitchFamily="34" charset="0"/>
              </a:endParaRPr>
            </a:p>
          </p:txBody>
        </p:sp>
        <p:sp>
          <p:nvSpPr>
            <p:cNvPr id="18" name="Rectangle: Rounded Corners 17">
              <a:extLst>
                <a:ext uri="{FF2B5EF4-FFF2-40B4-BE49-F238E27FC236}">
                  <a16:creationId xmlns:a16="http://schemas.microsoft.com/office/drawing/2014/main" id="{080E85AB-2811-4C43-AB26-294670FB9BA5}"/>
                </a:ext>
              </a:extLst>
            </p:cNvPr>
            <p:cNvSpPr/>
            <p:nvPr/>
          </p:nvSpPr>
          <p:spPr>
            <a:xfrm>
              <a:off x="3892589" y="0"/>
              <a:ext cx="1973743" cy="1836938"/>
            </a:xfrm>
            <a:prstGeom prst="roundRect">
              <a:avLst/>
            </a:prstGeom>
            <a:solidFill>
              <a:schemeClr val="tx2">
                <a:lumMod val="75000"/>
              </a:schemeClr>
            </a:solidFill>
            <a:ln>
              <a:solidFill>
                <a:schemeClr val="tx2">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600"/>
                </a:spcAft>
              </a:pPr>
              <a:r>
                <a:rPr lang="en-US" sz="1200" b="1" dirty="0">
                  <a:solidFill>
                    <a:srgbClr val="FFFFFF"/>
                  </a:solidFill>
                  <a:effectLst/>
                  <a:latin typeface="Quicksand" pitchFamily="2" charset="0"/>
                  <a:ea typeface="Gill Sans"/>
                  <a:cs typeface="Gill Sans"/>
                </a:rPr>
                <a:t>Sanitation and hygiene interventions:</a:t>
              </a:r>
              <a:endParaRPr lang="en-US" sz="1200" dirty="0">
                <a:solidFill>
                  <a:srgbClr val="6B6462"/>
                </a:solidFill>
                <a:effectLst/>
                <a:latin typeface="Quicksand" pitchFamily="2" charset="0"/>
                <a:ea typeface="Gill Sans"/>
                <a:cs typeface="Gill Sans"/>
              </a:endParaRPr>
            </a:p>
            <a:p>
              <a:pPr marL="342900" lvl="0" indent="-342900">
                <a:lnSpc>
                  <a:spcPts val="1400"/>
                </a:lnSpc>
                <a:spcAft>
                  <a:spcPts val="400"/>
                </a:spcAft>
                <a:buFont typeface="Symbol" panose="05050102010706020507" pitchFamily="18" charset="2"/>
                <a:buChar char=""/>
              </a:pPr>
              <a:r>
                <a:rPr lang="en-GB" sz="1200" dirty="0">
                  <a:solidFill>
                    <a:srgbClr val="FFFFFF"/>
                  </a:solidFill>
                  <a:effectLst/>
                  <a:latin typeface="Quicksand" pitchFamily="2" charset="0"/>
                  <a:ea typeface="Calibri" panose="020F0502020204030204" pitchFamily="34" charset="0"/>
                  <a:cs typeface="Arial" panose="020B0604020202020204" pitchFamily="34" charset="0"/>
                </a:rPr>
                <a:t>Community mobilization, demand creation, and </a:t>
              </a:r>
              <a:r>
                <a:rPr lang="en-GB" sz="1200" dirty="0" err="1">
                  <a:solidFill>
                    <a:srgbClr val="FFFFFF"/>
                  </a:solidFill>
                  <a:effectLst/>
                  <a:latin typeface="Quicksand" pitchFamily="2" charset="0"/>
                  <a:ea typeface="Calibri" panose="020F0502020204030204" pitchFamily="34" charset="0"/>
                  <a:cs typeface="Arial" panose="020B0604020202020204" pitchFamily="34" charset="0"/>
                </a:rPr>
                <a:t>behavior</a:t>
              </a:r>
              <a:r>
                <a:rPr lang="en-GB" sz="1200" dirty="0">
                  <a:solidFill>
                    <a:srgbClr val="FFFFFF"/>
                  </a:solidFill>
                  <a:effectLst/>
                  <a:latin typeface="Quicksand" pitchFamily="2" charset="0"/>
                  <a:ea typeface="Calibri" panose="020F0502020204030204" pitchFamily="34" charset="0"/>
                  <a:cs typeface="Arial" panose="020B0604020202020204" pitchFamily="34" charset="0"/>
                </a:rPr>
                <a:t> change</a:t>
              </a:r>
              <a:endParaRPr lang="en-US" sz="1200" dirty="0">
                <a:solidFill>
                  <a:srgbClr val="6B6462"/>
                </a:solidFill>
                <a:effectLst/>
                <a:latin typeface="Quicksand" pitchFamily="2" charset="0"/>
                <a:ea typeface="Calibri" panose="020F0502020204030204" pitchFamily="34" charset="0"/>
                <a:cs typeface="Arial" panose="020B0604020202020204" pitchFamily="34" charset="0"/>
              </a:endParaRPr>
            </a:p>
            <a:p>
              <a:pPr marL="342900" lvl="0" indent="-342900">
                <a:lnSpc>
                  <a:spcPts val="1400"/>
                </a:lnSpc>
                <a:spcAft>
                  <a:spcPts val="400"/>
                </a:spcAft>
                <a:buFont typeface="Symbol" panose="05050102010706020507" pitchFamily="18" charset="2"/>
                <a:buChar char=""/>
              </a:pPr>
              <a:r>
                <a:rPr lang="en-GB" sz="1200" dirty="0">
                  <a:solidFill>
                    <a:srgbClr val="FFFFFF"/>
                  </a:solidFill>
                  <a:effectLst/>
                  <a:latin typeface="Quicksand" pitchFamily="2" charset="0"/>
                  <a:ea typeface="Calibri" panose="020F0502020204030204" pitchFamily="34" charset="0"/>
                  <a:cs typeface="Arial" panose="020B0604020202020204" pitchFamily="34" charset="0"/>
                </a:rPr>
                <a:t>Market and supply side interventions</a:t>
              </a:r>
              <a:endParaRPr lang="en-US" sz="1200" dirty="0">
                <a:solidFill>
                  <a:srgbClr val="6B6462"/>
                </a:solidFill>
                <a:effectLst/>
                <a:latin typeface="Quicksand" pitchFamily="2" charset="0"/>
                <a:ea typeface="Calibri" panose="020F0502020204030204" pitchFamily="34" charset="0"/>
                <a:cs typeface="Arial" panose="020B0604020202020204" pitchFamily="34" charset="0"/>
              </a:endParaRPr>
            </a:p>
            <a:p>
              <a:pPr marL="342900" lvl="0" indent="-342900">
                <a:lnSpc>
                  <a:spcPts val="1400"/>
                </a:lnSpc>
                <a:spcAft>
                  <a:spcPts val="400"/>
                </a:spcAft>
                <a:buFont typeface="Symbol" panose="05050102010706020507" pitchFamily="18" charset="2"/>
                <a:buChar char=""/>
              </a:pPr>
              <a:r>
                <a:rPr lang="en-GB" sz="1200" dirty="0">
                  <a:solidFill>
                    <a:srgbClr val="FFFFFF"/>
                  </a:solidFill>
                  <a:effectLst/>
                  <a:latin typeface="Quicksand" pitchFamily="2" charset="0"/>
                  <a:ea typeface="Calibri" panose="020F0502020204030204" pitchFamily="34" charset="0"/>
                  <a:cs typeface="Arial" panose="020B0604020202020204" pitchFamily="34" charset="0"/>
                </a:rPr>
                <a:t>(Financial) support mechanisms for the most vulnerable</a:t>
              </a:r>
              <a:endParaRPr lang="en-US" sz="1200" dirty="0">
                <a:solidFill>
                  <a:srgbClr val="6B6462"/>
                </a:solidFill>
                <a:effectLst/>
                <a:latin typeface="Quicksand" pitchFamily="2" charset="0"/>
                <a:ea typeface="Calibri" panose="020F0502020204030204" pitchFamily="34" charset="0"/>
                <a:cs typeface="Arial" panose="020B0604020202020204" pitchFamily="34" charset="0"/>
              </a:endParaRPr>
            </a:p>
          </p:txBody>
        </p:sp>
        <p:sp>
          <p:nvSpPr>
            <p:cNvPr id="19" name="Rectangle: Rounded Corners 18">
              <a:extLst>
                <a:ext uri="{FF2B5EF4-FFF2-40B4-BE49-F238E27FC236}">
                  <a16:creationId xmlns:a16="http://schemas.microsoft.com/office/drawing/2014/main" id="{B8DFB4C8-093A-4EC2-8C8E-BC5F580CD003}"/>
                </a:ext>
              </a:extLst>
            </p:cNvPr>
            <p:cNvSpPr/>
            <p:nvPr/>
          </p:nvSpPr>
          <p:spPr>
            <a:xfrm>
              <a:off x="6350" y="2374747"/>
              <a:ext cx="5897706" cy="274320"/>
            </a:xfrm>
            <a:prstGeom prst="roundRect">
              <a:avLst/>
            </a:prstGeom>
            <a:solidFill>
              <a:srgbClr val="8C8985"/>
            </a:solidFill>
            <a:ln>
              <a:solidFill>
                <a:srgbClr val="8C8985"/>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800"/>
                </a:spcAft>
              </a:pPr>
              <a:r>
                <a:rPr lang="en-US" sz="1200">
                  <a:solidFill>
                    <a:srgbClr val="FFFFFF"/>
                  </a:solidFill>
                  <a:effectLst/>
                  <a:latin typeface="Quicksand" pitchFamily="2" charset="0"/>
                  <a:ea typeface="Gill Sans"/>
                  <a:cs typeface="Gill Sans"/>
                </a:rPr>
                <a:t>Adaptive management</a:t>
              </a:r>
              <a:endParaRPr lang="en-US" sz="1200">
                <a:solidFill>
                  <a:srgbClr val="6B6462"/>
                </a:solidFill>
                <a:effectLst/>
                <a:latin typeface="Quicksand" pitchFamily="2" charset="0"/>
                <a:ea typeface="Gill Sans"/>
                <a:cs typeface="Gill Sans"/>
              </a:endParaRPr>
            </a:p>
          </p:txBody>
        </p:sp>
        <p:sp>
          <p:nvSpPr>
            <p:cNvPr id="20" name="Rectangle: Rounded Corners 19">
              <a:extLst>
                <a:ext uri="{FF2B5EF4-FFF2-40B4-BE49-F238E27FC236}">
                  <a16:creationId xmlns:a16="http://schemas.microsoft.com/office/drawing/2014/main" id="{91C07A68-5221-4472-A075-F750A4FC96E5}"/>
                </a:ext>
              </a:extLst>
            </p:cNvPr>
            <p:cNvSpPr/>
            <p:nvPr/>
          </p:nvSpPr>
          <p:spPr>
            <a:xfrm>
              <a:off x="6350" y="2050896"/>
              <a:ext cx="5897881" cy="258075"/>
            </a:xfrm>
            <a:prstGeom prst="roundRect">
              <a:avLst/>
            </a:prstGeom>
            <a:solidFill>
              <a:srgbClr val="8C8985"/>
            </a:solidFill>
            <a:ln>
              <a:solidFill>
                <a:srgbClr val="8C8985"/>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800"/>
                </a:spcAft>
              </a:pPr>
              <a:r>
                <a:rPr lang="en-US" sz="1200" dirty="0">
                  <a:solidFill>
                    <a:srgbClr val="FFFFFF"/>
                  </a:solidFill>
                  <a:effectLst/>
                  <a:latin typeface="Quicksand" pitchFamily="2" charset="0"/>
                  <a:ea typeface="Gill Sans"/>
                  <a:cs typeface="Gill Sans"/>
                </a:rPr>
                <a:t>System strengthening</a:t>
              </a:r>
              <a:endParaRPr lang="en-US" sz="1200" dirty="0">
                <a:solidFill>
                  <a:srgbClr val="6B6462"/>
                </a:solidFill>
                <a:effectLst/>
                <a:latin typeface="Quicksand" pitchFamily="2" charset="0"/>
                <a:ea typeface="Gill Sans"/>
                <a:cs typeface="Gill Sans"/>
              </a:endParaRPr>
            </a:p>
          </p:txBody>
        </p:sp>
        <p:sp>
          <p:nvSpPr>
            <p:cNvPr id="21" name="Rectangle: Rounded Corners 20">
              <a:extLst>
                <a:ext uri="{FF2B5EF4-FFF2-40B4-BE49-F238E27FC236}">
                  <a16:creationId xmlns:a16="http://schemas.microsoft.com/office/drawing/2014/main" id="{DE0BA287-8DB2-45AE-B3E6-ECE9BF081199}"/>
                </a:ext>
              </a:extLst>
            </p:cNvPr>
            <p:cNvSpPr/>
            <p:nvPr/>
          </p:nvSpPr>
          <p:spPr>
            <a:xfrm>
              <a:off x="0" y="2717647"/>
              <a:ext cx="5897880" cy="274320"/>
            </a:xfrm>
            <a:prstGeom prst="roundRect">
              <a:avLst/>
            </a:prstGeom>
            <a:solidFill>
              <a:srgbClr val="8C8985"/>
            </a:solidFill>
            <a:ln>
              <a:solidFill>
                <a:srgbClr val="8C8985"/>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800"/>
                </a:spcAft>
              </a:pPr>
              <a:r>
                <a:rPr lang="en-US" sz="1200" dirty="0">
                  <a:solidFill>
                    <a:srgbClr val="FFFFFF"/>
                  </a:solidFill>
                  <a:effectLst/>
                  <a:latin typeface="Quicksand" pitchFamily="2" charset="0"/>
                  <a:ea typeface="Gill Sans"/>
                  <a:cs typeface="Gill Sans"/>
                </a:rPr>
                <a:t>GESI mainstreaming</a:t>
              </a:r>
              <a:endParaRPr lang="en-US" sz="1200" dirty="0">
                <a:solidFill>
                  <a:srgbClr val="6B6462"/>
                </a:solidFill>
                <a:effectLst/>
                <a:latin typeface="Quicksand" pitchFamily="2" charset="0"/>
                <a:ea typeface="Gill Sans"/>
                <a:cs typeface="Gill Sans"/>
              </a:endParaRPr>
            </a:p>
          </p:txBody>
        </p:sp>
      </p:grpSp>
      <p:sp>
        <p:nvSpPr>
          <p:cNvPr id="2" name="TextBox 1">
            <a:extLst>
              <a:ext uri="{FF2B5EF4-FFF2-40B4-BE49-F238E27FC236}">
                <a16:creationId xmlns:a16="http://schemas.microsoft.com/office/drawing/2014/main" id="{CC372C26-8DB7-468E-AD1B-11E40E00811C}"/>
              </a:ext>
            </a:extLst>
          </p:cNvPr>
          <p:cNvSpPr txBox="1"/>
          <p:nvPr/>
        </p:nvSpPr>
        <p:spPr>
          <a:xfrm>
            <a:off x="142407" y="3537679"/>
            <a:ext cx="999569" cy="769441"/>
          </a:xfrm>
          <a:prstGeom prst="rect">
            <a:avLst/>
          </a:prstGeom>
          <a:noFill/>
        </p:spPr>
        <p:txBody>
          <a:bodyPr wrap="square" rtlCol="0">
            <a:spAutoFit/>
          </a:bodyPr>
          <a:lstStyle/>
          <a:p>
            <a:r>
              <a:rPr lang="en-US" sz="1100" b="1" dirty="0">
                <a:latin typeface="Quicksand" pitchFamily="2" charset="0"/>
              </a:rPr>
              <a:t>Components activities and processes</a:t>
            </a:r>
          </a:p>
        </p:txBody>
      </p:sp>
    </p:spTree>
    <p:extLst>
      <p:ext uri="{BB962C8B-B14F-4D97-AF65-F5344CB8AC3E}">
        <p14:creationId xmlns:p14="http://schemas.microsoft.com/office/powerpoint/2010/main" val="2654793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166C319-57D0-DB9C-4A90-1EA5D306D586}"/>
              </a:ext>
            </a:extLst>
          </p:cNvPr>
          <p:cNvSpPr>
            <a:spLocks noGrp="1"/>
          </p:cNvSpPr>
          <p:nvPr>
            <p:ph type="ctrTitle"/>
          </p:nvPr>
        </p:nvSpPr>
        <p:spPr/>
        <p:txBody>
          <a:bodyPr>
            <a:normAutofit fontScale="90000"/>
          </a:bodyPr>
          <a:lstStyle/>
          <a:p>
            <a:r>
              <a:rPr lang="en-GB" dirty="0"/>
              <a:t>An area-wide approach </a:t>
            </a:r>
            <a:br>
              <a:rPr lang="en-GB" dirty="0"/>
            </a:br>
            <a:r>
              <a:rPr lang="en-GB" dirty="0"/>
              <a:t>for programming rural sanitation</a:t>
            </a:r>
          </a:p>
        </p:txBody>
      </p:sp>
      <p:sp>
        <p:nvSpPr>
          <p:cNvPr id="7" name="Subtitle 6">
            <a:extLst>
              <a:ext uri="{FF2B5EF4-FFF2-40B4-BE49-F238E27FC236}">
                <a16:creationId xmlns:a16="http://schemas.microsoft.com/office/drawing/2014/main" id="{0301BC9A-F195-A9B2-D315-D981F424012E}"/>
              </a:ext>
            </a:extLst>
          </p:cNvPr>
          <p:cNvSpPr>
            <a:spLocks noGrp="1"/>
          </p:cNvSpPr>
          <p:nvPr>
            <p:ph type="subTitle" idx="1"/>
          </p:nvPr>
        </p:nvSpPr>
        <p:spPr>
          <a:xfrm>
            <a:off x="1367887" y="3602038"/>
            <a:ext cx="8319809" cy="1127847"/>
          </a:xfrm>
        </p:spPr>
        <p:txBody>
          <a:bodyPr/>
          <a:lstStyle/>
          <a:p>
            <a:r>
              <a:rPr lang="en-GB" dirty="0"/>
              <a:t>Understanding core components and change pathways</a:t>
            </a:r>
          </a:p>
        </p:txBody>
      </p:sp>
      <p:sp>
        <p:nvSpPr>
          <p:cNvPr id="8" name="Footer Placeholder 7">
            <a:extLst>
              <a:ext uri="{FF2B5EF4-FFF2-40B4-BE49-F238E27FC236}">
                <a16:creationId xmlns:a16="http://schemas.microsoft.com/office/drawing/2014/main" id="{513315F5-271F-7F92-6581-168BC31B838C}"/>
              </a:ext>
            </a:extLst>
          </p:cNvPr>
          <p:cNvSpPr>
            <a:spLocks noGrp="1"/>
          </p:cNvSpPr>
          <p:nvPr>
            <p:ph type="ftr" sz="quarter" idx="11"/>
          </p:nvPr>
        </p:nvSpPr>
        <p:spPr/>
        <p:txBody>
          <a:bodyPr/>
          <a:lstStyle/>
          <a:p>
            <a:r>
              <a:rPr lang="en-GB" dirty="0"/>
              <a:t>USAID </a:t>
            </a:r>
            <a:r>
              <a:rPr lang="en-GB" dirty="0" err="1"/>
              <a:t>WASHPaLS</a:t>
            </a:r>
            <a:r>
              <a:rPr lang="en-GB" dirty="0"/>
              <a:t> #2</a:t>
            </a:r>
          </a:p>
          <a:p>
            <a:r>
              <a:rPr lang="en-GB" dirty="0"/>
              <a:t>FINISH Mondial</a:t>
            </a:r>
          </a:p>
        </p:txBody>
      </p:sp>
      <p:pic>
        <p:nvPicPr>
          <p:cNvPr id="9" name="Picture 8">
            <a:extLst>
              <a:ext uri="{FF2B5EF4-FFF2-40B4-BE49-F238E27FC236}">
                <a16:creationId xmlns:a16="http://schemas.microsoft.com/office/drawing/2014/main" id="{D691156F-1EBA-3750-0971-6785F81AE0C2}"/>
              </a:ext>
            </a:extLst>
          </p:cNvPr>
          <p:cNvPicPr>
            <a:picLocks noChangeAspect="1"/>
          </p:cNvPicPr>
          <p:nvPr/>
        </p:nvPicPr>
        <p:blipFill>
          <a:blip r:embed="rId2"/>
          <a:stretch>
            <a:fillRect/>
          </a:stretch>
        </p:blipFill>
        <p:spPr>
          <a:xfrm>
            <a:off x="6212289" y="5090161"/>
            <a:ext cx="2771074" cy="834389"/>
          </a:xfrm>
          <a:prstGeom prst="rect">
            <a:avLst/>
          </a:prstGeom>
        </p:spPr>
      </p:pic>
      <p:pic>
        <p:nvPicPr>
          <p:cNvPr id="11" name="Content Placeholder 6">
            <a:extLst>
              <a:ext uri="{FF2B5EF4-FFF2-40B4-BE49-F238E27FC236}">
                <a16:creationId xmlns:a16="http://schemas.microsoft.com/office/drawing/2014/main" id="{0D220760-220A-065A-2713-320AF210B357}"/>
              </a:ext>
            </a:extLst>
          </p:cNvPr>
          <p:cNvPicPr>
            <a:picLocks/>
          </p:cNvPicPr>
          <p:nvPr/>
        </p:nvPicPr>
        <p:blipFill>
          <a:blip r:embed="rId3"/>
          <a:stretch>
            <a:fillRect/>
          </a:stretch>
        </p:blipFill>
        <p:spPr>
          <a:xfrm>
            <a:off x="3001502" y="4992131"/>
            <a:ext cx="2808750" cy="1092604"/>
          </a:xfrm>
          <a:prstGeom prst="rect">
            <a:avLst/>
          </a:prstGeom>
        </p:spPr>
      </p:pic>
    </p:spTree>
    <p:extLst>
      <p:ext uri="{BB962C8B-B14F-4D97-AF65-F5344CB8AC3E}">
        <p14:creationId xmlns:p14="http://schemas.microsoft.com/office/powerpoint/2010/main" val="3854490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A12A9027-492B-468F-90E5-F1E42BA23737}"/>
              </a:ext>
            </a:extLst>
          </p:cNvPr>
          <p:cNvGraphicFramePr/>
          <p:nvPr>
            <p:extLst>
              <p:ext uri="{D42A27DB-BD31-4B8C-83A1-F6EECF244321}">
                <p14:modId xmlns:p14="http://schemas.microsoft.com/office/powerpoint/2010/main" val="2323484132"/>
              </p:ext>
            </p:extLst>
          </p:nvPr>
        </p:nvGraphicFramePr>
        <p:xfrm>
          <a:off x="1358692" y="-168120"/>
          <a:ext cx="10591528" cy="24391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 name="Group 2">
            <a:extLst>
              <a:ext uri="{FF2B5EF4-FFF2-40B4-BE49-F238E27FC236}">
                <a16:creationId xmlns:a16="http://schemas.microsoft.com/office/drawing/2014/main" id="{F763AC23-DD22-49F0-979B-196CDC1C48C0}"/>
              </a:ext>
            </a:extLst>
          </p:cNvPr>
          <p:cNvGrpSpPr/>
          <p:nvPr/>
        </p:nvGrpSpPr>
        <p:grpSpPr>
          <a:xfrm>
            <a:off x="1358692" y="2190286"/>
            <a:ext cx="10654343" cy="2477427"/>
            <a:chOff x="1358692" y="2094575"/>
            <a:chExt cx="10654343" cy="2477427"/>
          </a:xfrm>
        </p:grpSpPr>
        <p:sp>
          <p:nvSpPr>
            <p:cNvPr id="15" name="Rectangle: Rounded Corners 14">
              <a:extLst>
                <a:ext uri="{FF2B5EF4-FFF2-40B4-BE49-F238E27FC236}">
                  <a16:creationId xmlns:a16="http://schemas.microsoft.com/office/drawing/2014/main" id="{53A1D041-1E1C-474D-A01D-99172EB0EC00}"/>
                </a:ext>
              </a:extLst>
            </p:cNvPr>
            <p:cNvSpPr/>
            <p:nvPr/>
          </p:nvSpPr>
          <p:spPr>
            <a:xfrm>
              <a:off x="1358692" y="2097073"/>
              <a:ext cx="3463977" cy="1559719"/>
            </a:xfrm>
            <a:prstGeom prst="roundRect">
              <a:avLst/>
            </a:prstGeom>
            <a:solidFill>
              <a:srgbClr val="8C8985"/>
            </a:solidFill>
            <a:ln>
              <a:solidFill>
                <a:srgbClr val="8C8985"/>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600"/>
                </a:spcAft>
              </a:pPr>
              <a:r>
                <a:rPr lang="en-US" sz="1000" b="1" dirty="0">
                  <a:solidFill>
                    <a:srgbClr val="FFFFFF"/>
                  </a:solidFill>
                  <a:effectLst/>
                  <a:latin typeface="Quicksand" pitchFamily="2" charset="0"/>
                  <a:ea typeface="Gill Sans"/>
                  <a:cs typeface="Gill Sans"/>
                </a:rPr>
                <a:t>National system building blocks:</a:t>
              </a:r>
              <a:endParaRPr lang="en-US" sz="1000" dirty="0">
                <a:solidFill>
                  <a:srgbClr val="6B6462"/>
                </a:solidFill>
                <a:effectLst/>
                <a:latin typeface="Quicksand" pitchFamily="2" charset="0"/>
                <a:ea typeface="Gill Sans"/>
                <a:cs typeface="Gill Sans"/>
              </a:endParaRPr>
            </a:p>
            <a:p>
              <a:pPr marL="342900" lvl="0" indent="-342900">
                <a:lnSpc>
                  <a:spcPts val="1400"/>
                </a:lnSpc>
                <a:spcAft>
                  <a:spcPts val="400"/>
                </a:spcAft>
                <a:buFont typeface="Symbol" panose="05050102010706020507" pitchFamily="18" charset="2"/>
                <a:buChar char=""/>
              </a:pPr>
              <a:r>
                <a:rPr lang="en-GB" sz="1000" dirty="0">
                  <a:solidFill>
                    <a:srgbClr val="FFFFFF"/>
                  </a:solidFill>
                  <a:effectLst/>
                  <a:latin typeface="Quicksand" pitchFamily="2" charset="0"/>
                  <a:ea typeface="Calibri" panose="020F0502020204030204" pitchFamily="34" charset="0"/>
                  <a:cs typeface="Arial" panose="020B0604020202020204" pitchFamily="34" charset="0"/>
                </a:rPr>
                <a:t>Sector policies and strategies</a:t>
              </a:r>
              <a:endParaRPr lang="en-US" sz="1000" dirty="0">
                <a:solidFill>
                  <a:srgbClr val="6B6462"/>
                </a:solidFill>
                <a:effectLst/>
                <a:latin typeface="Quicksand" pitchFamily="2" charset="0"/>
                <a:ea typeface="Calibri" panose="020F0502020204030204" pitchFamily="34" charset="0"/>
                <a:cs typeface="Arial" panose="020B0604020202020204" pitchFamily="34" charset="0"/>
              </a:endParaRPr>
            </a:p>
            <a:p>
              <a:pPr marL="342900" lvl="0" indent="-342900">
                <a:lnSpc>
                  <a:spcPts val="1400"/>
                </a:lnSpc>
                <a:spcAft>
                  <a:spcPts val="400"/>
                </a:spcAft>
                <a:buFont typeface="Symbol" panose="05050102010706020507" pitchFamily="18" charset="2"/>
                <a:buChar char=""/>
              </a:pPr>
              <a:r>
                <a:rPr lang="en-GB" sz="1000" dirty="0">
                  <a:solidFill>
                    <a:srgbClr val="FFFFFF"/>
                  </a:solidFill>
                  <a:effectLst/>
                  <a:latin typeface="Quicksand" pitchFamily="2" charset="0"/>
                  <a:ea typeface="Calibri" panose="020F0502020204030204" pitchFamily="34" charset="0"/>
                  <a:cs typeface="Arial" panose="020B0604020202020204" pitchFamily="34" charset="0"/>
                </a:rPr>
                <a:t>Planning, monitoring, and financing</a:t>
              </a:r>
              <a:endParaRPr lang="en-US" sz="1000" dirty="0">
                <a:solidFill>
                  <a:srgbClr val="6B6462"/>
                </a:solidFill>
                <a:effectLst/>
                <a:latin typeface="Quicksand" pitchFamily="2" charset="0"/>
                <a:ea typeface="Calibri" panose="020F0502020204030204" pitchFamily="34" charset="0"/>
                <a:cs typeface="Arial" panose="020B0604020202020204" pitchFamily="34" charset="0"/>
              </a:endParaRPr>
            </a:p>
            <a:p>
              <a:pPr marL="342900" lvl="0" indent="-342900">
                <a:lnSpc>
                  <a:spcPts val="1400"/>
                </a:lnSpc>
                <a:spcAft>
                  <a:spcPts val="400"/>
                </a:spcAft>
                <a:buFont typeface="Symbol" panose="05050102010706020507" pitchFamily="18" charset="2"/>
                <a:buChar char=""/>
              </a:pPr>
              <a:r>
                <a:rPr lang="en-GB" sz="1000" dirty="0">
                  <a:solidFill>
                    <a:srgbClr val="FFFFFF"/>
                  </a:solidFill>
                  <a:effectLst/>
                  <a:latin typeface="Quicksand" pitchFamily="2" charset="0"/>
                  <a:ea typeface="Calibri" panose="020F0502020204030204" pitchFamily="34" charset="0"/>
                  <a:cs typeface="Arial" panose="020B0604020202020204" pitchFamily="34" charset="0"/>
                </a:rPr>
                <a:t>Legislation, regulation, standards, and guidelines</a:t>
              </a:r>
              <a:endParaRPr lang="en-US" sz="1000" dirty="0">
                <a:solidFill>
                  <a:srgbClr val="6B6462"/>
                </a:solidFill>
                <a:effectLst/>
                <a:latin typeface="Quicksand" pitchFamily="2" charset="0"/>
                <a:ea typeface="Calibri" panose="020F0502020204030204" pitchFamily="34" charset="0"/>
                <a:cs typeface="Arial" panose="020B0604020202020204" pitchFamily="34" charset="0"/>
              </a:endParaRPr>
            </a:p>
            <a:p>
              <a:pPr marL="342900" lvl="0" indent="-342900">
                <a:lnSpc>
                  <a:spcPts val="1400"/>
                </a:lnSpc>
                <a:spcAft>
                  <a:spcPts val="400"/>
                </a:spcAft>
                <a:buFont typeface="Symbol" panose="05050102010706020507" pitchFamily="18" charset="2"/>
                <a:buChar char=""/>
              </a:pPr>
              <a:r>
                <a:rPr lang="en-GB" sz="1000" dirty="0">
                  <a:solidFill>
                    <a:srgbClr val="FFFFFF"/>
                  </a:solidFill>
                  <a:effectLst/>
                  <a:latin typeface="Quicksand" pitchFamily="2" charset="0"/>
                  <a:ea typeface="Calibri" panose="020F0502020204030204" pitchFamily="34" charset="0"/>
                  <a:cs typeface="Arial" panose="020B0604020202020204" pitchFamily="34" charset="0"/>
                </a:rPr>
                <a:t>Capacity development and technical assistance</a:t>
              </a:r>
              <a:endParaRPr lang="en-US" sz="1000" dirty="0">
                <a:solidFill>
                  <a:srgbClr val="6B6462"/>
                </a:solidFill>
                <a:effectLst/>
                <a:latin typeface="Quicksand" pitchFamily="2" charset="0"/>
                <a:ea typeface="Calibri" panose="020F0502020204030204" pitchFamily="34" charset="0"/>
                <a:cs typeface="Arial" panose="020B0604020202020204" pitchFamily="34" charset="0"/>
              </a:endParaRPr>
            </a:p>
            <a:p>
              <a:pPr marL="342900" lvl="0" indent="-342900">
                <a:lnSpc>
                  <a:spcPts val="1400"/>
                </a:lnSpc>
                <a:spcAft>
                  <a:spcPts val="400"/>
                </a:spcAft>
                <a:buFont typeface="Symbol" panose="05050102010706020507" pitchFamily="18" charset="2"/>
                <a:buChar char=""/>
              </a:pPr>
              <a:r>
                <a:rPr lang="en-GB" sz="1000" dirty="0">
                  <a:solidFill>
                    <a:srgbClr val="FFFFFF"/>
                  </a:solidFill>
                  <a:effectLst/>
                  <a:latin typeface="Quicksand" pitchFamily="2" charset="0"/>
                  <a:ea typeface="Calibri" panose="020F0502020204030204" pitchFamily="34" charset="0"/>
                  <a:cs typeface="Arial" panose="020B0604020202020204" pitchFamily="34" charset="0"/>
                </a:rPr>
                <a:t>Functioning market systems</a:t>
              </a:r>
              <a:endParaRPr lang="en-US" sz="1000" dirty="0">
                <a:solidFill>
                  <a:srgbClr val="6B6462"/>
                </a:solidFill>
                <a:effectLst/>
                <a:latin typeface="Quicksand" pitchFamily="2" charset="0"/>
                <a:ea typeface="Calibri" panose="020F0502020204030204" pitchFamily="34" charset="0"/>
                <a:cs typeface="Arial" panose="020B0604020202020204" pitchFamily="34" charset="0"/>
              </a:endParaRPr>
            </a:p>
          </p:txBody>
        </p:sp>
        <p:sp>
          <p:nvSpPr>
            <p:cNvPr id="18" name="Rectangle: Rounded Corners 17">
              <a:extLst>
                <a:ext uri="{FF2B5EF4-FFF2-40B4-BE49-F238E27FC236}">
                  <a16:creationId xmlns:a16="http://schemas.microsoft.com/office/drawing/2014/main" id="{080E85AB-2811-4C43-AB26-294670FB9BA5}"/>
                </a:ext>
              </a:extLst>
            </p:cNvPr>
            <p:cNvSpPr/>
            <p:nvPr/>
          </p:nvSpPr>
          <p:spPr>
            <a:xfrm>
              <a:off x="8384818" y="2094575"/>
              <a:ext cx="3565402" cy="1559720"/>
            </a:xfrm>
            <a:prstGeom prst="roundRect">
              <a:avLst/>
            </a:prstGeom>
            <a:solidFill>
              <a:schemeClr val="tx2">
                <a:lumMod val="75000"/>
              </a:schemeClr>
            </a:solidFill>
            <a:ln>
              <a:solidFill>
                <a:schemeClr val="tx2">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600"/>
                </a:spcAft>
              </a:pPr>
              <a:r>
                <a:rPr lang="en-US" sz="1000" b="1" dirty="0">
                  <a:solidFill>
                    <a:srgbClr val="FFFFFF"/>
                  </a:solidFill>
                  <a:effectLst/>
                  <a:latin typeface="Quicksand" pitchFamily="2" charset="0"/>
                  <a:ea typeface="Gill Sans"/>
                  <a:cs typeface="Gill Sans"/>
                </a:rPr>
                <a:t>Sanitation and hygiene interventions:</a:t>
              </a:r>
              <a:endParaRPr lang="en-US" sz="1000" dirty="0">
                <a:solidFill>
                  <a:srgbClr val="6B6462"/>
                </a:solidFill>
                <a:effectLst/>
                <a:latin typeface="Quicksand" pitchFamily="2" charset="0"/>
                <a:ea typeface="Gill Sans"/>
                <a:cs typeface="Gill Sans"/>
              </a:endParaRPr>
            </a:p>
            <a:p>
              <a:pPr marL="342900" lvl="0" indent="-342900">
                <a:lnSpc>
                  <a:spcPts val="1400"/>
                </a:lnSpc>
                <a:spcAft>
                  <a:spcPts val="400"/>
                </a:spcAft>
                <a:buFont typeface="Symbol" panose="05050102010706020507" pitchFamily="18" charset="2"/>
                <a:buChar char=""/>
              </a:pPr>
              <a:r>
                <a:rPr lang="en-GB" sz="1000" dirty="0">
                  <a:solidFill>
                    <a:srgbClr val="FFFFFF"/>
                  </a:solidFill>
                  <a:effectLst/>
                  <a:latin typeface="Quicksand" pitchFamily="2" charset="0"/>
                  <a:ea typeface="Calibri" panose="020F0502020204030204" pitchFamily="34" charset="0"/>
                  <a:cs typeface="Arial" panose="020B0604020202020204" pitchFamily="34" charset="0"/>
                </a:rPr>
                <a:t>Community mobilization, demand creation, and </a:t>
              </a:r>
              <a:r>
                <a:rPr lang="en-GB" sz="1000" dirty="0" err="1">
                  <a:solidFill>
                    <a:srgbClr val="FFFFFF"/>
                  </a:solidFill>
                  <a:effectLst/>
                  <a:latin typeface="Quicksand" pitchFamily="2" charset="0"/>
                  <a:ea typeface="Calibri" panose="020F0502020204030204" pitchFamily="34" charset="0"/>
                  <a:cs typeface="Arial" panose="020B0604020202020204" pitchFamily="34" charset="0"/>
                </a:rPr>
                <a:t>behavior</a:t>
              </a:r>
              <a:r>
                <a:rPr lang="en-GB" sz="1000" dirty="0">
                  <a:solidFill>
                    <a:srgbClr val="FFFFFF"/>
                  </a:solidFill>
                  <a:effectLst/>
                  <a:latin typeface="Quicksand" pitchFamily="2" charset="0"/>
                  <a:ea typeface="Calibri" panose="020F0502020204030204" pitchFamily="34" charset="0"/>
                  <a:cs typeface="Arial" panose="020B0604020202020204" pitchFamily="34" charset="0"/>
                </a:rPr>
                <a:t> change</a:t>
              </a:r>
              <a:endParaRPr lang="en-US" sz="1000" dirty="0">
                <a:solidFill>
                  <a:srgbClr val="6B6462"/>
                </a:solidFill>
                <a:effectLst/>
                <a:latin typeface="Quicksand" pitchFamily="2" charset="0"/>
                <a:ea typeface="Calibri" panose="020F0502020204030204" pitchFamily="34" charset="0"/>
                <a:cs typeface="Arial" panose="020B0604020202020204" pitchFamily="34" charset="0"/>
              </a:endParaRPr>
            </a:p>
            <a:p>
              <a:pPr marL="342900" lvl="0" indent="-342900">
                <a:lnSpc>
                  <a:spcPts val="1400"/>
                </a:lnSpc>
                <a:spcAft>
                  <a:spcPts val="400"/>
                </a:spcAft>
                <a:buFont typeface="Symbol" panose="05050102010706020507" pitchFamily="18" charset="2"/>
                <a:buChar char=""/>
              </a:pPr>
              <a:r>
                <a:rPr lang="en-GB" sz="1000" dirty="0">
                  <a:solidFill>
                    <a:srgbClr val="FFFFFF"/>
                  </a:solidFill>
                  <a:effectLst/>
                  <a:latin typeface="Quicksand" pitchFamily="2" charset="0"/>
                  <a:ea typeface="Calibri" panose="020F0502020204030204" pitchFamily="34" charset="0"/>
                  <a:cs typeface="Arial" panose="020B0604020202020204" pitchFamily="34" charset="0"/>
                </a:rPr>
                <a:t>Market and supply side interventions</a:t>
              </a:r>
              <a:endParaRPr lang="en-US" sz="1000" dirty="0">
                <a:solidFill>
                  <a:srgbClr val="6B6462"/>
                </a:solidFill>
                <a:effectLst/>
                <a:latin typeface="Quicksand" pitchFamily="2" charset="0"/>
                <a:ea typeface="Calibri" panose="020F0502020204030204" pitchFamily="34" charset="0"/>
                <a:cs typeface="Arial" panose="020B0604020202020204" pitchFamily="34" charset="0"/>
              </a:endParaRPr>
            </a:p>
            <a:p>
              <a:pPr marL="342900" lvl="0" indent="-342900">
                <a:lnSpc>
                  <a:spcPts val="1400"/>
                </a:lnSpc>
                <a:spcAft>
                  <a:spcPts val="400"/>
                </a:spcAft>
                <a:buFont typeface="Symbol" panose="05050102010706020507" pitchFamily="18" charset="2"/>
                <a:buChar char=""/>
              </a:pPr>
              <a:r>
                <a:rPr lang="en-GB" sz="1000" dirty="0">
                  <a:solidFill>
                    <a:srgbClr val="FFFFFF"/>
                  </a:solidFill>
                  <a:effectLst/>
                  <a:latin typeface="Quicksand" pitchFamily="2" charset="0"/>
                  <a:ea typeface="Calibri" panose="020F0502020204030204" pitchFamily="34" charset="0"/>
                  <a:cs typeface="Arial" panose="020B0604020202020204" pitchFamily="34" charset="0"/>
                </a:rPr>
                <a:t>(Financial) support mechanisms for the most vulnerable</a:t>
              </a:r>
              <a:endParaRPr lang="en-US" sz="1000" dirty="0">
                <a:solidFill>
                  <a:srgbClr val="6B6462"/>
                </a:solidFill>
                <a:effectLst/>
                <a:latin typeface="Quicksand" pitchFamily="2" charset="0"/>
                <a:ea typeface="Calibri" panose="020F0502020204030204" pitchFamily="34" charset="0"/>
                <a:cs typeface="Arial" panose="020B0604020202020204" pitchFamily="34" charset="0"/>
              </a:endParaRPr>
            </a:p>
          </p:txBody>
        </p:sp>
        <p:sp>
          <p:nvSpPr>
            <p:cNvPr id="19" name="Rectangle: Rounded Corners 18">
              <a:extLst>
                <a:ext uri="{FF2B5EF4-FFF2-40B4-BE49-F238E27FC236}">
                  <a16:creationId xmlns:a16="http://schemas.microsoft.com/office/drawing/2014/main" id="{B8DFB4C8-093A-4EC2-8C8E-BC5F580CD003}"/>
                </a:ext>
              </a:extLst>
            </p:cNvPr>
            <p:cNvSpPr/>
            <p:nvPr/>
          </p:nvSpPr>
          <p:spPr>
            <a:xfrm>
              <a:off x="1359320" y="4030730"/>
              <a:ext cx="10653713" cy="234176"/>
            </a:xfrm>
            <a:prstGeom prst="roundRect">
              <a:avLst/>
            </a:prstGeom>
            <a:solidFill>
              <a:srgbClr val="8C8985"/>
            </a:solidFill>
            <a:ln>
              <a:solidFill>
                <a:srgbClr val="8C8985"/>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800"/>
                </a:spcAft>
              </a:pPr>
              <a:r>
                <a:rPr lang="en-US" sz="1000" dirty="0">
                  <a:solidFill>
                    <a:srgbClr val="FFFFFF"/>
                  </a:solidFill>
                  <a:effectLst/>
                  <a:latin typeface="Quicksand" pitchFamily="2" charset="0"/>
                  <a:ea typeface="Gill Sans"/>
                  <a:cs typeface="Gill Sans"/>
                </a:rPr>
                <a:t>Adaptive management</a:t>
              </a:r>
              <a:endParaRPr lang="en-US" sz="1000" dirty="0">
                <a:solidFill>
                  <a:srgbClr val="6B6462"/>
                </a:solidFill>
                <a:effectLst/>
                <a:latin typeface="Quicksand" pitchFamily="2" charset="0"/>
                <a:ea typeface="Gill Sans"/>
                <a:cs typeface="Gill Sans"/>
              </a:endParaRPr>
            </a:p>
          </p:txBody>
        </p:sp>
        <p:sp>
          <p:nvSpPr>
            <p:cNvPr id="20" name="Rectangle: Rounded Corners 19">
              <a:extLst>
                <a:ext uri="{FF2B5EF4-FFF2-40B4-BE49-F238E27FC236}">
                  <a16:creationId xmlns:a16="http://schemas.microsoft.com/office/drawing/2014/main" id="{91C07A68-5221-4472-A075-F750A4FC96E5}"/>
                </a:ext>
              </a:extLst>
            </p:cNvPr>
            <p:cNvSpPr/>
            <p:nvPr/>
          </p:nvSpPr>
          <p:spPr>
            <a:xfrm>
              <a:off x="1359006" y="3724162"/>
              <a:ext cx="10654029" cy="234176"/>
            </a:xfrm>
            <a:prstGeom prst="roundRect">
              <a:avLst/>
            </a:prstGeom>
            <a:solidFill>
              <a:srgbClr val="8C8985"/>
            </a:solidFill>
            <a:ln>
              <a:solidFill>
                <a:srgbClr val="8C8985"/>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800"/>
                </a:spcAft>
              </a:pPr>
              <a:r>
                <a:rPr lang="en-US" sz="1000" dirty="0">
                  <a:solidFill>
                    <a:srgbClr val="FFFFFF"/>
                  </a:solidFill>
                  <a:effectLst/>
                  <a:latin typeface="Quicksand" pitchFamily="2" charset="0"/>
                  <a:ea typeface="Gill Sans"/>
                  <a:cs typeface="Gill Sans"/>
                </a:rPr>
                <a:t>System strengthening</a:t>
              </a:r>
              <a:endParaRPr lang="en-US" sz="1000" dirty="0">
                <a:solidFill>
                  <a:srgbClr val="6B6462"/>
                </a:solidFill>
                <a:effectLst/>
                <a:latin typeface="Quicksand" pitchFamily="2" charset="0"/>
                <a:ea typeface="Gill Sans"/>
                <a:cs typeface="Gill Sans"/>
              </a:endParaRPr>
            </a:p>
          </p:txBody>
        </p:sp>
        <p:sp>
          <p:nvSpPr>
            <p:cNvPr id="21" name="Rectangle: Rounded Corners 20">
              <a:extLst>
                <a:ext uri="{FF2B5EF4-FFF2-40B4-BE49-F238E27FC236}">
                  <a16:creationId xmlns:a16="http://schemas.microsoft.com/office/drawing/2014/main" id="{DE0BA287-8DB2-45AE-B3E6-ECE9BF081199}"/>
                </a:ext>
              </a:extLst>
            </p:cNvPr>
            <p:cNvSpPr/>
            <p:nvPr/>
          </p:nvSpPr>
          <p:spPr>
            <a:xfrm>
              <a:off x="1358692" y="4341404"/>
              <a:ext cx="10654027" cy="230598"/>
            </a:xfrm>
            <a:prstGeom prst="roundRect">
              <a:avLst/>
            </a:prstGeom>
            <a:solidFill>
              <a:srgbClr val="8C8985"/>
            </a:solidFill>
            <a:ln>
              <a:solidFill>
                <a:srgbClr val="8C8985"/>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800"/>
                </a:spcAft>
              </a:pPr>
              <a:r>
                <a:rPr lang="en-US" sz="1000" dirty="0">
                  <a:solidFill>
                    <a:srgbClr val="FFFFFF"/>
                  </a:solidFill>
                  <a:effectLst/>
                  <a:latin typeface="Quicksand" pitchFamily="2" charset="0"/>
                  <a:ea typeface="Gill Sans"/>
                  <a:cs typeface="Gill Sans"/>
                </a:rPr>
                <a:t>GESI mainstreaming</a:t>
              </a:r>
              <a:endParaRPr lang="en-US" sz="1000" dirty="0">
                <a:solidFill>
                  <a:srgbClr val="6B6462"/>
                </a:solidFill>
                <a:effectLst/>
                <a:latin typeface="Quicksand" pitchFamily="2" charset="0"/>
                <a:ea typeface="Gill Sans"/>
                <a:cs typeface="Gill Sans"/>
              </a:endParaRPr>
            </a:p>
          </p:txBody>
        </p:sp>
        <p:sp>
          <p:nvSpPr>
            <p:cNvPr id="12" name="Rectangle: Rounded Corners 11">
              <a:extLst>
                <a:ext uri="{FF2B5EF4-FFF2-40B4-BE49-F238E27FC236}">
                  <a16:creationId xmlns:a16="http://schemas.microsoft.com/office/drawing/2014/main" id="{55702AF9-C4F4-4634-AAA3-DBE6C4E7FFAD}"/>
                </a:ext>
              </a:extLst>
            </p:cNvPr>
            <p:cNvSpPr/>
            <p:nvPr/>
          </p:nvSpPr>
          <p:spPr>
            <a:xfrm>
              <a:off x="5047755" y="2094576"/>
              <a:ext cx="3112289" cy="1559719"/>
            </a:xfrm>
            <a:prstGeom prst="roundRect">
              <a:avLst/>
            </a:prstGeom>
            <a:solidFill>
              <a:srgbClr val="8C8985"/>
            </a:solidFill>
            <a:ln>
              <a:solidFill>
                <a:srgbClr val="8C8985"/>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2" spcCol="0" rtlCol="0" fromWordArt="0" anchor="t" anchorCtr="0" forceAA="0" compatLnSpc="1">
              <a:prstTxWarp prst="textNoShape">
                <a:avLst/>
              </a:prstTxWarp>
              <a:noAutofit/>
            </a:bodyPr>
            <a:lstStyle/>
            <a:p>
              <a:pPr>
                <a:spcAft>
                  <a:spcPts val="600"/>
                </a:spcAft>
              </a:pPr>
              <a:r>
                <a:rPr lang="en-US" sz="900" b="1" dirty="0">
                  <a:solidFill>
                    <a:srgbClr val="FFFFFF"/>
                  </a:solidFill>
                  <a:effectLst/>
                  <a:latin typeface="Quicksand" pitchFamily="2" charset="0"/>
                  <a:ea typeface="Gill Sans"/>
                  <a:cs typeface="Gill Sans"/>
                </a:rPr>
                <a:t>Subnational system building blocks:</a:t>
              </a:r>
              <a:endParaRPr lang="en-US" sz="900" dirty="0">
                <a:solidFill>
                  <a:srgbClr val="6B6462"/>
                </a:solidFill>
                <a:effectLst/>
                <a:latin typeface="Quicksand" pitchFamily="2" charset="0"/>
                <a:ea typeface="Gill Sans"/>
                <a:cs typeface="Gill Sans"/>
              </a:endParaRPr>
            </a:p>
            <a:p>
              <a:pPr marL="182880" indent="-182880">
                <a:lnSpc>
                  <a:spcPts val="1400"/>
                </a:lnSpc>
                <a:spcAft>
                  <a:spcPts val="400"/>
                </a:spcAft>
                <a:buFont typeface="Arial" panose="020B0604020202020204" pitchFamily="34" charset="0"/>
                <a:buChar char="•"/>
              </a:pPr>
              <a:r>
                <a:rPr lang="en-GB" sz="900" dirty="0">
                  <a:solidFill>
                    <a:srgbClr val="FFFFFF"/>
                  </a:solidFill>
                  <a:effectLst/>
                  <a:latin typeface="Quicksand" pitchFamily="2" charset="0"/>
                  <a:ea typeface="Calibri" panose="020F0502020204030204" pitchFamily="34" charset="0"/>
                  <a:cs typeface="Arial" panose="020B0604020202020204" pitchFamily="34" charset="0"/>
                </a:rPr>
                <a:t>Planning and budgeting</a:t>
              </a:r>
              <a:endParaRPr lang="en-US" sz="900" dirty="0">
                <a:solidFill>
                  <a:srgbClr val="6B6462"/>
                </a:solidFill>
                <a:effectLst/>
                <a:latin typeface="Quicksand" pitchFamily="2" charset="0"/>
                <a:ea typeface="Calibri" panose="020F0502020204030204" pitchFamily="34" charset="0"/>
                <a:cs typeface="Arial" panose="020B0604020202020204" pitchFamily="34" charset="0"/>
              </a:endParaRPr>
            </a:p>
            <a:p>
              <a:pPr marL="182880" indent="-182880">
                <a:lnSpc>
                  <a:spcPts val="1400"/>
                </a:lnSpc>
                <a:spcAft>
                  <a:spcPts val="400"/>
                </a:spcAft>
                <a:buFont typeface="Arial" panose="020B0604020202020204" pitchFamily="34" charset="0"/>
                <a:buChar char="•"/>
              </a:pPr>
              <a:r>
                <a:rPr lang="en-GB" sz="900" dirty="0">
                  <a:solidFill>
                    <a:srgbClr val="FFFFFF"/>
                  </a:solidFill>
                  <a:effectLst/>
                  <a:latin typeface="Quicksand" pitchFamily="2" charset="0"/>
                  <a:ea typeface="Calibri" panose="020F0502020204030204" pitchFamily="34" charset="0"/>
                  <a:cs typeface="Arial" panose="020B0604020202020204" pitchFamily="34" charset="0"/>
                </a:rPr>
                <a:t>Local regulation, standards, and guidelines</a:t>
              </a:r>
              <a:endParaRPr lang="en-US" sz="900" dirty="0">
                <a:solidFill>
                  <a:srgbClr val="6B6462"/>
                </a:solidFill>
                <a:effectLst/>
                <a:latin typeface="Quicksand" pitchFamily="2" charset="0"/>
                <a:ea typeface="Calibri" panose="020F0502020204030204" pitchFamily="34" charset="0"/>
                <a:cs typeface="Arial" panose="020B0604020202020204" pitchFamily="34" charset="0"/>
              </a:endParaRPr>
            </a:p>
            <a:p>
              <a:pPr marL="182880" indent="-182880">
                <a:lnSpc>
                  <a:spcPts val="1400"/>
                </a:lnSpc>
                <a:spcAft>
                  <a:spcPts val="400"/>
                </a:spcAft>
                <a:buFont typeface="Arial" panose="020B0604020202020204" pitchFamily="34" charset="0"/>
                <a:buChar char="•"/>
              </a:pPr>
              <a:r>
                <a:rPr lang="en-GB" sz="900" dirty="0">
                  <a:solidFill>
                    <a:srgbClr val="FFFFFF"/>
                  </a:solidFill>
                  <a:effectLst/>
                  <a:latin typeface="Quicksand" pitchFamily="2" charset="0"/>
                  <a:ea typeface="Calibri" panose="020F0502020204030204" pitchFamily="34" charset="0"/>
                  <a:cs typeface="Arial" panose="020B0604020202020204" pitchFamily="34" charset="0"/>
                </a:rPr>
                <a:t>Capacity and HR</a:t>
              </a:r>
              <a:endParaRPr lang="en-US" sz="900" dirty="0">
                <a:solidFill>
                  <a:srgbClr val="6B6462"/>
                </a:solidFill>
                <a:effectLst/>
                <a:latin typeface="Quicksand" pitchFamily="2" charset="0"/>
                <a:ea typeface="Calibri" panose="020F0502020204030204" pitchFamily="34" charset="0"/>
                <a:cs typeface="Arial" panose="020B0604020202020204" pitchFamily="34" charset="0"/>
              </a:endParaRPr>
            </a:p>
            <a:p>
              <a:pPr marL="182880" indent="-182880">
                <a:lnSpc>
                  <a:spcPts val="1400"/>
                </a:lnSpc>
                <a:spcAft>
                  <a:spcPts val="400"/>
                </a:spcAft>
                <a:buFont typeface="Arial" panose="020B0604020202020204" pitchFamily="34" charset="0"/>
                <a:buChar char="•"/>
              </a:pPr>
              <a:r>
                <a:rPr lang="en-GB" sz="900" dirty="0">
                  <a:solidFill>
                    <a:srgbClr val="FFFFFF"/>
                  </a:solidFill>
                  <a:effectLst/>
                  <a:latin typeface="Quicksand" pitchFamily="2" charset="0"/>
                  <a:ea typeface="Calibri" panose="020F0502020204030204" pitchFamily="34" charset="0"/>
                  <a:cs typeface="Arial" panose="020B0604020202020204" pitchFamily="34" charset="0"/>
                </a:rPr>
                <a:t>Political will and ownership</a:t>
              </a:r>
              <a:endParaRPr lang="en-US" sz="900" dirty="0">
                <a:solidFill>
                  <a:srgbClr val="6B6462"/>
                </a:solidFill>
                <a:effectLst/>
                <a:latin typeface="Quicksand" pitchFamily="2" charset="0"/>
                <a:ea typeface="Calibri" panose="020F0502020204030204" pitchFamily="34" charset="0"/>
                <a:cs typeface="Arial" panose="020B0604020202020204" pitchFamily="34" charset="0"/>
              </a:endParaRPr>
            </a:p>
            <a:p>
              <a:pPr marL="182880" indent="-182880">
                <a:lnSpc>
                  <a:spcPts val="1400"/>
                </a:lnSpc>
                <a:spcAft>
                  <a:spcPts val="400"/>
                </a:spcAft>
                <a:buFont typeface="Arial" panose="020B0604020202020204" pitchFamily="34" charset="0"/>
                <a:buChar char="•"/>
              </a:pPr>
              <a:r>
                <a:rPr lang="en-GB" sz="900" dirty="0">
                  <a:solidFill>
                    <a:srgbClr val="FFFFFF"/>
                  </a:solidFill>
                  <a:effectLst/>
                  <a:latin typeface="Quicksand" pitchFamily="2" charset="0"/>
                  <a:ea typeface="Calibri" panose="020F0502020204030204" pitchFamily="34" charset="0"/>
                  <a:cs typeface="Arial" panose="020B0604020202020204" pitchFamily="34" charset="0"/>
                </a:rPr>
                <a:t>Institutional arrangements and partnership</a:t>
              </a:r>
              <a:endParaRPr lang="en-US" sz="900" dirty="0">
                <a:solidFill>
                  <a:srgbClr val="6B6462"/>
                </a:solidFill>
                <a:effectLst/>
                <a:latin typeface="Quicksand" pitchFamily="2" charset="0"/>
                <a:ea typeface="Calibri" panose="020F0502020204030204" pitchFamily="34" charset="0"/>
                <a:cs typeface="Arial" panose="020B0604020202020204" pitchFamily="34" charset="0"/>
              </a:endParaRPr>
            </a:p>
            <a:p>
              <a:pPr marL="182880" indent="-182880">
                <a:lnSpc>
                  <a:spcPts val="1400"/>
                </a:lnSpc>
                <a:spcAft>
                  <a:spcPts val="400"/>
                </a:spcAft>
                <a:buFont typeface="Arial" panose="020B0604020202020204" pitchFamily="34" charset="0"/>
                <a:buChar char="•"/>
              </a:pPr>
              <a:r>
                <a:rPr lang="en-GB" sz="900" dirty="0">
                  <a:solidFill>
                    <a:srgbClr val="FFFFFF"/>
                  </a:solidFill>
                  <a:effectLst/>
                  <a:latin typeface="Quicksand" pitchFamily="2" charset="0"/>
                  <a:ea typeface="Calibri" panose="020F0502020204030204" pitchFamily="34" charset="0"/>
                  <a:cs typeface="Arial" panose="020B0604020202020204" pitchFamily="34" charset="0"/>
                </a:rPr>
                <a:t>MEL</a:t>
              </a:r>
              <a:endParaRPr lang="en-US" sz="900" dirty="0">
                <a:solidFill>
                  <a:srgbClr val="6B6462"/>
                </a:solidFill>
                <a:effectLst/>
                <a:latin typeface="Quicksand" pitchFamily="2" charset="0"/>
                <a:ea typeface="Calibri" panose="020F0502020204030204" pitchFamily="34" charset="0"/>
                <a:cs typeface="Arial" panose="020B0604020202020204" pitchFamily="34" charset="0"/>
              </a:endParaRPr>
            </a:p>
          </p:txBody>
        </p:sp>
      </p:grpSp>
      <p:sp>
        <p:nvSpPr>
          <p:cNvPr id="11" name="Rectangle: Rounded Corners 10">
            <a:extLst>
              <a:ext uri="{FF2B5EF4-FFF2-40B4-BE49-F238E27FC236}">
                <a16:creationId xmlns:a16="http://schemas.microsoft.com/office/drawing/2014/main" id="{FF95E551-15C5-45D4-80DE-C9F7500E6A40}"/>
              </a:ext>
            </a:extLst>
          </p:cNvPr>
          <p:cNvSpPr/>
          <p:nvPr/>
        </p:nvSpPr>
        <p:spPr>
          <a:xfrm>
            <a:off x="1303226" y="4821657"/>
            <a:ext cx="2520887" cy="1828800"/>
          </a:xfrm>
          <a:prstGeom prst="roundRect">
            <a:avLst/>
          </a:prstGeom>
          <a:solidFill>
            <a:schemeClr val="bg2">
              <a:lumMod val="75000"/>
            </a:schemeClr>
          </a:solidFill>
          <a:ln>
            <a:solidFill>
              <a:schemeClr val="bg2">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800"/>
              </a:spcAft>
            </a:pPr>
            <a:r>
              <a:rPr lang="en-US" sz="1100" b="1" dirty="0">
                <a:solidFill>
                  <a:srgbClr val="FFFFFF"/>
                </a:solidFill>
                <a:effectLst/>
                <a:latin typeface="Quicksand" pitchFamily="2" charset="0"/>
                <a:ea typeface="Gill Sans"/>
                <a:cs typeface="Gill Sans"/>
              </a:rPr>
              <a:t>National government institutions, DPs, civil society and private sector</a:t>
            </a:r>
            <a:r>
              <a:rPr lang="en-US" sz="1100" dirty="0">
                <a:solidFill>
                  <a:srgbClr val="FFFFFF"/>
                </a:solidFill>
                <a:effectLst/>
                <a:latin typeface="Quicksand" pitchFamily="2" charset="0"/>
                <a:ea typeface="Gill Sans"/>
                <a:cs typeface="Gill Sans"/>
              </a:rPr>
              <a:t> collaborate to build a strong national enabling environment that provides direction, resources, and oversight to local governments.</a:t>
            </a:r>
            <a:endParaRPr lang="en-US" sz="1100" dirty="0">
              <a:solidFill>
                <a:srgbClr val="6B6462"/>
              </a:solidFill>
              <a:effectLst/>
              <a:latin typeface="Quicksand" pitchFamily="2" charset="0"/>
              <a:ea typeface="Gill Sans"/>
              <a:cs typeface="Gill Sans"/>
            </a:endParaRPr>
          </a:p>
        </p:txBody>
      </p:sp>
      <p:sp>
        <p:nvSpPr>
          <p:cNvPr id="13" name="Rectangle: Rounded Corners 12">
            <a:extLst>
              <a:ext uri="{FF2B5EF4-FFF2-40B4-BE49-F238E27FC236}">
                <a16:creationId xmlns:a16="http://schemas.microsoft.com/office/drawing/2014/main" id="{1C40C552-3A78-4A64-BB71-53A90C7B2056}"/>
              </a:ext>
            </a:extLst>
          </p:cNvPr>
          <p:cNvSpPr/>
          <p:nvPr/>
        </p:nvSpPr>
        <p:spPr>
          <a:xfrm>
            <a:off x="6773372" y="4828007"/>
            <a:ext cx="2520887" cy="1828800"/>
          </a:xfrm>
          <a:prstGeom prst="roundRect">
            <a:avLst/>
          </a:prstGeom>
          <a:solidFill>
            <a:schemeClr val="bg2">
              <a:lumMod val="75000"/>
            </a:schemeClr>
          </a:solidFill>
          <a:ln>
            <a:solidFill>
              <a:schemeClr val="bg2">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800"/>
              </a:spcAft>
            </a:pPr>
            <a:r>
              <a:rPr lang="en-US" sz="1100" b="1" dirty="0">
                <a:solidFill>
                  <a:srgbClr val="FFFFFF"/>
                </a:solidFill>
                <a:effectLst/>
                <a:latin typeface="Quicksand" pitchFamily="2" charset="0"/>
                <a:ea typeface="Gill Sans"/>
                <a:cs typeface="Gill Sans"/>
              </a:rPr>
              <a:t>DPs </a:t>
            </a:r>
            <a:r>
              <a:rPr lang="en-US" sz="1100" dirty="0">
                <a:solidFill>
                  <a:srgbClr val="FFFFFF"/>
                </a:solidFill>
                <a:effectLst/>
                <a:latin typeface="Quicksand" pitchFamily="2" charset="0"/>
                <a:ea typeface="Gill Sans"/>
                <a:cs typeface="Gill Sans"/>
              </a:rPr>
              <a:t>support </a:t>
            </a:r>
            <a:r>
              <a:rPr lang="en-US" sz="1100" b="1" dirty="0">
                <a:solidFill>
                  <a:srgbClr val="FFFFFF"/>
                </a:solidFill>
                <a:effectLst/>
                <a:latin typeface="Quicksand" pitchFamily="2" charset="0"/>
                <a:ea typeface="Gill Sans"/>
                <a:cs typeface="Gill Sans"/>
              </a:rPr>
              <a:t>local governments </a:t>
            </a:r>
            <a:r>
              <a:rPr lang="en-US" sz="1100" dirty="0">
                <a:solidFill>
                  <a:srgbClr val="FFFFFF"/>
                </a:solidFill>
                <a:effectLst/>
                <a:latin typeface="Quicksand" pitchFamily="2" charset="0"/>
                <a:ea typeface="Gill Sans"/>
                <a:cs typeface="Gill Sans"/>
              </a:rPr>
              <a:t>to plan and budget, build, use and sustain M&amp;E systems, apply a GESI lens, coordinate </a:t>
            </a:r>
            <a:r>
              <a:rPr lang="en-US" sz="1100" b="1" dirty="0">
                <a:solidFill>
                  <a:srgbClr val="FFFFFF"/>
                </a:solidFill>
                <a:effectLst/>
                <a:latin typeface="Quicksand" pitchFamily="2" charset="0"/>
                <a:ea typeface="Gill Sans"/>
                <a:cs typeface="Gill Sans"/>
              </a:rPr>
              <a:t>all partners, </a:t>
            </a:r>
            <a:r>
              <a:rPr lang="en-US" sz="1100" dirty="0">
                <a:solidFill>
                  <a:srgbClr val="FFFFFF"/>
                </a:solidFill>
                <a:effectLst/>
                <a:latin typeface="Quicksand" pitchFamily="2" charset="0"/>
                <a:ea typeface="Gill Sans"/>
                <a:cs typeface="Gill Sans"/>
              </a:rPr>
              <a:t>and</a:t>
            </a:r>
            <a:r>
              <a:rPr lang="en-US" sz="1100" b="1" dirty="0">
                <a:solidFill>
                  <a:srgbClr val="FFFFFF"/>
                </a:solidFill>
                <a:effectLst/>
                <a:latin typeface="Quicksand" pitchFamily="2" charset="0"/>
                <a:ea typeface="Gill Sans"/>
                <a:cs typeface="Gill Sans"/>
              </a:rPr>
              <a:t> </a:t>
            </a:r>
            <a:r>
              <a:rPr lang="en-US" sz="1100" dirty="0">
                <a:solidFill>
                  <a:srgbClr val="FFFFFF"/>
                </a:solidFill>
                <a:effectLst/>
                <a:latin typeface="Quicksand" pitchFamily="2" charset="0"/>
                <a:ea typeface="Gill Sans"/>
                <a:cs typeface="Gill Sans"/>
              </a:rPr>
              <a:t>apply adaptive management across programs, interventions and services. </a:t>
            </a:r>
            <a:endParaRPr lang="en-US" sz="1100" dirty="0">
              <a:solidFill>
                <a:srgbClr val="6B6462"/>
              </a:solidFill>
              <a:effectLst/>
              <a:latin typeface="Quicksand" pitchFamily="2" charset="0"/>
              <a:ea typeface="Gill Sans"/>
              <a:cs typeface="Gill Sans"/>
            </a:endParaRPr>
          </a:p>
        </p:txBody>
      </p:sp>
      <p:sp>
        <p:nvSpPr>
          <p:cNvPr id="14" name="Rectangle: Rounded Corners 13">
            <a:extLst>
              <a:ext uri="{FF2B5EF4-FFF2-40B4-BE49-F238E27FC236}">
                <a16:creationId xmlns:a16="http://schemas.microsoft.com/office/drawing/2014/main" id="{FBED5B31-C175-4C52-A295-A60EF7E0DB61}"/>
              </a:ext>
            </a:extLst>
          </p:cNvPr>
          <p:cNvSpPr/>
          <p:nvPr/>
        </p:nvSpPr>
        <p:spPr>
          <a:xfrm>
            <a:off x="9506368" y="4828007"/>
            <a:ext cx="2520887" cy="1828800"/>
          </a:xfrm>
          <a:prstGeom prst="roundRect">
            <a:avLst/>
          </a:prstGeom>
          <a:solidFill>
            <a:schemeClr val="bg2">
              <a:lumMod val="75000"/>
            </a:schemeClr>
          </a:solidFill>
          <a:ln>
            <a:solidFill>
              <a:schemeClr val="bg2">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800"/>
              </a:spcAft>
            </a:pPr>
            <a:r>
              <a:rPr lang="en-US" sz="1100" dirty="0">
                <a:solidFill>
                  <a:srgbClr val="FFFFFF"/>
                </a:solidFill>
                <a:effectLst/>
                <a:latin typeface="Quicksand" pitchFamily="2" charset="0"/>
                <a:ea typeface="Gill Sans"/>
                <a:cs typeface="Gill Sans"/>
              </a:rPr>
              <a:t>A mix of </a:t>
            </a:r>
            <a:r>
              <a:rPr lang="en-US" sz="1100" b="1" dirty="0">
                <a:solidFill>
                  <a:srgbClr val="FFFFFF"/>
                </a:solidFill>
                <a:effectLst/>
                <a:latin typeface="Quicksand" pitchFamily="2" charset="0"/>
                <a:ea typeface="Gill Sans"/>
                <a:cs typeface="Gill Sans"/>
              </a:rPr>
              <a:t>local government, civil society and private sector partners </a:t>
            </a:r>
            <a:r>
              <a:rPr lang="en-US" sz="1100" dirty="0">
                <a:solidFill>
                  <a:srgbClr val="FFFFFF"/>
                </a:solidFill>
                <a:effectLst/>
                <a:latin typeface="Quicksand" pitchFamily="2" charset="0"/>
                <a:ea typeface="Gill Sans"/>
                <a:cs typeface="Gill Sans"/>
              </a:rPr>
              <a:t>- including volunteers and the informal sector –  </a:t>
            </a:r>
            <a:r>
              <a:rPr lang="en-US" sz="1100" b="1" dirty="0">
                <a:solidFill>
                  <a:srgbClr val="FFFFFF"/>
                </a:solidFill>
                <a:effectLst/>
                <a:latin typeface="Quicksand" pitchFamily="2" charset="0"/>
                <a:ea typeface="Gill Sans"/>
                <a:cs typeface="Gill Sans"/>
              </a:rPr>
              <a:t> </a:t>
            </a:r>
            <a:r>
              <a:rPr lang="en-US" sz="1100" dirty="0">
                <a:solidFill>
                  <a:srgbClr val="FFFFFF"/>
                </a:solidFill>
                <a:effectLst/>
                <a:latin typeface="Quicksand" pitchFamily="2" charset="0"/>
                <a:ea typeface="Gill Sans"/>
                <a:cs typeface="Gill Sans"/>
              </a:rPr>
              <a:t>implement the sanitation and hygiene interventions and services, with DP support.</a:t>
            </a:r>
            <a:endParaRPr lang="en-US" sz="1100" dirty="0">
              <a:solidFill>
                <a:srgbClr val="6B6462"/>
              </a:solidFill>
              <a:effectLst/>
              <a:latin typeface="Quicksand" pitchFamily="2" charset="0"/>
              <a:ea typeface="Gill Sans"/>
              <a:cs typeface="Gill Sans"/>
            </a:endParaRPr>
          </a:p>
        </p:txBody>
      </p:sp>
      <p:sp>
        <p:nvSpPr>
          <p:cNvPr id="16" name="Rectangle: Rounded Corners 15">
            <a:extLst>
              <a:ext uri="{FF2B5EF4-FFF2-40B4-BE49-F238E27FC236}">
                <a16:creationId xmlns:a16="http://schemas.microsoft.com/office/drawing/2014/main" id="{461B1323-436F-4BA9-9E45-57C745595A51}"/>
              </a:ext>
            </a:extLst>
          </p:cNvPr>
          <p:cNvSpPr/>
          <p:nvPr/>
        </p:nvSpPr>
        <p:spPr>
          <a:xfrm>
            <a:off x="4036223" y="4828007"/>
            <a:ext cx="2525039" cy="1828800"/>
          </a:xfrm>
          <a:prstGeom prst="roundRect">
            <a:avLst/>
          </a:prstGeom>
          <a:solidFill>
            <a:schemeClr val="bg2">
              <a:lumMod val="75000"/>
            </a:schemeClr>
          </a:solidFill>
          <a:ln>
            <a:solidFill>
              <a:schemeClr val="bg2">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800"/>
              </a:spcAft>
            </a:pPr>
            <a:r>
              <a:rPr lang="en-US" sz="1100" b="1" dirty="0">
                <a:solidFill>
                  <a:srgbClr val="FFFFFF"/>
                </a:solidFill>
                <a:effectLst/>
                <a:latin typeface="Quicksand" pitchFamily="2" charset="0"/>
                <a:ea typeface="Gill Sans"/>
                <a:cs typeface="Gill Sans"/>
              </a:rPr>
              <a:t>Local government institutions</a:t>
            </a:r>
            <a:r>
              <a:rPr lang="en-US" sz="1100" dirty="0">
                <a:solidFill>
                  <a:srgbClr val="FFFFFF"/>
                </a:solidFill>
                <a:effectLst/>
                <a:latin typeface="Quicksand" pitchFamily="2" charset="0"/>
                <a:ea typeface="Gill Sans"/>
                <a:cs typeface="Gill Sans"/>
              </a:rPr>
              <a:t> provide leadership, resource and implement/ coordinate the system, and oversee the partnerships required to achieve/ensure sustained service delivery.</a:t>
            </a:r>
            <a:endParaRPr lang="en-US" sz="1100" dirty="0">
              <a:solidFill>
                <a:srgbClr val="6B6462"/>
              </a:solidFill>
              <a:effectLst/>
              <a:latin typeface="Quicksand" pitchFamily="2" charset="0"/>
              <a:ea typeface="Gill Sans"/>
              <a:cs typeface="Gill Sans"/>
            </a:endParaRPr>
          </a:p>
          <a:p>
            <a:pPr>
              <a:spcAft>
                <a:spcPts val="800"/>
              </a:spcAft>
            </a:pPr>
            <a:r>
              <a:rPr lang="en-US" sz="1100" dirty="0">
                <a:solidFill>
                  <a:srgbClr val="FFFFFF"/>
                </a:solidFill>
                <a:effectLst/>
                <a:latin typeface="Quicksand" pitchFamily="2" charset="0"/>
                <a:ea typeface="Gill Sans"/>
                <a:cs typeface="Gill Sans"/>
              </a:rPr>
              <a:t> </a:t>
            </a:r>
            <a:endParaRPr lang="en-US" sz="1100" dirty="0">
              <a:solidFill>
                <a:srgbClr val="6B6462"/>
              </a:solidFill>
              <a:effectLst/>
              <a:latin typeface="Quicksand" pitchFamily="2" charset="0"/>
              <a:ea typeface="Gill Sans"/>
              <a:cs typeface="Gill Sans"/>
            </a:endParaRPr>
          </a:p>
        </p:txBody>
      </p:sp>
      <p:sp>
        <p:nvSpPr>
          <p:cNvPr id="17" name="TextBox 16">
            <a:extLst>
              <a:ext uri="{FF2B5EF4-FFF2-40B4-BE49-F238E27FC236}">
                <a16:creationId xmlns:a16="http://schemas.microsoft.com/office/drawing/2014/main" id="{3F12897D-91C3-4C84-8C53-889C11BA80D8}"/>
              </a:ext>
            </a:extLst>
          </p:cNvPr>
          <p:cNvSpPr txBox="1"/>
          <p:nvPr/>
        </p:nvSpPr>
        <p:spPr>
          <a:xfrm>
            <a:off x="142407" y="3079995"/>
            <a:ext cx="999569" cy="769441"/>
          </a:xfrm>
          <a:prstGeom prst="rect">
            <a:avLst/>
          </a:prstGeom>
          <a:noFill/>
        </p:spPr>
        <p:txBody>
          <a:bodyPr wrap="square" rtlCol="0">
            <a:spAutoFit/>
          </a:bodyPr>
          <a:lstStyle/>
          <a:p>
            <a:r>
              <a:rPr lang="en-US" sz="1100" b="1" dirty="0">
                <a:latin typeface="Quicksand" pitchFamily="2" charset="0"/>
              </a:rPr>
              <a:t>Components activities and processes</a:t>
            </a:r>
          </a:p>
        </p:txBody>
      </p:sp>
      <p:sp>
        <p:nvSpPr>
          <p:cNvPr id="22" name="TextBox 21">
            <a:extLst>
              <a:ext uri="{FF2B5EF4-FFF2-40B4-BE49-F238E27FC236}">
                <a16:creationId xmlns:a16="http://schemas.microsoft.com/office/drawing/2014/main" id="{CB992FEA-19F1-4167-A48B-C0EF75623C1F}"/>
              </a:ext>
            </a:extLst>
          </p:cNvPr>
          <p:cNvSpPr txBox="1"/>
          <p:nvPr/>
        </p:nvSpPr>
        <p:spPr>
          <a:xfrm>
            <a:off x="142407" y="5280742"/>
            <a:ext cx="999569" cy="430887"/>
          </a:xfrm>
          <a:prstGeom prst="rect">
            <a:avLst/>
          </a:prstGeom>
          <a:noFill/>
        </p:spPr>
        <p:txBody>
          <a:bodyPr wrap="square" rtlCol="0">
            <a:spAutoFit/>
          </a:bodyPr>
          <a:lstStyle/>
          <a:p>
            <a:r>
              <a:rPr lang="en-US" sz="1100" b="1" dirty="0">
                <a:latin typeface="Quicksand" pitchFamily="2" charset="0"/>
              </a:rPr>
              <a:t>Actors and key roles</a:t>
            </a:r>
          </a:p>
        </p:txBody>
      </p:sp>
      <p:sp>
        <p:nvSpPr>
          <p:cNvPr id="23" name="TextBox 22">
            <a:extLst>
              <a:ext uri="{FF2B5EF4-FFF2-40B4-BE49-F238E27FC236}">
                <a16:creationId xmlns:a16="http://schemas.microsoft.com/office/drawing/2014/main" id="{C374ADBB-DD44-404E-ACCF-89D30EAB2A74}"/>
              </a:ext>
            </a:extLst>
          </p:cNvPr>
          <p:cNvSpPr txBox="1"/>
          <p:nvPr/>
        </p:nvSpPr>
        <p:spPr>
          <a:xfrm>
            <a:off x="142407" y="492177"/>
            <a:ext cx="999569" cy="261610"/>
          </a:xfrm>
          <a:prstGeom prst="rect">
            <a:avLst/>
          </a:prstGeom>
          <a:noFill/>
        </p:spPr>
        <p:txBody>
          <a:bodyPr wrap="square" rtlCol="0">
            <a:spAutoFit/>
          </a:bodyPr>
          <a:lstStyle/>
          <a:p>
            <a:r>
              <a:rPr lang="en-US" sz="1100" b="1" dirty="0">
                <a:latin typeface="Quicksand" pitchFamily="2" charset="0"/>
              </a:rPr>
              <a:t>TOC</a:t>
            </a:r>
          </a:p>
        </p:txBody>
      </p:sp>
    </p:spTree>
    <p:extLst>
      <p:ext uri="{BB962C8B-B14F-4D97-AF65-F5344CB8AC3E}">
        <p14:creationId xmlns:p14="http://schemas.microsoft.com/office/powerpoint/2010/main" val="2850357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A12A9027-492B-468F-90E5-F1E42BA23737}"/>
              </a:ext>
            </a:extLst>
          </p:cNvPr>
          <p:cNvGraphicFramePr/>
          <p:nvPr>
            <p:extLst>
              <p:ext uri="{D42A27DB-BD31-4B8C-83A1-F6EECF244321}">
                <p14:modId xmlns:p14="http://schemas.microsoft.com/office/powerpoint/2010/main" val="1098467955"/>
              </p:ext>
            </p:extLst>
          </p:nvPr>
        </p:nvGraphicFramePr>
        <p:xfrm>
          <a:off x="1358533" y="-59196"/>
          <a:ext cx="10591528" cy="24391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 name="Group 2">
            <a:extLst>
              <a:ext uri="{FF2B5EF4-FFF2-40B4-BE49-F238E27FC236}">
                <a16:creationId xmlns:a16="http://schemas.microsoft.com/office/drawing/2014/main" id="{6006011C-B580-4F53-AF33-A3B591F543E5}"/>
              </a:ext>
            </a:extLst>
          </p:cNvPr>
          <p:cNvGrpSpPr/>
          <p:nvPr/>
        </p:nvGrpSpPr>
        <p:grpSpPr>
          <a:xfrm>
            <a:off x="1327284" y="2315952"/>
            <a:ext cx="10654343" cy="2551859"/>
            <a:chOff x="1358692" y="2094575"/>
            <a:chExt cx="10654343" cy="2551859"/>
          </a:xfrm>
        </p:grpSpPr>
        <p:sp>
          <p:nvSpPr>
            <p:cNvPr id="15" name="Rectangle: Rounded Corners 14">
              <a:extLst>
                <a:ext uri="{FF2B5EF4-FFF2-40B4-BE49-F238E27FC236}">
                  <a16:creationId xmlns:a16="http://schemas.microsoft.com/office/drawing/2014/main" id="{53A1D041-1E1C-474D-A01D-99172EB0EC00}"/>
                </a:ext>
              </a:extLst>
            </p:cNvPr>
            <p:cNvSpPr/>
            <p:nvPr/>
          </p:nvSpPr>
          <p:spPr>
            <a:xfrm>
              <a:off x="1358692" y="2097073"/>
              <a:ext cx="3463977" cy="1559719"/>
            </a:xfrm>
            <a:prstGeom prst="roundRect">
              <a:avLst/>
            </a:prstGeom>
            <a:solidFill>
              <a:srgbClr val="8C8985"/>
            </a:solidFill>
            <a:ln>
              <a:solidFill>
                <a:srgbClr val="8C8985"/>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600"/>
                </a:spcAft>
              </a:pPr>
              <a:r>
                <a:rPr lang="en-US" sz="1100" b="1" dirty="0">
                  <a:solidFill>
                    <a:srgbClr val="FFFFFF"/>
                  </a:solidFill>
                  <a:effectLst/>
                  <a:latin typeface="Gill Sans MT" panose="020B0502020104020203" pitchFamily="34" charset="0"/>
                  <a:ea typeface="Gill Sans"/>
                  <a:cs typeface="Gill Sans"/>
                </a:rPr>
                <a:t>National system building blocks:</a:t>
              </a:r>
              <a:endParaRPr lang="en-US" sz="1100" dirty="0">
                <a:solidFill>
                  <a:srgbClr val="6B6462"/>
                </a:solidFill>
                <a:effectLst/>
                <a:latin typeface="Gill Sans MT" panose="020B0502020104020203" pitchFamily="34" charset="0"/>
                <a:ea typeface="Gill Sans"/>
                <a:cs typeface="Gill Sans"/>
              </a:endParaRPr>
            </a:p>
            <a:p>
              <a:pPr marL="342900" lvl="0" indent="-342900">
                <a:lnSpc>
                  <a:spcPts val="1400"/>
                </a:lnSpc>
                <a:spcAft>
                  <a:spcPts val="400"/>
                </a:spcAft>
                <a:buFont typeface="Symbol" panose="05050102010706020507" pitchFamily="18" charset="2"/>
                <a:buChar char=""/>
              </a:pPr>
              <a:r>
                <a:rPr lang="en-GB" sz="1100" dirty="0">
                  <a:solidFill>
                    <a:srgbClr val="FFFFFF"/>
                  </a:solidFill>
                  <a:effectLst/>
                  <a:latin typeface="Gill Sans MT" panose="020B0502020104020203" pitchFamily="34" charset="0"/>
                  <a:ea typeface="Calibri" panose="020F0502020204030204" pitchFamily="34" charset="0"/>
                  <a:cs typeface="Arial" panose="020B0604020202020204" pitchFamily="34" charset="0"/>
                </a:rPr>
                <a:t>Sector policies and strategies</a:t>
              </a:r>
              <a:endParaRPr lang="en-US" sz="1100" dirty="0">
                <a:solidFill>
                  <a:srgbClr val="6B6462"/>
                </a:solidFill>
                <a:effectLst/>
                <a:latin typeface="Gill Sans MT" panose="020B0502020104020203" pitchFamily="34" charset="0"/>
                <a:ea typeface="Calibri" panose="020F0502020204030204" pitchFamily="34" charset="0"/>
                <a:cs typeface="Arial" panose="020B0604020202020204" pitchFamily="34" charset="0"/>
              </a:endParaRPr>
            </a:p>
            <a:p>
              <a:pPr marL="342900" lvl="0" indent="-342900">
                <a:lnSpc>
                  <a:spcPts val="1400"/>
                </a:lnSpc>
                <a:spcAft>
                  <a:spcPts val="400"/>
                </a:spcAft>
                <a:buFont typeface="Symbol" panose="05050102010706020507" pitchFamily="18" charset="2"/>
                <a:buChar char=""/>
              </a:pPr>
              <a:r>
                <a:rPr lang="en-GB" sz="1100" dirty="0">
                  <a:solidFill>
                    <a:srgbClr val="FFFFFF"/>
                  </a:solidFill>
                  <a:effectLst/>
                  <a:latin typeface="Gill Sans MT" panose="020B0502020104020203" pitchFamily="34" charset="0"/>
                  <a:ea typeface="Calibri" panose="020F0502020204030204" pitchFamily="34" charset="0"/>
                  <a:cs typeface="Arial" panose="020B0604020202020204" pitchFamily="34" charset="0"/>
                </a:rPr>
                <a:t>Planning, monitoring, and financing</a:t>
              </a:r>
              <a:endParaRPr lang="en-US" sz="1100" dirty="0">
                <a:solidFill>
                  <a:srgbClr val="6B6462"/>
                </a:solidFill>
                <a:effectLst/>
                <a:latin typeface="Gill Sans MT" panose="020B0502020104020203" pitchFamily="34" charset="0"/>
                <a:ea typeface="Calibri" panose="020F0502020204030204" pitchFamily="34" charset="0"/>
                <a:cs typeface="Arial" panose="020B0604020202020204" pitchFamily="34" charset="0"/>
              </a:endParaRPr>
            </a:p>
            <a:p>
              <a:pPr marL="342900" lvl="0" indent="-342900">
                <a:lnSpc>
                  <a:spcPts val="1400"/>
                </a:lnSpc>
                <a:spcAft>
                  <a:spcPts val="400"/>
                </a:spcAft>
                <a:buFont typeface="Symbol" panose="05050102010706020507" pitchFamily="18" charset="2"/>
                <a:buChar char=""/>
              </a:pPr>
              <a:r>
                <a:rPr lang="en-GB" sz="1100" dirty="0">
                  <a:solidFill>
                    <a:srgbClr val="FFFFFF"/>
                  </a:solidFill>
                  <a:effectLst/>
                  <a:latin typeface="Gill Sans MT" panose="020B0502020104020203" pitchFamily="34" charset="0"/>
                  <a:ea typeface="Calibri" panose="020F0502020204030204" pitchFamily="34" charset="0"/>
                  <a:cs typeface="Arial" panose="020B0604020202020204" pitchFamily="34" charset="0"/>
                </a:rPr>
                <a:t>Legislation, regulation, standards, and guidelines</a:t>
              </a:r>
              <a:endParaRPr lang="en-US" sz="1100" dirty="0">
                <a:solidFill>
                  <a:srgbClr val="6B6462"/>
                </a:solidFill>
                <a:effectLst/>
                <a:latin typeface="Gill Sans MT" panose="020B0502020104020203" pitchFamily="34" charset="0"/>
                <a:ea typeface="Calibri" panose="020F0502020204030204" pitchFamily="34" charset="0"/>
                <a:cs typeface="Arial" panose="020B0604020202020204" pitchFamily="34" charset="0"/>
              </a:endParaRPr>
            </a:p>
            <a:p>
              <a:pPr marL="342900" lvl="0" indent="-342900">
                <a:lnSpc>
                  <a:spcPts val="1400"/>
                </a:lnSpc>
                <a:spcAft>
                  <a:spcPts val="400"/>
                </a:spcAft>
                <a:buFont typeface="Symbol" panose="05050102010706020507" pitchFamily="18" charset="2"/>
                <a:buChar char=""/>
              </a:pPr>
              <a:r>
                <a:rPr lang="en-GB" sz="1100">
                  <a:solidFill>
                    <a:srgbClr val="FFFFFF"/>
                  </a:solidFill>
                  <a:effectLst/>
                  <a:latin typeface="Gill Sans MT" panose="020B0502020104020203" pitchFamily="34" charset="0"/>
                  <a:ea typeface="Calibri" panose="020F0502020204030204" pitchFamily="34" charset="0"/>
                  <a:cs typeface="Arial" panose="020B0604020202020204" pitchFamily="34" charset="0"/>
                </a:rPr>
                <a:t>Capacity development </a:t>
              </a:r>
              <a:r>
                <a:rPr lang="en-GB" sz="1100" dirty="0">
                  <a:solidFill>
                    <a:srgbClr val="FFFFFF"/>
                  </a:solidFill>
                  <a:effectLst/>
                  <a:latin typeface="Gill Sans MT" panose="020B0502020104020203" pitchFamily="34" charset="0"/>
                  <a:ea typeface="Calibri" panose="020F0502020204030204" pitchFamily="34" charset="0"/>
                  <a:cs typeface="Arial" panose="020B0604020202020204" pitchFamily="34" charset="0"/>
                </a:rPr>
                <a:t>and technical assistance</a:t>
              </a:r>
              <a:endParaRPr lang="en-US" sz="1100" dirty="0">
                <a:solidFill>
                  <a:srgbClr val="6B6462"/>
                </a:solidFill>
                <a:effectLst/>
                <a:latin typeface="Gill Sans MT" panose="020B0502020104020203" pitchFamily="34" charset="0"/>
                <a:ea typeface="Calibri" panose="020F0502020204030204" pitchFamily="34" charset="0"/>
                <a:cs typeface="Arial" panose="020B0604020202020204" pitchFamily="34" charset="0"/>
              </a:endParaRPr>
            </a:p>
            <a:p>
              <a:pPr marL="342900" lvl="0" indent="-342900">
                <a:lnSpc>
                  <a:spcPts val="1400"/>
                </a:lnSpc>
                <a:spcAft>
                  <a:spcPts val="400"/>
                </a:spcAft>
                <a:buFont typeface="Symbol" panose="05050102010706020507" pitchFamily="18" charset="2"/>
                <a:buChar char=""/>
              </a:pPr>
              <a:r>
                <a:rPr lang="en-GB" sz="1100" dirty="0">
                  <a:solidFill>
                    <a:srgbClr val="FFFFFF"/>
                  </a:solidFill>
                  <a:effectLst/>
                  <a:latin typeface="Gill Sans MT" panose="020B0502020104020203" pitchFamily="34" charset="0"/>
                  <a:ea typeface="Calibri" panose="020F0502020204030204" pitchFamily="34" charset="0"/>
                  <a:cs typeface="Arial" panose="020B0604020202020204" pitchFamily="34" charset="0"/>
                </a:rPr>
                <a:t>Functioning market systems</a:t>
              </a:r>
              <a:endParaRPr lang="en-US" sz="1100" dirty="0">
                <a:solidFill>
                  <a:srgbClr val="6B6462"/>
                </a:solidFill>
                <a:effectLst/>
                <a:latin typeface="Gill Sans MT" panose="020B0502020104020203" pitchFamily="34" charset="0"/>
                <a:ea typeface="Calibri" panose="020F0502020204030204" pitchFamily="34" charset="0"/>
                <a:cs typeface="Arial" panose="020B0604020202020204" pitchFamily="34" charset="0"/>
              </a:endParaRPr>
            </a:p>
          </p:txBody>
        </p:sp>
        <p:sp>
          <p:nvSpPr>
            <p:cNvPr id="18" name="Rectangle: Rounded Corners 17">
              <a:extLst>
                <a:ext uri="{FF2B5EF4-FFF2-40B4-BE49-F238E27FC236}">
                  <a16:creationId xmlns:a16="http://schemas.microsoft.com/office/drawing/2014/main" id="{080E85AB-2811-4C43-AB26-294670FB9BA5}"/>
                </a:ext>
              </a:extLst>
            </p:cNvPr>
            <p:cNvSpPr/>
            <p:nvPr/>
          </p:nvSpPr>
          <p:spPr>
            <a:xfrm>
              <a:off x="8384818" y="2094575"/>
              <a:ext cx="3565402" cy="1559720"/>
            </a:xfrm>
            <a:prstGeom prst="roundRect">
              <a:avLst/>
            </a:prstGeom>
            <a:solidFill>
              <a:schemeClr val="tx2">
                <a:lumMod val="75000"/>
              </a:schemeClr>
            </a:solidFill>
            <a:ln>
              <a:solidFill>
                <a:schemeClr val="tx2">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600"/>
                </a:spcAft>
              </a:pPr>
              <a:r>
                <a:rPr lang="en-US" sz="1100" b="1" dirty="0">
                  <a:solidFill>
                    <a:srgbClr val="FFFFFF"/>
                  </a:solidFill>
                  <a:effectLst/>
                  <a:latin typeface="Gill Sans MT" panose="020B0502020104020203" pitchFamily="34" charset="0"/>
                  <a:ea typeface="Gill Sans"/>
                  <a:cs typeface="Gill Sans"/>
                </a:rPr>
                <a:t>Sanitation and hygiene interventions:</a:t>
              </a:r>
              <a:endParaRPr lang="en-US" sz="1100" dirty="0">
                <a:solidFill>
                  <a:srgbClr val="6B6462"/>
                </a:solidFill>
                <a:effectLst/>
                <a:latin typeface="Gill Sans MT" panose="020B0502020104020203" pitchFamily="34" charset="0"/>
                <a:ea typeface="Gill Sans"/>
                <a:cs typeface="Gill Sans"/>
              </a:endParaRPr>
            </a:p>
            <a:p>
              <a:pPr marL="342900" lvl="0" indent="-342900">
                <a:lnSpc>
                  <a:spcPts val="1400"/>
                </a:lnSpc>
                <a:spcAft>
                  <a:spcPts val="400"/>
                </a:spcAft>
                <a:buFont typeface="Symbol" panose="05050102010706020507" pitchFamily="18" charset="2"/>
                <a:buChar char=""/>
              </a:pPr>
              <a:r>
                <a:rPr lang="en-GB" sz="1100" dirty="0">
                  <a:solidFill>
                    <a:srgbClr val="FFFFFF"/>
                  </a:solidFill>
                  <a:effectLst/>
                  <a:latin typeface="Gill Sans MT" panose="020B0502020104020203" pitchFamily="34" charset="0"/>
                  <a:ea typeface="Calibri" panose="020F0502020204030204" pitchFamily="34" charset="0"/>
                  <a:cs typeface="Arial" panose="020B0604020202020204" pitchFamily="34" charset="0"/>
                </a:rPr>
                <a:t>Community mobilization, demand creation, and </a:t>
              </a:r>
              <a:r>
                <a:rPr lang="en-GB" sz="1100" dirty="0" err="1">
                  <a:solidFill>
                    <a:srgbClr val="FFFFFF"/>
                  </a:solidFill>
                  <a:effectLst/>
                  <a:latin typeface="Gill Sans MT" panose="020B0502020104020203" pitchFamily="34" charset="0"/>
                  <a:ea typeface="Calibri" panose="020F0502020204030204" pitchFamily="34" charset="0"/>
                  <a:cs typeface="Arial" panose="020B0604020202020204" pitchFamily="34" charset="0"/>
                </a:rPr>
                <a:t>behavior</a:t>
              </a:r>
              <a:r>
                <a:rPr lang="en-GB" sz="1100" dirty="0">
                  <a:solidFill>
                    <a:srgbClr val="FFFFFF"/>
                  </a:solidFill>
                  <a:effectLst/>
                  <a:latin typeface="Gill Sans MT" panose="020B0502020104020203" pitchFamily="34" charset="0"/>
                  <a:ea typeface="Calibri" panose="020F0502020204030204" pitchFamily="34" charset="0"/>
                  <a:cs typeface="Arial" panose="020B0604020202020204" pitchFamily="34" charset="0"/>
                </a:rPr>
                <a:t> change</a:t>
              </a:r>
              <a:endParaRPr lang="en-US" sz="1100" dirty="0">
                <a:solidFill>
                  <a:srgbClr val="6B6462"/>
                </a:solidFill>
                <a:effectLst/>
                <a:latin typeface="Gill Sans MT" panose="020B0502020104020203" pitchFamily="34" charset="0"/>
                <a:ea typeface="Calibri" panose="020F0502020204030204" pitchFamily="34" charset="0"/>
                <a:cs typeface="Arial" panose="020B0604020202020204" pitchFamily="34" charset="0"/>
              </a:endParaRPr>
            </a:p>
            <a:p>
              <a:pPr marL="342900" lvl="0" indent="-342900">
                <a:lnSpc>
                  <a:spcPts val="1400"/>
                </a:lnSpc>
                <a:spcAft>
                  <a:spcPts val="400"/>
                </a:spcAft>
                <a:buFont typeface="Symbol" panose="05050102010706020507" pitchFamily="18" charset="2"/>
                <a:buChar char=""/>
              </a:pPr>
              <a:r>
                <a:rPr lang="en-GB" sz="1100" dirty="0">
                  <a:solidFill>
                    <a:srgbClr val="FFFFFF"/>
                  </a:solidFill>
                  <a:effectLst/>
                  <a:latin typeface="Gill Sans MT" panose="020B0502020104020203" pitchFamily="34" charset="0"/>
                  <a:ea typeface="Calibri" panose="020F0502020204030204" pitchFamily="34" charset="0"/>
                  <a:cs typeface="Arial" panose="020B0604020202020204" pitchFamily="34" charset="0"/>
                </a:rPr>
                <a:t>Market and supply side interventions</a:t>
              </a:r>
              <a:endParaRPr lang="en-US" sz="1100" dirty="0">
                <a:solidFill>
                  <a:srgbClr val="6B6462"/>
                </a:solidFill>
                <a:effectLst/>
                <a:latin typeface="Gill Sans MT" panose="020B0502020104020203" pitchFamily="34" charset="0"/>
                <a:ea typeface="Calibri" panose="020F0502020204030204" pitchFamily="34" charset="0"/>
                <a:cs typeface="Arial" panose="020B0604020202020204" pitchFamily="34" charset="0"/>
              </a:endParaRPr>
            </a:p>
            <a:p>
              <a:pPr marL="342900" lvl="0" indent="-342900">
                <a:lnSpc>
                  <a:spcPts val="1400"/>
                </a:lnSpc>
                <a:spcAft>
                  <a:spcPts val="400"/>
                </a:spcAft>
                <a:buFont typeface="Symbol" panose="05050102010706020507" pitchFamily="18" charset="2"/>
                <a:buChar char=""/>
              </a:pPr>
              <a:r>
                <a:rPr lang="en-GB" sz="1100" dirty="0">
                  <a:solidFill>
                    <a:srgbClr val="FFFFFF"/>
                  </a:solidFill>
                  <a:effectLst/>
                  <a:latin typeface="Gill Sans MT" panose="020B0502020104020203" pitchFamily="34" charset="0"/>
                  <a:ea typeface="Calibri" panose="020F0502020204030204" pitchFamily="34" charset="0"/>
                  <a:cs typeface="Arial" panose="020B0604020202020204" pitchFamily="34" charset="0"/>
                </a:rPr>
                <a:t>(Financial) support mechanisms for the most vulnerable</a:t>
              </a:r>
              <a:endParaRPr lang="en-US" sz="1100" dirty="0">
                <a:solidFill>
                  <a:srgbClr val="6B6462"/>
                </a:solidFill>
                <a:effectLst/>
                <a:latin typeface="Gill Sans MT" panose="020B0502020104020203" pitchFamily="34" charset="0"/>
                <a:ea typeface="Calibri" panose="020F0502020204030204" pitchFamily="34" charset="0"/>
                <a:cs typeface="Arial" panose="020B0604020202020204" pitchFamily="34" charset="0"/>
              </a:endParaRPr>
            </a:p>
          </p:txBody>
        </p:sp>
        <p:sp>
          <p:nvSpPr>
            <p:cNvPr id="19" name="Rectangle: Rounded Corners 18">
              <a:extLst>
                <a:ext uri="{FF2B5EF4-FFF2-40B4-BE49-F238E27FC236}">
                  <a16:creationId xmlns:a16="http://schemas.microsoft.com/office/drawing/2014/main" id="{B8DFB4C8-093A-4EC2-8C8E-BC5F580CD003}"/>
                </a:ext>
              </a:extLst>
            </p:cNvPr>
            <p:cNvSpPr/>
            <p:nvPr/>
          </p:nvSpPr>
          <p:spPr>
            <a:xfrm>
              <a:off x="1359320" y="4048648"/>
              <a:ext cx="10653713" cy="268733"/>
            </a:xfrm>
            <a:prstGeom prst="roundRect">
              <a:avLst/>
            </a:prstGeom>
            <a:solidFill>
              <a:srgbClr val="8C8985"/>
            </a:solidFill>
            <a:ln>
              <a:solidFill>
                <a:srgbClr val="8C8985"/>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800"/>
                </a:spcAft>
              </a:pPr>
              <a:r>
                <a:rPr lang="en-US" sz="1100" dirty="0">
                  <a:solidFill>
                    <a:srgbClr val="FFFFFF"/>
                  </a:solidFill>
                  <a:effectLst/>
                  <a:latin typeface="Gill Sans MT" panose="020B0502020104020203" pitchFamily="34" charset="0"/>
                  <a:ea typeface="Gill Sans"/>
                  <a:cs typeface="Gill Sans"/>
                </a:rPr>
                <a:t>Adaptive management</a:t>
              </a:r>
              <a:endParaRPr lang="en-US" sz="1100" dirty="0">
                <a:solidFill>
                  <a:srgbClr val="6B6462"/>
                </a:solidFill>
                <a:effectLst/>
                <a:latin typeface="Gill Sans MT" panose="020B0502020104020203" pitchFamily="34" charset="0"/>
                <a:ea typeface="Gill Sans"/>
                <a:cs typeface="Gill Sans"/>
              </a:endParaRPr>
            </a:p>
          </p:txBody>
        </p:sp>
        <p:sp>
          <p:nvSpPr>
            <p:cNvPr id="20" name="Rectangle: Rounded Corners 19">
              <a:extLst>
                <a:ext uri="{FF2B5EF4-FFF2-40B4-BE49-F238E27FC236}">
                  <a16:creationId xmlns:a16="http://schemas.microsoft.com/office/drawing/2014/main" id="{91C07A68-5221-4472-A075-F750A4FC96E5}"/>
                </a:ext>
              </a:extLst>
            </p:cNvPr>
            <p:cNvSpPr/>
            <p:nvPr/>
          </p:nvSpPr>
          <p:spPr>
            <a:xfrm>
              <a:off x="1359006" y="3719595"/>
              <a:ext cx="10654029" cy="268733"/>
            </a:xfrm>
            <a:prstGeom prst="roundRect">
              <a:avLst/>
            </a:prstGeom>
            <a:solidFill>
              <a:srgbClr val="8C8985"/>
            </a:solidFill>
            <a:ln>
              <a:solidFill>
                <a:srgbClr val="8C8985"/>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800"/>
                </a:spcAft>
              </a:pPr>
              <a:r>
                <a:rPr lang="en-US" sz="1100" dirty="0">
                  <a:solidFill>
                    <a:srgbClr val="FFFFFF"/>
                  </a:solidFill>
                  <a:effectLst/>
                  <a:latin typeface="Gill Sans MT" panose="020B0502020104020203" pitchFamily="34" charset="0"/>
                  <a:ea typeface="Gill Sans"/>
                  <a:cs typeface="Gill Sans"/>
                </a:rPr>
                <a:t>System strengthening</a:t>
              </a:r>
              <a:endParaRPr lang="en-US" sz="1100" dirty="0">
                <a:solidFill>
                  <a:srgbClr val="6B6462"/>
                </a:solidFill>
                <a:effectLst/>
                <a:latin typeface="Gill Sans MT" panose="020B0502020104020203" pitchFamily="34" charset="0"/>
                <a:ea typeface="Gill Sans"/>
                <a:cs typeface="Gill Sans"/>
              </a:endParaRPr>
            </a:p>
          </p:txBody>
        </p:sp>
        <p:sp>
          <p:nvSpPr>
            <p:cNvPr id="21" name="Rectangle: Rounded Corners 20">
              <a:extLst>
                <a:ext uri="{FF2B5EF4-FFF2-40B4-BE49-F238E27FC236}">
                  <a16:creationId xmlns:a16="http://schemas.microsoft.com/office/drawing/2014/main" id="{DE0BA287-8DB2-45AE-B3E6-ECE9BF081199}"/>
                </a:ext>
              </a:extLst>
            </p:cNvPr>
            <p:cNvSpPr/>
            <p:nvPr/>
          </p:nvSpPr>
          <p:spPr>
            <a:xfrm>
              <a:off x="1358692" y="4381807"/>
              <a:ext cx="10654027" cy="264627"/>
            </a:xfrm>
            <a:prstGeom prst="roundRect">
              <a:avLst/>
            </a:prstGeom>
            <a:solidFill>
              <a:srgbClr val="8C8985"/>
            </a:solidFill>
            <a:ln>
              <a:solidFill>
                <a:srgbClr val="8C8985"/>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800"/>
                </a:spcAft>
              </a:pPr>
              <a:r>
                <a:rPr lang="en-US" sz="1100" dirty="0">
                  <a:solidFill>
                    <a:srgbClr val="FFFFFF"/>
                  </a:solidFill>
                  <a:effectLst/>
                  <a:latin typeface="Gill Sans MT" panose="020B0502020104020203" pitchFamily="34" charset="0"/>
                  <a:ea typeface="Gill Sans"/>
                  <a:cs typeface="Gill Sans"/>
                </a:rPr>
                <a:t>GESI mainstreaming</a:t>
              </a:r>
              <a:endParaRPr lang="en-US" sz="1100" dirty="0">
                <a:solidFill>
                  <a:srgbClr val="6B6462"/>
                </a:solidFill>
                <a:effectLst/>
                <a:latin typeface="Gill Sans MT" panose="020B0502020104020203" pitchFamily="34" charset="0"/>
                <a:ea typeface="Gill Sans"/>
                <a:cs typeface="Gill Sans"/>
              </a:endParaRPr>
            </a:p>
          </p:txBody>
        </p:sp>
        <p:sp>
          <p:nvSpPr>
            <p:cNvPr id="12" name="Rectangle: Rounded Corners 11">
              <a:extLst>
                <a:ext uri="{FF2B5EF4-FFF2-40B4-BE49-F238E27FC236}">
                  <a16:creationId xmlns:a16="http://schemas.microsoft.com/office/drawing/2014/main" id="{55702AF9-C4F4-4634-AAA3-DBE6C4E7FFAD}"/>
                </a:ext>
              </a:extLst>
            </p:cNvPr>
            <p:cNvSpPr/>
            <p:nvPr/>
          </p:nvSpPr>
          <p:spPr>
            <a:xfrm>
              <a:off x="5047755" y="2094576"/>
              <a:ext cx="3112289" cy="1559719"/>
            </a:xfrm>
            <a:prstGeom prst="roundRect">
              <a:avLst/>
            </a:prstGeom>
            <a:solidFill>
              <a:srgbClr val="8C8985"/>
            </a:solidFill>
            <a:ln>
              <a:solidFill>
                <a:srgbClr val="8C8985"/>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2" spcCol="0" rtlCol="0" fromWordArt="0" anchor="t" anchorCtr="0" forceAA="0" compatLnSpc="1">
              <a:prstTxWarp prst="textNoShape">
                <a:avLst/>
              </a:prstTxWarp>
              <a:noAutofit/>
            </a:bodyPr>
            <a:lstStyle/>
            <a:p>
              <a:pPr>
                <a:spcAft>
                  <a:spcPts val="600"/>
                </a:spcAft>
              </a:pPr>
              <a:r>
                <a:rPr lang="en-US" sz="1100" b="1" dirty="0">
                  <a:solidFill>
                    <a:srgbClr val="FFFFFF"/>
                  </a:solidFill>
                  <a:effectLst/>
                  <a:latin typeface="Gill Sans MT" panose="020B0502020104020203" pitchFamily="34" charset="0"/>
                  <a:ea typeface="Gill Sans"/>
                  <a:cs typeface="Gill Sans"/>
                </a:rPr>
                <a:t>Subnational system building blocks:</a:t>
              </a:r>
              <a:endParaRPr lang="en-US" sz="1100" dirty="0">
                <a:solidFill>
                  <a:srgbClr val="6B6462"/>
                </a:solidFill>
                <a:effectLst/>
                <a:latin typeface="Gill Sans MT" panose="020B0502020104020203" pitchFamily="34" charset="0"/>
                <a:ea typeface="Gill Sans"/>
                <a:cs typeface="Gill Sans"/>
              </a:endParaRPr>
            </a:p>
            <a:p>
              <a:pPr marL="182880" indent="-182880">
                <a:lnSpc>
                  <a:spcPts val="1400"/>
                </a:lnSpc>
                <a:spcAft>
                  <a:spcPts val="400"/>
                </a:spcAft>
                <a:buFont typeface="Arial" panose="020B0604020202020204" pitchFamily="34" charset="0"/>
                <a:buChar char="•"/>
              </a:pPr>
              <a:r>
                <a:rPr lang="en-GB" sz="1100" dirty="0">
                  <a:solidFill>
                    <a:srgbClr val="FFFFFF"/>
                  </a:solidFill>
                  <a:effectLst/>
                  <a:latin typeface="Gill Sans MT" panose="020B0502020104020203" pitchFamily="34" charset="0"/>
                  <a:ea typeface="Calibri" panose="020F0502020204030204" pitchFamily="34" charset="0"/>
                  <a:cs typeface="Arial" panose="020B0604020202020204" pitchFamily="34" charset="0"/>
                </a:rPr>
                <a:t>Planning and budgeting</a:t>
              </a:r>
              <a:endParaRPr lang="en-US" sz="1100" dirty="0">
                <a:solidFill>
                  <a:srgbClr val="6B6462"/>
                </a:solidFill>
                <a:effectLst/>
                <a:latin typeface="Gill Sans MT" panose="020B0502020104020203" pitchFamily="34" charset="0"/>
                <a:ea typeface="Calibri" panose="020F0502020204030204" pitchFamily="34" charset="0"/>
                <a:cs typeface="Arial" panose="020B0604020202020204" pitchFamily="34" charset="0"/>
              </a:endParaRPr>
            </a:p>
            <a:p>
              <a:pPr marL="182880" indent="-182880">
                <a:lnSpc>
                  <a:spcPts val="1400"/>
                </a:lnSpc>
                <a:spcAft>
                  <a:spcPts val="400"/>
                </a:spcAft>
                <a:buFont typeface="Arial" panose="020B0604020202020204" pitchFamily="34" charset="0"/>
                <a:buChar char="•"/>
              </a:pPr>
              <a:r>
                <a:rPr lang="en-GB" sz="1100" dirty="0">
                  <a:solidFill>
                    <a:srgbClr val="FFFFFF"/>
                  </a:solidFill>
                  <a:effectLst/>
                  <a:latin typeface="Gill Sans MT" panose="020B0502020104020203" pitchFamily="34" charset="0"/>
                  <a:ea typeface="Calibri" panose="020F0502020204030204" pitchFamily="34" charset="0"/>
                  <a:cs typeface="Arial" panose="020B0604020202020204" pitchFamily="34" charset="0"/>
                </a:rPr>
                <a:t>Local regulation, standards, and guidelines</a:t>
              </a:r>
              <a:endParaRPr lang="en-US" sz="1100" dirty="0">
                <a:solidFill>
                  <a:srgbClr val="6B6462"/>
                </a:solidFill>
                <a:effectLst/>
                <a:latin typeface="Gill Sans MT" panose="020B0502020104020203" pitchFamily="34" charset="0"/>
                <a:ea typeface="Calibri" panose="020F0502020204030204" pitchFamily="34" charset="0"/>
                <a:cs typeface="Arial" panose="020B0604020202020204" pitchFamily="34" charset="0"/>
              </a:endParaRPr>
            </a:p>
            <a:p>
              <a:pPr marL="182880" indent="-182880">
                <a:lnSpc>
                  <a:spcPts val="1400"/>
                </a:lnSpc>
                <a:spcAft>
                  <a:spcPts val="400"/>
                </a:spcAft>
                <a:buFont typeface="Arial" panose="020B0604020202020204" pitchFamily="34" charset="0"/>
                <a:buChar char="•"/>
              </a:pPr>
              <a:r>
                <a:rPr lang="en-GB" sz="1100" dirty="0">
                  <a:solidFill>
                    <a:srgbClr val="FFFFFF"/>
                  </a:solidFill>
                  <a:effectLst/>
                  <a:latin typeface="Gill Sans MT" panose="020B0502020104020203" pitchFamily="34" charset="0"/>
                  <a:ea typeface="Calibri" panose="020F0502020204030204" pitchFamily="34" charset="0"/>
                  <a:cs typeface="Arial" panose="020B0604020202020204" pitchFamily="34" charset="0"/>
                </a:rPr>
                <a:t>Capacity and HR</a:t>
              </a:r>
              <a:endParaRPr lang="en-US" sz="1100" dirty="0">
                <a:solidFill>
                  <a:srgbClr val="6B6462"/>
                </a:solidFill>
                <a:effectLst/>
                <a:latin typeface="Gill Sans MT" panose="020B0502020104020203" pitchFamily="34" charset="0"/>
                <a:ea typeface="Calibri" panose="020F0502020204030204" pitchFamily="34" charset="0"/>
                <a:cs typeface="Arial" panose="020B0604020202020204" pitchFamily="34" charset="0"/>
              </a:endParaRPr>
            </a:p>
            <a:p>
              <a:pPr marL="182880" indent="-182880">
                <a:lnSpc>
                  <a:spcPts val="1400"/>
                </a:lnSpc>
                <a:spcAft>
                  <a:spcPts val="400"/>
                </a:spcAft>
                <a:buFont typeface="Arial" panose="020B0604020202020204" pitchFamily="34" charset="0"/>
                <a:buChar char="•"/>
              </a:pPr>
              <a:r>
                <a:rPr lang="en-GB" sz="1100" dirty="0">
                  <a:solidFill>
                    <a:srgbClr val="FFFFFF"/>
                  </a:solidFill>
                  <a:effectLst/>
                  <a:latin typeface="Gill Sans MT" panose="020B0502020104020203" pitchFamily="34" charset="0"/>
                  <a:ea typeface="Calibri" panose="020F0502020204030204" pitchFamily="34" charset="0"/>
                  <a:cs typeface="Arial" panose="020B0604020202020204" pitchFamily="34" charset="0"/>
                </a:rPr>
                <a:t>Political will and ownership</a:t>
              </a:r>
              <a:endParaRPr lang="en-US" sz="1100" dirty="0">
                <a:solidFill>
                  <a:srgbClr val="6B6462"/>
                </a:solidFill>
                <a:effectLst/>
                <a:latin typeface="Gill Sans MT" panose="020B0502020104020203" pitchFamily="34" charset="0"/>
                <a:ea typeface="Calibri" panose="020F0502020204030204" pitchFamily="34" charset="0"/>
                <a:cs typeface="Arial" panose="020B0604020202020204" pitchFamily="34" charset="0"/>
              </a:endParaRPr>
            </a:p>
            <a:p>
              <a:pPr marL="182880" indent="-182880">
                <a:lnSpc>
                  <a:spcPts val="1400"/>
                </a:lnSpc>
                <a:spcAft>
                  <a:spcPts val="400"/>
                </a:spcAft>
                <a:buFont typeface="Arial" panose="020B0604020202020204" pitchFamily="34" charset="0"/>
                <a:buChar char="•"/>
              </a:pPr>
              <a:r>
                <a:rPr lang="en-GB" sz="1100" dirty="0">
                  <a:solidFill>
                    <a:srgbClr val="FFFFFF"/>
                  </a:solidFill>
                  <a:effectLst/>
                  <a:latin typeface="Gill Sans MT" panose="020B0502020104020203" pitchFamily="34" charset="0"/>
                  <a:ea typeface="Calibri" panose="020F0502020204030204" pitchFamily="34" charset="0"/>
                  <a:cs typeface="Arial" panose="020B0604020202020204" pitchFamily="34" charset="0"/>
                </a:rPr>
                <a:t>Institutional arrangements and partnership</a:t>
              </a:r>
              <a:endParaRPr lang="en-US" sz="1100" dirty="0">
                <a:solidFill>
                  <a:srgbClr val="6B6462"/>
                </a:solidFill>
                <a:effectLst/>
                <a:latin typeface="Gill Sans MT" panose="020B0502020104020203" pitchFamily="34" charset="0"/>
                <a:ea typeface="Calibri" panose="020F0502020204030204" pitchFamily="34" charset="0"/>
                <a:cs typeface="Arial" panose="020B0604020202020204" pitchFamily="34" charset="0"/>
              </a:endParaRPr>
            </a:p>
            <a:p>
              <a:pPr marL="182880" indent="-182880">
                <a:lnSpc>
                  <a:spcPts val="1400"/>
                </a:lnSpc>
                <a:spcAft>
                  <a:spcPts val="400"/>
                </a:spcAft>
                <a:buFont typeface="Arial" panose="020B0604020202020204" pitchFamily="34" charset="0"/>
                <a:buChar char="•"/>
              </a:pPr>
              <a:r>
                <a:rPr lang="en-GB" sz="1100" dirty="0">
                  <a:solidFill>
                    <a:srgbClr val="FFFFFF"/>
                  </a:solidFill>
                  <a:effectLst/>
                  <a:latin typeface="Gill Sans MT" panose="020B0502020104020203" pitchFamily="34" charset="0"/>
                  <a:ea typeface="Calibri" panose="020F0502020204030204" pitchFamily="34" charset="0"/>
                  <a:cs typeface="Arial" panose="020B0604020202020204" pitchFamily="34" charset="0"/>
                </a:rPr>
                <a:t>MEL</a:t>
              </a:r>
              <a:endParaRPr lang="en-US" sz="1100" dirty="0">
                <a:solidFill>
                  <a:srgbClr val="6B6462"/>
                </a:solidFill>
                <a:effectLst/>
                <a:latin typeface="Gill Sans MT" panose="020B0502020104020203" pitchFamily="34" charset="0"/>
                <a:ea typeface="Calibri" panose="020F0502020204030204" pitchFamily="34" charset="0"/>
                <a:cs typeface="Arial" panose="020B0604020202020204" pitchFamily="34" charset="0"/>
              </a:endParaRPr>
            </a:p>
          </p:txBody>
        </p:sp>
      </p:grpSp>
      <p:sp>
        <p:nvSpPr>
          <p:cNvPr id="17" name="TextBox 16">
            <a:extLst>
              <a:ext uri="{FF2B5EF4-FFF2-40B4-BE49-F238E27FC236}">
                <a16:creationId xmlns:a16="http://schemas.microsoft.com/office/drawing/2014/main" id="{3F12897D-91C3-4C84-8C53-889C11BA80D8}"/>
              </a:ext>
            </a:extLst>
          </p:cNvPr>
          <p:cNvSpPr txBox="1"/>
          <p:nvPr/>
        </p:nvSpPr>
        <p:spPr>
          <a:xfrm>
            <a:off x="142407" y="3079995"/>
            <a:ext cx="999569" cy="830997"/>
          </a:xfrm>
          <a:prstGeom prst="rect">
            <a:avLst/>
          </a:prstGeom>
          <a:noFill/>
        </p:spPr>
        <p:txBody>
          <a:bodyPr wrap="square" rtlCol="0">
            <a:spAutoFit/>
          </a:bodyPr>
          <a:lstStyle/>
          <a:p>
            <a:r>
              <a:rPr lang="en-US" sz="1200" b="1" dirty="0">
                <a:latin typeface="Quicksand"/>
              </a:rPr>
              <a:t>Components activities and processes</a:t>
            </a:r>
          </a:p>
        </p:txBody>
      </p:sp>
      <p:sp>
        <p:nvSpPr>
          <p:cNvPr id="22" name="TextBox 21">
            <a:extLst>
              <a:ext uri="{FF2B5EF4-FFF2-40B4-BE49-F238E27FC236}">
                <a16:creationId xmlns:a16="http://schemas.microsoft.com/office/drawing/2014/main" id="{CB992FEA-19F1-4167-A48B-C0EF75623C1F}"/>
              </a:ext>
            </a:extLst>
          </p:cNvPr>
          <p:cNvSpPr txBox="1"/>
          <p:nvPr/>
        </p:nvSpPr>
        <p:spPr>
          <a:xfrm>
            <a:off x="142407" y="5280742"/>
            <a:ext cx="999569" cy="461665"/>
          </a:xfrm>
          <a:prstGeom prst="rect">
            <a:avLst/>
          </a:prstGeom>
          <a:noFill/>
        </p:spPr>
        <p:txBody>
          <a:bodyPr wrap="square" rtlCol="0">
            <a:spAutoFit/>
          </a:bodyPr>
          <a:lstStyle/>
          <a:p>
            <a:r>
              <a:rPr lang="en-US" sz="1200" b="1" dirty="0">
                <a:latin typeface="Quicksand"/>
              </a:rPr>
              <a:t>Actors and key roles</a:t>
            </a:r>
          </a:p>
        </p:txBody>
      </p:sp>
      <p:sp>
        <p:nvSpPr>
          <p:cNvPr id="23" name="TextBox 22">
            <a:extLst>
              <a:ext uri="{FF2B5EF4-FFF2-40B4-BE49-F238E27FC236}">
                <a16:creationId xmlns:a16="http://schemas.microsoft.com/office/drawing/2014/main" id="{C374ADBB-DD44-404E-ACCF-89D30EAB2A74}"/>
              </a:ext>
            </a:extLst>
          </p:cNvPr>
          <p:cNvSpPr txBox="1"/>
          <p:nvPr/>
        </p:nvSpPr>
        <p:spPr>
          <a:xfrm>
            <a:off x="142407" y="492177"/>
            <a:ext cx="999569" cy="276999"/>
          </a:xfrm>
          <a:prstGeom prst="rect">
            <a:avLst/>
          </a:prstGeom>
          <a:noFill/>
        </p:spPr>
        <p:txBody>
          <a:bodyPr wrap="square" rtlCol="0">
            <a:spAutoFit/>
          </a:bodyPr>
          <a:lstStyle/>
          <a:p>
            <a:r>
              <a:rPr lang="en-US" sz="1200" b="1" dirty="0">
                <a:latin typeface="Quicksand"/>
              </a:rPr>
              <a:t>TOC</a:t>
            </a:r>
          </a:p>
        </p:txBody>
      </p:sp>
      <p:grpSp>
        <p:nvGrpSpPr>
          <p:cNvPr id="2" name="Group 1">
            <a:extLst>
              <a:ext uri="{FF2B5EF4-FFF2-40B4-BE49-F238E27FC236}">
                <a16:creationId xmlns:a16="http://schemas.microsoft.com/office/drawing/2014/main" id="{AA545DCF-DC96-40E6-85F5-BF7EAE0B6B8E}"/>
              </a:ext>
            </a:extLst>
          </p:cNvPr>
          <p:cNvGrpSpPr/>
          <p:nvPr/>
        </p:nvGrpSpPr>
        <p:grpSpPr>
          <a:xfrm>
            <a:off x="1288690" y="4953858"/>
            <a:ext cx="10724029" cy="1835150"/>
            <a:chOff x="1303226" y="4821657"/>
            <a:chExt cx="10724029" cy="1835150"/>
          </a:xfrm>
        </p:grpSpPr>
        <p:sp>
          <p:nvSpPr>
            <p:cNvPr id="24" name="Rectangle: Rounded Corners 23">
              <a:extLst>
                <a:ext uri="{FF2B5EF4-FFF2-40B4-BE49-F238E27FC236}">
                  <a16:creationId xmlns:a16="http://schemas.microsoft.com/office/drawing/2014/main" id="{494C5002-691C-4291-965F-7FA0A7797DEC}"/>
                </a:ext>
              </a:extLst>
            </p:cNvPr>
            <p:cNvSpPr/>
            <p:nvPr/>
          </p:nvSpPr>
          <p:spPr>
            <a:xfrm>
              <a:off x="1303226" y="4821657"/>
              <a:ext cx="2520887" cy="1828800"/>
            </a:xfrm>
            <a:prstGeom prst="roundRect">
              <a:avLst/>
            </a:prstGeom>
            <a:solidFill>
              <a:schemeClr val="bg2">
                <a:lumMod val="75000"/>
              </a:schemeClr>
            </a:solidFill>
            <a:ln>
              <a:solidFill>
                <a:schemeClr val="bg2">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800"/>
                </a:spcAft>
              </a:pPr>
              <a:r>
                <a:rPr lang="en-US" sz="1100" b="1" dirty="0">
                  <a:solidFill>
                    <a:srgbClr val="FFFFFF"/>
                  </a:solidFill>
                  <a:effectLst/>
                  <a:latin typeface="Gill Sans MT" panose="020B0502020104020203" pitchFamily="34" charset="0"/>
                  <a:ea typeface="Gill Sans"/>
                  <a:cs typeface="Gill Sans"/>
                </a:rPr>
                <a:t>National government institutions, DPs, civil society and private sector</a:t>
              </a:r>
              <a:r>
                <a:rPr lang="en-US" sz="1100" dirty="0">
                  <a:solidFill>
                    <a:srgbClr val="FFFFFF"/>
                  </a:solidFill>
                  <a:effectLst/>
                  <a:latin typeface="Gill Sans MT" panose="020B0502020104020203" pitchFamily="34" charset="0"/>
                  <a:ea typeface="Gill Sans"/>
                  <a:cs typeface="Gill Sans"/>
                </a:rPr>
                <a:t> collaborate to build a strong national enabling environment that provides direction, resources, and oversight to local governments.</a:t>
              </a:r>
              <a:endParaRPr lang="en-US" sz="1100" dirty="0">
                <a:solidFill>
                  <a:srgbClr val="6B6462"/>
                </a:solidFill>
                <a:effectLst/>
                <a:latin typeface="Gill Sans MT" panose="020B0502020104020203" pitchFamily="34" charset="0"/>
                <a:ea typeface="Gill Sans"/>
                <a:cs typeface="Gill Sans"/>
              </a:endParaRPr>
            </a:p>
          </p:txBody>
        </p:sp>
        <p:sp>
          <p:nvSpPr>
            <p:cNvPr id="25" name="Rectangle: Rounded Corners 24">
              <a:extLst>
                <a:ext uri="{FF2B5EF4-FFF2-40B4-BE49-F238E27FC236}">
                  <a16:creationId xmlns:a16="http://schemas.microsoft.com/office/drawing/2014/main" id="{1DE59FE5-C5C4-4673-9480-80E944FEA084}"/>
                </a:ext>
              </a:extLst>
            </p:cNvPr>
            <p:cNvSpPr/>
            <p:nvPr/>
          </p:nvSpPr>
          <p:spPr>
            <a:xfrm>
              <a:off x="6773372" y="4828007"/>
              <a:ext cx="2520887" cy="1828800"/>
            </a:xfrm>
            <a:prstGeom prst="roundRect">
              <a:avLst/>
            </a:prstGeom>
            <a:solidFill>
              <a:schemeClr val="bg2">
                <a:lumMod val="75000"/>
              </a:schemeClr>
            </a:solidFill>
            <a:ln>
              <a:solidFill>
                <a:schemeClr val="bg2">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800"/>
                </a:spcAft>
              </a:pPr>
              <a:r>
                <a:rPr lang="en-US" sz="1100" b="1" dirty="0">
                  <a:solidFill>
                    <a:srgbClr val="FFFFFF"/>
                  </a:solidFill>
                  <a:effectLst/>
                  <a:latin typeface="Gill Sans MT" panose="020B0502020104020203" pitchFamily="34" charset="0"/>
                  <a:ea typeface="Gill Sans"/>
                  <a:cs typeface="Gill Sans"/>
                </a:rPr>
                <a:t>DPs </a:t>
              </a:r>
              <a:r>
                <a:rPr lang="en-US" sz="1100" dirty="0">
                  <a:solidFill>
                    <a:srgbClr val="FFFFFF"/>
                  </a:solidFill>
                  <a:effectLst/>
                  <a:latin typeface="Gill Sans MT" panose="020B0502020104020203" pitchFamily="34" charset="0"/>
                  <a:ea typeface="Gill Sans"/>
                  <a:cs typeface="Gill Sans"/>
                </a:rPr>
                <a:t>support </a:t>
              </a:r>
              <a:r>
                <a:rPr lang="en-US" sz="1100" b="1" dirty="0">
                  <a:solidFill>
                    <a:srgbClr val="FFFFFF"/>
                  </a:solidFill>
                  <a:effectLst/>
                  <a:latin typeface="Gill Sans MT" panose="020B0502020104020203" pitchFamily="34" charset="0"/>
                  <a:ea typeface="Gill Sans"/>
                  <a:cs typeface="Gill Sans"/>
                </a:rPr>
                <a:t>local governments </a:t>
              </a:r>
              <a:r>
                <a:rPr lang="en-US" sz="1100" dirty="0">
                  <a:solidFill>
                    <a:srgbClr val="FFFFFF"/>
                  </a:solidFill>
                  <a:effectLst/>
                  <a:latin typeface="Gill Sans MT" panose="020B0502020104020203" pitchFamily="34" charset="0"/>
                  <a:ea typeface="Gill Sans"/>
                  <a:cs typeface="Gill Sans"/>
                </a:rPr>
                <a:t>to plan and budget, build, use and sustain M&amp;E systems, apply a GESI lens, coordinate </a:t>
              </a:r>
              <a:r>
                <a:rPr lang="en-US" sz="1100" b="1" dirty="0">
                  <a:solidFill>
                    <a:srgbClr val="FFFFFF"/>
                  </a:solidFill>
                  <a:effectLst/>
                  <a:latin typeface="Gill Sans MT" panose="020B0502020104020203" pitchFamily="34" charset="0"/>
                  <a:ea typeface="Gill Sans"/>
                  <a:cs typeface="Gill Sans"/>
                </a:rPr>
                <a:t>all partners, </a:t>
              </a:r>
              <a:r>
                <a:rPr lang="en-US" sz="1100" dirty="0">
                  <a:solidFill>
                    <a:srgbClr val="FFFFFF"/>
                  </a:solidFill>
                  <a:effectLst/>
                  <a:latin typeface="Gill Sans MT" panose="020B0502020104020203" pitchFamily="34" charset="0"/>
                  <a:ea typeface="Gill Sans"/>
                  <a:cs typeface="Gill Sans"/>
                </a:rPr>
                <a:t>and</a:t>
              </a:r>
              <a:r>
                <a:rPr lang="en-US" sz="1100" b="1" dirty="0">
                  <a:solidFill>
                    <a:srgbClr val="FFFFFF"/>
                  </a:solidFill>
                  <a:effectLst/>
                  <a:latin typeface="Gill Sans MT" panose="020B0502020104020203" pitchFamily="34" charset="0"/>
                  <a:ea typeface="Gill Sans"/>
                  <a:cs typeface="Gill Sans"/>
                </a:rPr>
                <a:t> </a:t>
              </a:r>
              <a:r>
                <a:rPr lang="en-US" sz="1100" dirty="0">
                  <a:solidFill>
                    <a:srgbClr val="FFFFFF"/>
                  </a:solidFill>
                  <a:effectLst/>
                  <a:latin typeface="Gill Sans MT" panose="020B0502020104020203" pitchFamily="34" charset="0"/>
                  <a:ea typeface="Gill Sans"/>
                  <a:cs typeface="Gill Sans"/>
                </a:rPr>
                <a:t>apply adaptive management across programs, interventions and services. </a:t>
              </a:r>
              <a:endParaRPr lang="en-US" sz="1100" dirty="0">
                <a:solidFill>
                  <a:srgbClr val="6B6462"/>
                </a:solidFill>
                <a:effectLst/>
                <a:latin typeface="Gill Sans MT" panose="020B0502020104020203" pitchFamily="34" charset="0"/>
                <a:ea typeface="Gill Sans"/>
                <a:cs typeface="Gill Sans"/>
              </a:endParaRPr>
            </a:p>
          </p:txBody>
        </p:sp>
        <p:sp>
          <p:nvSpPr>
            <p:cNvPr id="26" name="Rectangle: Rounded Corners 25">
              <a:extLst>
                <a:ext uri="{FF2B5EF4-FFF2-40B4-BE49-F238E27FC236}">
                  <a16:creationId xmlns:a16="http://schemas.microsoft.com/office/drawing/2014/main" id="{D157EE61-BDA7-4531-BCB8-DE23D2C84797}"/>
                </a:ext>
              </a:extLst>
            </p:cNvPr>
            <p:cNvSpPr/>
            <p:nvPr/>
          </p:nvSpPr>
          <p:spPr>
            <a:xfrm>
              <a:off x="9506368" y="4828007"/>
              <a:ext cx="2520887" cy="1828800"/>
            </a:xfrm>
            <a:prstGeom prst="roundRect">
              <a:avLst/>
            </a:prstGeom>
            <a:solidFill>
              <a:schemeClr val="bg2">
                <a:lumMod val="75000"/>
              </a:schemeClr>
            </a:solidFill>
            <a:ln>
              <a:solidFill>
                <a:schemeClr val="bg2">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800"/>
                </a:spcAft>
              </a:pPr>
              <a:r>
                <a:rPr lang="en-US" sz="1100" dirty="0">
                  <a:solidFill>
                    <a:srgbClr val="FFFFFF"/>
                  </a:solidFill>
                  <a:effectLst/>
                  <a:latin typeface="Gill Sans MT" panose="020B0502020104020203" pitchFamily="34" charset="0"/>
                  <a:ea typeface="Gill Sans"/>
                  <a:cs typeface="Gill Sans"/>
                </a:rPr>
                <a:t>A mix of </a:t>
              </a:r>
              <a:r>
                <a:rPr lang="en-US" sz="1100" b="1" dirty="0">
                  <a:solidFill>
                    <a:srgbClr val="FFFFFF"/>
                  </a:solidFill>
                  <a:effectLst/>
                  <a:latin typeface="Gill Sans MT" panose="020B0502020104020203" pitchFamily="34" charset="0"/>
                  <a:ea typeface="Gill Sans"/>
                  <a:cs typeface="Gill Sans"/>
                </a:rPr>
                <a:t>local government, civil society and private sector partners </a:t>
              </a:r>
              <a:r>
                <a:rPr lang="en-US" sz="1100" dirty="0">
                  <a:solidFill>
                    <a:srgbClr val="FFFFFF"/>
                  </a:solidFill>
                  <a:latin typeface="Gill Sans MT" panose="020B0502020104020203" pitchFamily="34" charset="0"/>
                  <a:ea typeface="Gill Sans"/>
                  <a:cs typeface="Gill Sans"/>
                </a:rPr>
                <a:t>- including volunteers and the informal sector –</a:t>
              </a:r>
              <a:r>
                <a:rPr lang="en-US" sz="1100" b="1" dirty="0">
                  <a:solidFill>
                    <a:srgbClr val="FFFFFF"/>
                  </a:solidFill>
                  <a:latin typeface="Gill Sans MT" panose="020B0502020104020203" pitchFamily="34" charset="0"/>
                  <a:ea typeface="Gill Sans"/>
                  <a:cs typeface="Gill Sans"/>
                </a:rPr>
                <a:t>  </a:t>
              </a:r>
              <a:r>
                <a:rPr lang="en-US" sz="1100" dirty="0">
                  <a:solidFill>
                    <a:srgbClr val="FFFFFF"/>
                  </a:solidFill>
                  <a:effectLst/>
                  <a:latin typeface="Gill Sans MT" panose="020B0502020104020203" pitchFamily="34" charset="0"/>
                  <a:ea typeface="Gill Sans"/>
                  <a:cs typeface="Gill Sans"/>
                </a:rPr>
                <a:t>implement the sanitation and hygiene interventions and services, with DP support.</a:t>
              </a:r>
              <a:endParaRPr lang="en-US" sz="1100" dirty="0">
                <a:solidFill>
                  <a:srgbClr val="6B6462"/>
                </a:solidFill>
                <a:effectLst/>
                <a:latin typeface="Gill Sans MT" panose="020B0502020104020203" pitchFamily="34" charset="0"/>
                <a:ea typeface="Gill Sans"/>
                <a:cs typeface="Gill Sans"/>
              </a:endParaRPr>
            </a:p>
          </p:txBody>
        </p:sp>
        <p:sp>
          <p:nvSpPr>
            <p:cNvPr id="27" name="Rectangle: Rounded Corners 26">
              <a:extLst>
                <a:ext uri="{FF2B5EF4-FFF2-40B4-BE49-F238E27FC236}">
                  <a16:creationId xmlns:a16="http://schemas.microsoft.com/office/drawing/2014/main" id="{7A267C6A-E742-4D5F-95E7-ED5EC0DDFFE1}"/>
                </a:ext>
              </a:extLst>
            </p:cNvPr>
            <p:cNvSpPr/>
            <p:nvPr/>
          </p:nvSpPr>
          <p:spPr>
            <a:xfrm>
              <a:off x="4036223" y="4828007"/>
              <a:ext cx="2525039" cy="1828800"/>
            </a:xfrm>
            <a:prstGeom prst="roundRect">
              <a:avLst/>
            </a:prstGeom>
            <a:solidFill>
              <a:schemeClr val="bg2">
                <a:lumMod val="75000"/>
              </a:schemeClr>
            </a:solidFill>
            <a:ln>
              <a:solidFill>
                <a:schemeClr val="bg2">
                  <a:lumMod val="75000"/>
                </a:schemeClr>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800"/>
                </a:spcAft>
              </a:pPr>
              <a:r>
                <a:rPr lang="en-US" sz="1100" b="1" dirty="0">
                  <a:solidFill>
                    <a:srgbClr val="FFFFFF"/>
                  </a:solidFill>
                  <a:effectLst/>
                  <a:latin typeface="Gill Sans MT" panose="020B0502020104020203" pitchFamily="34" charset="0"/>
                  <a:ea typeface="Gill Sans"/>
                  <a:cs typeface="Gill Sans"/>
                </a:rPr>
                <a:t>Local government institutions</a:t>
              </a:r>
              <a:r>
                <a:rPr lang="en-US" sz="1100" dirty="0">
                  <a:solidFill>
                    <a:srgbClr val="FFFFFF"/>
                  </a:solidFill>
                  <a:effectLst/>
                  <a:latin typeface="Gill Sans MT" panose="020B0502020104020203" pitchFamily="34" charset="0"/>
                  <a:ea typeface="Gill Sans"/>
                  <a:cs typeface="Gill Sans"/>
                </a:rPr>
                <a:t> provide leadership, resource and implement/ coordinate the system, and oversee the partnerships required to achieve/ensure sustained service delivery.</a:t>
              </a:r>
              <a:endParaRPr lang="en-US" sz="1100" dirty="0">
                <a:solidFill>
                  <a:srgbClr val="6B6462"/>
                </a:solidFill>
                <a:effectLst/>
                <a:latin typeface="Gill Sans MT" panose="020B0502020104020203" pitchFamily="34" charset="0"/>
                <a:ea typeface="Gill Sans"/>
                <a:cs typeface="Gill Sans"/>
              </a:endParaRPr>
            </a:p>
            <a:p>
              <a:pPr>
                <a:spcAft>
                  <a:spcPts val="800"/>
                </a:spcAft>
              </a:pPr>
              <a:r>
                <a:rPr lang="en-US" sz="1100" dirty="0">
                  <a:solidFill>
                    <a:srgbClr val="FFFFFF"/>
                  </a:solidFill>
                  <a:effectLst/>
                  <a:latin typeface="Gill Sans MT" panose="020B0502020104020203" pitchFamily="34" charset="0"/>
                  <a:ea typeface="Gill Sans"/>
                  <a:cs typeface="Gill Sans"/>
                </a:rPr>
                <a:t> </a:t>
              </a:r>
              <a:endParaRPr lang="en-US" sz="1100" dirty="0">
                <a:solidFill>
                  <a:srgbClr val="6B6462"/>
                </a:solidFill>
                <a:effectLst/>
                <a:latin typeface="Gill Sans MT" panose="020B0502020104020203" pitchFamily="34" charset="0"/>
                <a:ea typeface="Gill Sans"/>
                <a:cs typeface="Gill Sans"/>
              </a:endParaRPr>
            </a:p>
          </p:txBody>
        </p:sp>
      </p:grpSp>
    </p:spTree>
    <p:extLst>
      <p:ext uri="{BB962C8B-B14F-4D97-AF65-F5344CB8AC3E}">
        <p14:creationId xmlns:p14="http://schemas.microsoft.com/office/powerpoint/2010/main" val="3255844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4084A-0D77-49BF-B6A4-01B95C0EB06E}"/>
              </a:ext>
            </a:extLst>
          </p:cNvPr>
          <p:cNvSpPr>
            <a:spLocks noGrp="1"/>
          </p:cNvSpPr>
          <p:nvPr>
            <p:ph type="title"/>
          </p:nvPr>
        </p:nvSpPr>
        <p:spPr/>
        <p:txBody>
          <a:bodyPr/>
          <a:lstStyle/>
          <a:p>
            <a:r>
              <a:rPr lang="en-US" dirty="0"/>
              <a:t>Questions – elements and pathways </a:t>
            </a:r>
            <a:br>
              <a:rPr lang="en-US" dirty="0"/>
            </a:br>
            <a:r>
              <a:rPr lang="en-US" dirty="0"/>
              <a:t>of change</a:t>
            </a:r>
          </a:p>
        </p:txBody>
      </p:sp>
      <p:sp>
        <p:nvSpPr>
          <p:cNvPr id="4" name="Content Placeholder 3">
            <a:extLst>
              <a:ext uri="{FF2B5EF4-FFF2-40B4-BE49-F238E27FC236}">
                <a16:creationId xmlns:a16="http://schemas.microsoft.com/office/drawing/2014/main" id="{B5036432-E6EB-4664-90BF-7EF673254D1C}"/>
              </a:ext>
            </a:extLst>
          </p:cNvPr>
          <p:cNvSpPr>
            <a:spLocks noGrp="1"/>
          </p:cNvSpPr>
          <p:nvPr>
            <p:ph idx="1"/>
          </p:nvPr>
        </p:nvSpPr>
        <p:spPr/>
        <p:txBody>
          <a:bodyPr>
            <a:normAutofit/>
          </a:bodyPr>
          <a:lstStyle/>
          <a:p>
            <a:pPr marL="342900" indent="-342900">
              <a:buFont typeface="Arial" panose="020B0604020202020204" pitchFamily="34" charset="0"/>
              <a:buChar char="•"/>
            </a:pPr>
            <a:r>
              <a:rPr lang="en-US" sz="2800" dirty="0"/>
              <a:t>Are we missing any elements? (building blocks, interventions, processes)</a:t>
            </a:r>
          </a:p>
          <a:p>
            <a:pPr marL="342900" indent="-342900">
              <a:buFont typeface="Arial" panose="020B0604020202020204" pitchFamily="34" charset="0"/>
              <a:buChar char="•"/>
            </a:pPr>
            <a:r>
              <a:rPr lang="en-US" sz="2800" dirty="0"/>
              <a:t>Are some national building blocks more important than others to implement AWS at a subnational level?</a:t>
            </a:r>
          </a:p>
          <a:p>
            <a:pPr marL="342900" indent="-342900">
              <a:buFont typeface="Arial" panose="020B0604020202020204" pitchFamily="34" charset="0"/>
              <a:buChar char="•"/>
            </a:pPr>
            <a:r>
              <a:rPr lang="en-US" sz="2800" dirty="0"/>
              <a:t>Are some subnational building blocks higher priority than others? Do some need to be in place before others? </a:t>
            </a:r>
          </a:p>
          <a:p>
            <a:pPr marL="342900" indent="-342900">
              <a:buFont typeface="Arial" panose="020B0604020202020204" pitchFamily="34" charset="0"/>
              <a:buChar char="•"/>
            </a:pPr>
            <a:r>
              <a:rPr lang="en-US" sz="2800" dirty="0"/>
              <a:t>Other thoughts on this high-level TOC?</a:t>
            </a:r>
          </a:p>
          <a:p>
            <a:pPr marL="342900" indent="-342900">
              <a:buFont typeface="Arial" panose="020B0604020202020204" pitchFamily="34" charset="0"/>
              <a:buChar char="•"/>
            </a:pPr>
            <a:endParaRPr lang="en-US" sz="2800" dirty="0"/>
          </a:p>
        </p:txBody>
      </p:sp>
      <p:pic>
        <p:nvPicPr>
          <p:cNvPr id="5" name="Content Placeholder 6">
            <a:extLst>
              <a:ext uri="{FF2B5EF4-FFF2-40B4-BE49-F238E27FC236}">
                <a16:creationId xmlns:a16="http://schemas.microsoft.com/office/drawing/2014/main" id="{8F5ACB1D-0915-4C66-9917-96F16B1FB2BC}"/>
              </a:ext>
            </a:extLst>
          </p:cNvPr>
          <p:cNvPicPr>
            <a:picLocks/>
          </p:cNvPicPr>
          <p:nvPr/>
        </p:nvPicPr>
        <p:blipFill>
          <a:blip r:embed="rId3"/>
          <a:stretch>
            <a:fillRect/>
          </a:stretch>
        </p:blipFill>
        <p:spPr>
          <a:xfrm>
            <a:off x="468367" y="5926198"/>
            <a:ext cx="1709930" cy="665163"/>
          </a:xfrm>
          <a:prstGeom prst="rect">
            <a:avLst/>
          </a:prstGeom>
        </p:spPr>
      </p:pic>
    </p:spTree>
    <p:extLst>
      <p:ext uri="{BB962C8B-B14F-4D97-AF65-F5344CB8AC3E}">
        <p14:creationId xmlns:p14="http://schemas.microsoft.com/office/powerpoint/2010/main" val="914595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3867498-C99D-49A8-13BB-04D1C16100D7}"/>
              </a:ext>
            </a:extLst>
          </p:cNvPr>
          <p:cNvSpPr>
            <a:spLocks noGrp="1"/>
          </p:cNvSpPr>
          <p:nvPr>
            <p:ph type="title"/>
          </p:nvPr>
        </p:nvSpPr>
        <p:spPr>
          <a:xfrm>
            <a:off x="3422822" y="1353665"/>
            <a:ext cx="7962805" cy="4787643"/>
          </a:xfrm>
        </p:spPr>
        <p:txBody>
          <a:bodyPr>
            <a:normAutofit/>
          </a:bodyPr>
          <a:lstStyle/>
          <a:p>
            <a:r>
              <a:rPr lang="en-US" dirty="0"/>
              <a:t>Nice, this TOC, but how to implement, sequence and combine all these different processes, interventions </a:t>
            </a:r>
            <a:br>
              <a:rPr lang="en-US" dirty="0"/>
            </a:br>
            <a:r>
              <a:rPr lang="en-US" dirty="0"/>
              <a:t>and activities? </a:t>
            </a:r>
            <a:endParaRPr lang="en-GB" dirty="0"/>
          </a:p>
        </p:txBody>
      </p:sp>
      <p:pic>
        <p:nvPicPr>
          <p:cNvPr id="8" name="Content Placeholder 6">
            <a:extLst>
              <a:ext uri="{FF2B5EF4-FFF2-40B4-BE49-F238E27FC236}">
                <a16:creationId xmlns:a16="http://schemas.microsoft.com/office/drawing/2014/main" id="{FA4FBBA0-7FDD-4622-9085-29C6C3288C5B}"/>
              </a:ext>
            </a:extLst>
          </p:cNvPr>
          <p:cNvPicPr>
            <a:picLocks/>
          </p:cNvPicPr>
          <p:nvPr/>
        </p:nvPicPr>
        <p:blipFill>
          <a:blip r:embed="rId3"/>
          <a:stretch>
            <a:fillRect/>
          </a:stretch>
        </p:blipFill>
        <p:spPr>
          <a:xfrm>
            <a:off x="144276" y="5984071"/>
            <a:ext cx="1709930" cy="665163"/>
          </a:xfrm>
          <a:prstGeom prst="rect">
            <a:avLst/>
          </a:prstGeom>
        </p:spPr>
      </p:pic>
    </p:spTree>
    <p:extLst>
      <p:ext uri="{BB962C8B-B14F-4D97-AF65-F5344CB8AC3E}">
        <p14:creationId xmlns:p14="http://schemas.microsoft.com/office/powerpoint/2010/main" val="941050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4084A-0D77-49BF-B6A4-01B95C0EB06E}"/>
              </a:ext>
            </a:extLst>
          </p:cNvPr>
          <p:cNvSpPr>
            <a:spLocks noGrp="1"/>
          </p:cNvSpPr>
          <p:nvPr>
            <p:ph type="title"/>
          </p:nvPr>
        </p:nvSpPr>
        <p:spPr/>
        <p:txBody>
          <a:bodyPr/>
          <a:lstStyle/>
          <a:p>
            <a:r>
              <a:rPr lang="en-US" dirty="0"/>
              <a:t>An example on market-based sanitation</a:t>
            </a:r>
          </a:p>
        </p:txBody>
      </p:sp>
      <p:pic>
        <p:nvPicPr>
          <p:cNvPr id="5" name="Content Placeholder 6">
            <a:extLst>
              <a:ext uri="{FF2B5EF4-FFF2-40B4-BE49-F238E27FC236}">
                <a16:creationId xmlns:a16="http://schemas.microsoft.com/office/drawing/2014/main" id="{8F5ACB1D-0915-4C66-9917-96F16B1FB2BC}"/>
              </a:ext>
            </a:extLst>
          </p:cNvPr>
          <p:cNvPicPr>
            <a:picLocks/>
          </p:cNvPicPr>
          <p:nvPr/>
        </p:nvPicPr>
        <p:blipFill>
          <a:blip r:embed="rId30"/>
          <a:stretch>
            <a:fillRect/>
          </a:stretch>
        </p:blipFill>
        <p:spPr>
          <a:xfrm>
            <a:off x="468367" y="5926198"/>
            <a:ext cx="1709930" cy="665163"/>
          </a:xfrm>
          <a:prstGeom prst="rect">
            <a:avLst/>
          </a:prstGeom>
        </p:spPr>
      </p:pic>
      <p:graphicFrame>
        <p:nvGraphicFramePr>
          <p:cNvPr id="7" name="Chart 6">
            <a:extLst>
              <a:ext uri="{FF2B5EF4-FFF2-40B4-BE49-F238E27FC236}">
                <a16:creationId xmlns:a16="http://schemas.microsoft.com/office/drawing/2014/main" id="{CF5C7B86-396E-47CA-9597-19A3964B64AF}"/>
              </a:ext>
            </a:extLst>
          </p:cNvPr>
          <p:cNvGraphicFramePr/>
          <p:nvPr>
            <p:custDataLst>
              <p:tags r:id="rId1"/>
            </p:custDataLst>
            <p:extLst>
              <p:ext uri="{D42A27DB-BD31-4B8C-83A1-F6EECF244321}">
                <p14:modId xmlns:p14="http://schemas.microsoft.com/office/powerpoint/2010/main" val="3427421348"/>
              </p:ext>
            </p:extLst>
          </p:nvPr>
        </p:nvGraphicFramePr>
        <p:xfrm>
          <a:off x="7098661" y="2837129"/>
          <a:ext cx="4684689" cy="2284600"/>
        </p:xfrm>
        <a:graphic>
          <a:graphicData uri="http://schemas.openxmlformats.org/drawingml/2006/chart">
            <c:chart xmlns:c="http://schemas.openxmlformats.org/drawingml/2006/chart" xmlns:r="http://schemas.openxmlformats.org/officeDocument/2006/relationships" r:id="rId31"/>
          </a:graphicData>
        </a:graphic>
      </p:graphicFrame>
      <p:cxnSp>
        <p:nvCxnSpPr>
          <p:cNvPr id="8" name="Straight Connector 7">
            <a:extLst>
              <a:ext uri="{FF2B5EF4-FFF2-40B4-BE49-F238E27FC236}">
                <a16:creationId xmlns:a16="http://schemas.microsoft.com/office/drawing/2014/main" id="{69276FC9-2E14-4DFE-850D-95CF6F19225C}"/>
              </a:ext>
            </a:extLst>
          </p:cNvPr>
          <p:cNvCxnSpPr/>
          <p:nvPr>
            <p:custDataLst>
              <p:tags r:id="rId2"/>
            </p:custDataLst>
          </p:nvPr>
        </p:nvCxnSpPr>
        <p:spPr bwMode="auto">
          <a:xfrm>
            <a:off x="11317191" y="4609374"/>
            <a:ext cx="0" cy="2876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21174061-53A6-4CE8-81E4-4D27ADF14F67}"/>
              </a:ext>
            </a:extLst>
          </p:cNvPr>
          <p:cNvCxnSpPr/>
          <p:nvPr>
            <p:custDataLst>
              <p:tags r:id="rId3"/>
            </p:custDataLst>
          </p:nvPr>
        </p:nvCxnSpPr>
        <p:spPr bwMode="auto">
          <a:xfrm>
            <a:off x="8860408" y="4609374"/>
            <a:ext cx="2456785" cy="0"/>
          </a:xfrm>
          <a:prstGeom prst="line">
            <a:avLst/>
          </a:prstGeom>
          <a:ln w="19050"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DC85FDC-9F24-47A6-8D85-3E0B122C17C8}"/>
              </a:ext>
            </a:extLst>
          </p:cNvPr>
          <p:cNvCxnSpPr/>
          <p:nvPr>
            <p:custDataLst>
              <p:tags r:id="rId4"/>
            </p:custDataLst>
          </p:nvPr>
        </p:nvCxnSpPr>
        <p:spPr bwMode="auto">
          <a:xfrm>
            <a:off x="8860408" y="4897049"/>
            <a:ext cx="2456785" cy="0"/>
          </a:xfrm>
          <a:prstGeom prst="line">
            <a:avLst/>
          </a:prstGeom>
          <a:ln w="19050"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438409E8-D583-49AF-8171-2648C8CFDCD9}"/>
              </a:ext>
            </a:extLst>
          </p:cNvPr>
          <p:cNvCxnSpPr/>
          <p:nvPr>
            <p:custDataLst>
              <p:tags r:id="rId5"/>
            </p:custDataLst>
          </p:nvPr>
        </p:nvCxnSpPr>
        <p:spPr bwMode="auto">
          <a:xfrm>
            <a:off x="8860406" y="4609374"/>
            <a:ext cx="0" cy="2876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29103354-A8DA-4953-A744-BBC8A9BCBC9E}"/>
              </a:ext>
            </a:extLst>
          </p:cNvPr>
          <p:cNvCxnSpPr/>
          <p:nvPr>
            <p:custDataLst>
              <p:tags r:id="rId6"/>
            </p:custDataLst>
          </p:nvPr>
        </p:nvCxnSpPr>
        <p:spPr bwMode="auto">
          <a:xfrm>
            <a:off x="10647350" y="4092819"/>
            <a:ext cx="0" cy="2876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ECADEA00-EF08-45A4-BD76-5B26D2BECE16}"/>
              </a:ext>
            </a:extLst>
          </p:cNvPr>
          <p:cNvCxnSpPr/>
          <p:nvPr>
            <p:custDataLst>
              <p:tags r:id="rId7"/>
            </p:custDataLst>
          </p:nvPr>
        </p:nvCxnSpPr>
        <p:spPr bwMode="auto">
          <a:xfrm>
            <a:off x="7833596" y="4092819"/>
            <a:ext cx="2813754" cy="0"/>
          </a:xfrm>
          <a:prstGeom prst="line">
            <a:avLst/>
          </a:prstGeom>
          <a:ln w="19050"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4E17C2-952E-4D4D-B574-9D9B352076AF}"/>
              </a:ext>
            </a:extLst>
          </p:cNvPr>
          <p:cNvCxnSpPr/>
          <p:nvPr>
            <p:custDataLst>
              <p:tags r:id="rId8"/>
            </p:custDataLst>
          </p:nvPr>
        </p:nvCxnSpPr>
        <p:spPr bwMode="auto">
          <a:xfrm>
            <a:off x="7833596" y="4380495"/>
            <a:ext cx="2813754" cy="0"/>
          </a:xfrm>
          <a:prstGeom prst="line">
            <a:avLst/>
          </a:prstGeom>
          <a:ln w="19050"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5E784A63-D307-4E86-A525-377A4057CDAD}"/>
              </a:ext>
            </a:extLst>
          </p:cNvPr>
          <p:cNvCxnSpPr/>
          <p:nvPr>
            <p:custDataLst>
              <p:tags r:id="rId9"/>
            </p:custDataLst>
          </p:nvPr>
        </p:nvCxnSpPr>
        <p:spPr bwMode="auto">
          <a:xfrm>
            <a:off x="7833596" y="4092819"/>
            <a:ext cx="0" cy="2876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6CDAF69F-A566-4031-9838-ADD0EE3E0CA5}"/>
              </a:ext>
            </a:extLst>
          </p:cNvPr>
          <p:cNvCxnSpPr/>
          <p:nvPr>
            <p:custDataLst>
              <p:tags r:id="rId10"/>
            </p:custDataLst>
          </p:nvPr>
        </p:nvCxnSpPr>
        <p:spPr bwMode="auto">
          <a:xfrm>
            <a:off x="9261471" y="3576264"/>
            <a:ext cx="0" cy="2876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7D9D186-172B-4762-A1C7-943C24E7F90D}"/>
              </a:ext>
            </a:extLst>
          </p:cNvPr>
          <p:cNvCxnSpPr/>
          <p:nvPr>
            <p:custDataLst>
              <p:tags r:id="rId11"/>
            </p:custDataLst>
          </p:nvPr>
        </p:nvCxnSpPr>
        <p:spPr bwMode="auto">
          <a:xfrm>
            <a:off x="7699207" y="3863940"/>
            <a:ext cx="1562263" cy="0"/>
          </a:xfrm>
          <a:prstGeom prst="line">
            <a:avLst/>
          </a:prstGeom>
          <a:ln w="19050"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FD59B54B-1778-4A17-8DE9-DD5A4E51A460}"/>
              </a:ext>
            </a:extLst>
          </p:cNvPr>
          <p:cNvCxnSpPr/>
          <p:nvPr>
            <p:custDataLst>
              <p:tags r:id="rId12"/>
            </p:custDataLst>
          </p:nvPr>
        </p:nvCxnSpPr>
        <p:spPr bwMode="auto">
          <a:xfrm>
            <a:off x="7699207" y="3576264"/>
            <a:ext cx="1562263" cy="0"/>
          </a:xfrm>
          <a:prstGeom prst="line">
            <a:avLst/>
          </a:prstGeom>
          <a:ln w="19050"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5AC2ED25-33F8-4255-9EDF-A56A0ED3E31D}"/>
              </a:ext>
            </a:extLst>
          </p:cNvPr>
          <p:cNvCxnSpPr/>
          <p:nvPr>
            <p:custDataLst>
              <p:tags r:id="rId13"/>
            </p:custDataLst>
          </p:nvPr>
        </p:nvCxnSpPr>
        <p:spPr bwMode="auto">
          <a:xfrm>
            <a:off x="7699208" y="3576264"/>
            <a:ext cx="0" cy="2876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53DFB039-EFD3-4835-9261-6915E4D1F609}"/>
              </a:ext>
            </a:extLst>
          </p:cNvPr>
          <p:cNvCxnSpPr/>
          <p:nvPr>
            <p:custDataLst>
              <p:tags r:id="rId14"/>
            </p:custDataLst>
          </p:nvPr>
        </p:nvCxnSpPr>
        <p:spPr bwMode="auto">
          <a:xfrm>
            <a:off x="9752828" y="3059710"/>
            <a:ext cx="0" cy="2876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77A39A6D-5E87-423A-B8A8-B30320BF5020}"/>
              </a:ext>
            </a:extLst>
          </p:cNvPr>
          <p:cNvCxnSpPr/>
          <p:nvPr>
            <p:custDataLst>
              <p:tags r:id="rId15"/>
            </p:custDataLst>
          </p:nvPr>
        </p:nvCxnSpPr>
        <p:spPr bwMode="auto">
          <a:xfrm>
            <a:off x="8324953" y="3059709"/>
            <a:ext cx="1427875" cy="0"/>
          </a:xfrm>
          <a:prstGeom prst="line">
            <a:avLst/>
          </a:prstGeom>
          <a:ln w="19050"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5A32DB05-EC2C-4C47-A020-111E5DDFD139}"/>
              </a:ext>
            </a:extLst>
          </p:cNvPr>
          <p:cNvCxnSpPr/>
          <p:nvPr>
            <p:custDataLst>
              <p:tags r:id="rId16"/>
            </p:custDataLst>
          </p:nvPr>
        </p:nvCxnSpPr>
        <p:spPr bwMode="auto">
          <a:xfrm>
            <a:off x="8324953" y="3347385"/>
            <a:ext cx="1427875" cy="0"/>
          </a:xfrm>
          <a:prstGeom prst="line">
            <a:avLst/>
          </a:prstGeom>
          <a:ln w="19050"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0E8A1F05-5386-46FF-B588-71A7DE2C26EA}"/>
              </a:ext>
            </a:extLst>
          </p:cNvPr>
          <p:cNvCxnSpPr/>
          <p:nvPr>
            <p:custDataLst>
              <p:tags r:id="rId17"/>
            </p:custDataLst>
          </p:nvPr>
        </p:nvCxnSpPr>
        <p:spPr bwMode="auto">
          <a:xfrm>
            <a:off x="8324953" y="3059710"/>
            <a:ext cx="0" cy="2876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 name="Text Placeholder 2">
            <a:extLst>
              <a:ext uri="{FF2B5EF4-FFF2-40B4-BE49-F238E27FC236}">
                <a16:creationId xmlns:a16="http://schemas.microsoft.com/office/drawing/2014/main" id="{F1874BE4-3511-471B-BCB6-F31E447DC279}"/>
              </a:ext>
            </a:extLst>
          </p:cNvPr>
          <p:cNvSpPr>
            <a:spLocks noGrp="1"/>
          </p:cNvSpPr>
          <p:nvPr>
            <p:custDataLst>
              <p:tags r:id="rId18"/>
            </p:custDataLst>
          </p:nvPr>
        </p:nvSpPr>
        <p:spPr bwMode="auto">
          <a:xfrm>
            <a:off x="6577909" y="3101706"/>
            <a:ext cx="516555" cy="201582"/>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69228" indent="-269228" algn="l" defTabSz="534741" rtl="0" eaLnBrk="1" latinLnBrk="0" hangingPunct="1">
              <a:spcBef>
                <a:spcPts val="0"/>
              </a:spcBef>
              <a:spcAft>
                <a:spcPts val="936"/>
              </a:spcAft>
              <a:buFont typeface="Arial"/>
              <a:buChar char="•"/>
              <a:defRPr sz="1900" b="0" i="0" kern="1200">
                <a:solidFill>
                  <a:srgbClr val="6C6463"/>
                </a:solidFill>
                <a:latin typeface="Gill Sans MT"/>
                <a:ea typeface="+mn-ea"/>
                <a:cs typeface="Gill Sans MT"/>
              </a:defRPr>
            </a:lvl1pPr>
            <a:lvl2pPr marL="800256" indent="-269228" algn="l" defTabSz="534741" rtl="0" eaLnBrk="1" latinLnBrk="0" hangingPunct="1">
              <a:spcBef>
                <a:spcPts val="0"/>
              </a:spcBef>
              <a:spcAft>
                <a:spcPts val="936"/>
              </a:spcAft>
              <a:buFont typeface="Arial"/>
              <a:buChar char="–"/>
              <a:defRPr sz="1900" b="0" i="0" kern="1200">
                <a:solidFill>
                  <a:srgbClr val="6C6463"/>
                </a:solidFill>
                <a:latin typeface="Gill Sans MT"/>
                <a:ea typeface="+mn-ea"/>
                <a:cs typeface="Gill Sans MT"/>
              </a:defRPr>
            </a:lvl2pPr>
            <a:lvl3pPr marL="1069482" indent="-269228" algn="l" defTabSz="534741" rtl="0" eaLnBrk="1" latinLnBrk="0" hangingPunct="1">
              <a:spcBef>
                <a:spcPct val="20000"/>
              </a:spcBef>
              <a:buFont typeface="Arial"/>
              <a:buChar char="•"/>
              <a:defRPr sz="2100" b="0" i="0" kern="1200">
                <a:solidFill>
                  <a:srgbClr val="6C6463"/>
                </a:solidFill>
                <a:latin typeface="Gill Sans MT"/>
                <a:ea typeface="+mn-ea"/>
                <a:cs typeface="Gill Sans MT"/>
              </a:defRPr>
            </a:lvl3pPr>
            <a:lvl4pPr marL="1340566" indent="-271084" algn="l" defTabSz="534741" rtl="0" eaLnBrk="1" latinLnBrk="0" hangingPunct="1">
              <a:spcBef>
                <a:spcPct val="20000"/>
              </a:spcBef>
              <a:buFont typeface="Arial"/>
              <a:buChar char="–"/>
              <a:defRPr sz="1900" b="0" i="0" kern="1200">
                <a:solidFill>
                  <a:srgbClr val="6C6463"/>
                </a:solidFill>
                <a:latin typeface="Gill Sans MT"/>
                <a:ea typeface="+mn-ea"/>
                <a:cs typeface="Gill Sans MT"/>
              </a:defRPr>
            </a:lvl4pPr>
            <a:lvl5pPr marL="1468682" indent="-269228" algn="l" defTabSz="534741" rtl="0" eaLnBrk="1" latinLnBrk="0" hangingPunct="1">
              <a:spcBef>
                <a:spcPct val="20000"/>
              </a:spcBef>
              <a:buFont typeface="Arial"/>
              <a:buChar char="»"/>
              <a:defRPr sz="1600" b="0" i="0" kern="1200">
                <a:solidFill>
                  <a:srgbClr val="6C6463"/>
                </a:solidFill>
                <a:latin typeface="Gill Sans MT"/>
                <a:ea typeface="+mn-ea"/>
                <a:cs typeface="Gill Sans MT"/>
              </a:defRPr>
            </a:lvl5pPr>
            <a:lvl6pPr marL="2941076" indent="-267371" algn="l" defTabSz="534741" rtl="0" eaLnBrk="1" latinLnBrk="0" hangingPunct="1">
              <a:spcBef>
                <a:spcPct val="20000"/>
              </a:spcBef>
              <a:buFont typeface="Arial"/>
              <a:buChar char="•"/>
              <a:defRPr sz="2300" kern="1200">
                <a:solidFill>
                  <a:schemeClr val="tx1"/>
                </a:solidFill>
                <a:latin typeface="+mn-lt"/>
                <a:ea typeface="+mn-ea"/>
                <a:cs typeface="+mn-cs"/>
              </a:defRPr>
            </a:lvl6pPr>
            <a:lvl7pPr marL="3475817" indent="-267371" algn="l" defTabSz="534741" rtl="0" eaLnBrk="1" latinLnBrk="0" hangingPunct="1">
              <a:spcBef>
                <a:spcPct val="20000"/>
              </a:spcBef>
              <a:buFont typeface="Arial"/>
              <a:buChar char="•"/>
              <a:defRPr sz="2300" kern="1200">
                <a:solidFill>
                  <a:schemeClr val="tx1"/>
                </a:solidFill>
                <a:latin typeface="+mn-lt"/>
                <a:ea typeface="+mn-ea"/>
                <a:cs typeface="+mn-cs"/>
              </a:defRPr>
            </a:lvl7pPr>
            <a:lvl8pPr marL="4010558" indent="-267371" algn="l" defTabSz="534741" rtl="0" eaLnBrk="1" latinLnBrk="0" hangingPunct="1">
              <a:spcBef>
                <a:spcPct val="20000"/>
              </a:spcBef>
              <a:buFont typeface="Arial"/>
              <a:buChar char="•"/>
              <a:defRPr sz="2300" kern="1200">
                <a:solidFill>
                  <a:schemeClr val="tx1"/>
                </a:solidFill>
                <a:latin typeface="+mn-lt"/>
                <a:ea typeface="+mn-ea"/>
                <a:cs typeface="+mn-cs"/>
              </a:defRPr>
            </a:lvl8pPr>
            <a:lvl9pPr marL="4545300" indent="-267371" algn="l" defTabSz="534741" rtl="0" eaLnBrk="1" latinLnBrk="0" hangingPunct="1">
              <a:spcBef>
                <a:spcPct val="20000"/>
              </a:spcBef>
              <a:buFont typeface="Arial"/>
              <a:buChar char="•"/>
              <a:defRPr sz="2300" kern="1200">
                <a:solidFill>
                  <a:schemeClr val="tx1"/>
                </a:solidFill>
                <a:latin typeface="+mn-lt"/>
                <a:ea typeface="+mn-ea"/>
                <a:cs typeface="+mn-cs"/>
              </a:defRPr>
            </a:lvl9pPr>
          </a:lstStyle>
          <a:p>
            <a:pPr marL="0" lvl="2" indent="0" algn="r" defTabSz="530477">
              <a:spcBef>
                <a:spcPct val="0"/>
              </a:spcBef>
              <a:spcAft>
                <a:spcPct val="0"/>
              </a:spcAft>
              <a:buNone/>
            </a:pPr>
            <a:fld id="{D922398A-DBA0-41DB-B62D-EB92CD004341}" type="datetime'Li''b''e''''''''''''''r''''i''''''a'''''">
              <a:rPr lang="en-US" altLang="en-US" sz="1323">
                <a:latin typeface="+mn-lt"/>
                <a:cs typeface="+mn-cs"/>
              </a:rPr>
              <a:pPr marL="0" lvl="2" indent="0" algn="r" defTabSz="530477">
                <a:spcBef>
                  <a:spcPct val="0"/>
                </a:spcBef>
                <a:spcAft>
                  <a:spcPct val="0"/>
                </a:spcAft>
                <a:buNone/>
              </a:pPr>
              <a:t>Liberia</a:t>
            </a:fld>
            <a:r>
              <a:rPr lang="en-US" sz="1323" baseline="30000" dirty="0">
                <a:solidFill>
                  <a:schemeClr val="tx1">
                    <a:lumMod val="65000"/>
                    <a:lumOff val="35000"/>
                  </a:schemeClr>
                </a:solidFill>
              </a:rPr>
              <a:t>1</a:t>
            </a:r>
            <a:endParaRPr lang="en-US" sz="1323" dirty="0">
              <a:solidFill>
                <a:schemeClr val="tx1">
                  <a:lumMod val="65000"/>
                  <a:lumOff val="35000"/>
                </a:schemeClr>
              </a:solidFill>
              <a:latin typeface="+mn-lt"/>
              <a:cs typeface="+mn-cs"/>
            </a:endParaRPr>
          </a:p>
        </p:txBody>
      </p:sp>
      <p:sp>
        <p:nvSpPr>
          <p:cNvPr id="25" name="Text Placeholder 2">
            <a:extLst>
              <a:ext uri="{FF2B5EF4-FFF2-40B4-BE49-F238E27FC236}">
                <a16:creationId xmlns:a16="http://schemas.microsoft.com/office/drawing/2014/main" id="{0E1A7DE5-411C-4C2D-8DE7-C17F6AF797CD}"/>
              </a:ext>
            </a:extLst>
          </p:cNvPr>
          <p:cNvSpPr>
            <a:spLocks noGrp="1"/>
          </p:cNvSpPr>
          <p:nvPr>
            <p:custDataLst>
              <p:tags r:id="rId19"/>
            </p:custDataLst>
          </p:nvPr>
        </p:nvSpPr>
        <p:spPr bwMode="auto">
          <a:xfrm>
            <a:off x="6206240" y="4651370"/>
            <a:ext cx="888223" cy="201582"/>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69228" indent="-269228" algn="l" defTabSz="534741" rtl="0" eaLnBrk="1" latinLnBrk="0" hangingPunct="1">
              <a:spcBef>
                <a:spcPts val="0"/>
              </a:spcBef>
              <a:spcAft>
                <a:spcPts val="936"/>
              </a:spcAft>
              <a:buFont typeface="Arial"/>
              <a:buChar char="•"/>
              <a:defRPr sz="1900" b="0" i="0" kern="1200">
                <a:solidFill>
                  <a:srgbClr val="6C6463"/>
                </a:solidFill>
                <a:latin typeface="Gill Sans MT"/>
                <a:ea typeface="+mn-ea"/>
                <a:cs typeface="Gill Sans MT"/>
              </a:defRPr>
            </a:lvl1pPr>
            <a:lvl2pPr marL="800256" indent="-269228" algn="l" defTabSz="534741" rtl="0" eaLnBrk="1" latinLnBrk="0" hangingPunct="1">
              <a:spcBef>
                <a:spcPts val="0"/>
              </a:spcBef>
              <a:spcAft>
                <a:spcPts val="936"/>
              </a:spcAft>
              <a:buFont typeface="Arial"/>
              <a:buChar char="–"/>
              <a:defRPr sz="1900" b="0" i="0" kern="1200">
                <a:solidFill>
                  <a:srgbClr val="6C6463"/>
                </a:solidFill>
                <a:latin typeface="Gill Sans MT"/>
                <a:ea typeface="+mn-ea"/>
                <a:cs typeface="Gill Sans MT"/>
              </a:defRPr>
            </a:lvl2pPr>
            <a:lvl3pPr marL="1069482" indent="-269228" algn="l" defTabSz="534741" rtl="0" eaLnBrk="1" latinLnBrk="0" hangingPunct="1">
              <a:spcBef>
                <a:spcPct val="20000"/>
              </a:spcBef>
              <a:buFont typeface="Arial"/>
              <a:buChar char="•"/>
              <a:defRPr sz="2100" b="0" i="0" kern="1200">
                <a:solidFill>
                  <a:srgbClr val="6C6463"/>
                </a:solidFill>
                <a:latin typeface="Gill Sans MT"/>
                <a:ea typeface="+mn-ea"/>
                <a:cs typeface="Gill Sans MT"/>
              </a:defRPr>
            </a:lvl3pPr>
            <a:lvl4pPr marL="1340566" indent="-271084" algn="l" defTabSz="534741" rtl="0" eaLnBrk="1" latinLnBrk="0" hangingPunct="1">
              <a:spcBef>
                <a:spcPct val="20000"/>
              </a:spcBef>
              <a:buFont typeface="Arial"/>
              <a:buChar char="–"/>
              <a:defRPr sz="1900" b="0" i="0" kern="1200">
                <a:solidFill>
                  <a:srgbClr val="6C6463"/>
                </a:solidFill>
                <a:latin typeface="Gill Sans MT"/>
                <a:ea typeface="+mn-ea"/>
                <a:cs typeface="Gill Sans MT"/>
              </a:defRPr>
            </a:lvl4pPr>
            <a:lvl5pPr marL="1468682" indent="-269228" algn="l" defTabSz="534741" rtl="0" eaLnBrk="1" latinLnBrk="0" hangingPunct="1">
              <a:spcBef>
                <a:spcPct val="20000"/>
              </a:spcBef>
              <a:buFont typeface="Arial"/>
              <a:buChar char="»"/>
              <a:defRPr sz="1600" b="0" i="0" kern="1200">
                <a:solidFill>
                  <a:srgbClr val="6C6463"/>
                </a:solidFill>
                <a:latin typeface="Gill Sans MT"/>
                <a:ea typeface="+mn-ea"/>
                <a:cs typeface="Gill Sans MT"/>
              </a:defRPr>
            </a:lvl5pPr>
            <a:lvl6pPr marL="2941076" indent="-267371" algn="l" defTabSz="534741" rtl="0" eaLnBrk="1" latinLnBrk="0" hangingPunct="1">
              <a:spcBef>
                <a:spcPct val="20000"/>
              </a:spcBef>
              <a:buFont typeface="Arial"/>
              <a:buChar char="•"/>
              <a:defRPr sz="2300" kern="1200">
                <a:solidFill>
                  <a:schemeClr val="tx1"/>
                </a:solidFill>
                <a:latin typeface="+mn-lt"/>
                <a:ea typeface="+mn-ea"/>
                <a:cs typeface="+mn-cs"/>
              </a:defRPr>
            </a:lvl6pPr>
            <a:lvl7pPr marL="3475817" indent="-267371" algn="l" defTabSz="534741" rtl="0" eaLnBrk="1" latinLnBrk="0" hangingPunct="1">
              <a:spcBef>
                <a:spcPct val="20000"/>
              </a:spcBef>
              <a:buFont typeface="Arial"/>
              <a:buChar char="•"/>
              <a:defRPr sz="2300" kern="1200">
                <a:solidFill>
                  <a:schemeClr val="tx1"/>
                </a:solidFill>
                <a:latin typeface="+mn-lt"/>
                <a:ea typeface="+mn-ea"/>
                <a:cs typeface="+mn-cs"/>
              </a:defRPr>
            </a:lvl7pPr>
            <a:lvl8pPr marL="4010558" indent="-267371" algn="l" defTabSz="534741" rtl="0" eaLnBrk="1" latinLnBrk="0" hangingPunct="1">
              <a:spcBef>
                <a:spcPct val="20000"/>
              </a:spcBef>
              <a:buFont typeface="Arial"/>
              <a:buChar char="•"/>
              <a:defRPr sz="2300" kern="1200">
                <a:solidFill>
                  <a:schemeClr val="tx1"/>
                </a:solidFill>
                <a:latin typeface="+mn-lt"/>
                <a:ea typeface="+mn-ea"/>
                <a:cs typeface="+mn-cs"/>
              </a:defRPr>
            </a:lvl8pPr>
            <a:lvl9pPr marL="4545300" indent="-267371" algn="l" defTabSz="534741" rtl="0" eaLnBrk="1" latinLnBrk="0" hangingPunct="1">
              <a:spcBef>
                <a:spcPct val="20000"/>
              </a:spcBef>
              <a:buFont typeface="Arial"/>
              <a:buChar char="•"/>
              <a:defRPr sz="2300" kern="1200">
                <a:solidFill>
                  <a:schemeClr val="tx1"/>
                </a:solidFill>
                <a:latin typeface="+mn-lt"/>
                <a:ea typeface="+mn-ea"/>
                <a:cs typeface="+mn-cs"/>
              </a:defRPr>
            </a:lvl9pPr>
          </a:lstStyle>
          <a:p>
            <a:pPr marL="0" lvl="2" indent="0" algn="r" defTabSz="530477">
              <a:spcBef>
                <a:spcPct val="0"/>
              </a:spcBef>
              <a:spcAft>
                <a:spcPct val="0"/>
              </a:spcAft>
              <a:buNone/>
            </a:pPr>
            <a:fld id="{40ADB34D-C133-41BF-9E0A-E7FE86A70DD2}" type="datetime'''''''''''Bi''''''ha''r ''''(''I''ndia'''''')'''''''''''''''">
              <a:rPr lang="en-US" altLang="en-US" sz="1323">
                <a:latin typeface="+mn-lt"/>
                <a:cs typeface="+mn-cs"/>
              </a:rPr>
              <a:pPr marL="0" lvl="2" indent="0" algn="r" defTabSz="530477">
                <a:spcBef>
                  <a:spcPct val="0"/>
                </a:spcBef>
                <a:spcAft>
                  <a:spcPct val="0"/>
                </a:spcAft>
                <a:buNone/>
              </a:pPr>
              <a:t>Bihar (India)</a:t>
            </a:fld>
            <a:r>
              <a:rPr lang="en-US" sz="1323" baseline="30000" dirty="0">
                <a:solidFill>
                  <a:schemeClr val="tx1">
                    <a:lumMod val="65000"/>
                    <a:lumOff val="35000"/>
                  </a:schemeClr>
                </a:solidFill>
              </a:rPr>
              <a:t>4</a:t>
            </a:r>
            <a:endParaRPr lang="en-US" sz="1323" dirty="0">
              <a:solidFill>
                <a:schemeClr val="tx1">
                  <a:lumMod val="65000"/>
                  <a:lumOff val="35000"/>
                </a:schemeClr>
              </a:solidFill>
              <a:latin typeface="+mn-lt"/>
              <a:cs typeface="+mn-cs"/>
            </a:endParaRPr>
          </a:p>
        </p:txBody>
      </p:sp>
      <p:sp>
        <p:nvSpPr>
          <p:cNvPr id="26" name="Text Placeholder 2">
            <a:extLst>
              <a:ext uri="{FF2B5EF4-FFF2-40B4-BE49-F238E27FC236}">
                <a16:creationId xmlns:a16="http://schemas.microsoft.com/office/drawing/2014/main" id="{310554E8-D2CC-4DC6-B7BD-F9F6BE46F463}"/>
              </a:ext>
            </a:extLst>
          </p:cNvPr>
          <p:cNvSpPr>
            <a:spLocks noGrp="1"/>
          </p:cNvSpPr>
          <p:nvPr>
            <p:custDataLst>
              <p:tags r:id="rId20"/>
            </p:custDataLst>
          </p:nvPr>
        </p:nvSpPr>
        <p:spPr bwMode="auto">
          <a:xfrm>
            <a:off x="6535913" y="4134816"/>
            <a:ext cx="558551" cy="201582"/>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69228" indent="-269228" algn="l" defTabSz="534741" rtl="0" eaLnBrk="1" latinLnBrk="0" hangingPunct="1">
              <a:spcBef>
                <a:spcPts val="0"/>
              </a:spcBef>
              <a:spcAft>
                <a:spcPts val="936"/>
              </a:spcAft>
              <a:buFont typeface="Arial"/>
              <a:buChar char="•"/>
              <a:defRPr sz="1900" b="0" i="0" kern="1200">
                <a:solidFill>
                  <a:srgbClr val="6C6463"/>
                </a:solidFill>
                <a:latin typeface="Gill Sans MT"/>
                <a:ea typeface="+mn-ea"/>
                <a:cs typeface="Gill Sans MT"/>
              </a:defRPr>
            </a:lvl1pPr>
            <a:lvl2pPr marL="800256" indent="-269228" algn="l" defTabSz="534741" rtl="0" eaLnBrk="1" latinLnBrk="0" hangingPunct="1">
              <a:spcBef>
                <a:spcPts val="0"/>
              </a:spcBef>
              <a:spcAft>
                <a:spcPts val="936"/>
              </a:spcAft>
              <a:buFont typeface="Arial"/>
              <a:buChar char="–"/>
              <a:defRPr sz="1900" b="0" i="0" kern="1200">
                <a:solidFill>
                  <a:srgbClr val="6C6463"/>
                </a:solidFill>
                <a:latin typeface="Gill Sans MT"/>
                <a:ea typeface="+mn-ea"/>
                <a:cs typeface="Gill Sans MT"/>
              </a:defRPr>
            </a:lvl2pPr>
            <a:lvl3pPr marL="1069482" indent="-269228" algn="l" defTabSz="534741" rtl="0" eaLnBrk="1" latinLnBrk="0" hangingPunct="1">
              <a:spcBef>
                <a:spcPct val="20000"/>
              </a:spcBef>
              <a:buFont typeface="Arial"/>
              <a:buChar char="•"/>
              <a:defRPr sz="2100" b="0" i="0" kern="1200">
                <a:solidFill>
                  <a:srgbClr val="6C6463"/>
                </a:solidFill>
                <a:latin typeface="Gill Sans MT"/>
                <a:ea typeface="+mn-ea"/>
                <a:cs typeface="Gill Sans MT"/>
              </a:defRPr>
            </a:lvl3pPr>
            <a:lvl4pPr marL="1340566" indent="-271084" algn="l" defTabSz="534741" rtl="0" eaLnBrk="1" latinLnBrk="0" hangingPunct="1">
              <a:spcBef>
                <a:spcPct val="20000"/>
              </a:spcBef>
              <a:buFont typeface="Arial"/>
              <a:buChar char="–"/>
              <a:defRPr sz="1900" b="0" i="0" kern="1200">
                <a:solidFill>
                  <a:srgbClr val="6C6463"/>
                </a:solidFill>
                <a:latin typeface="Gill Sans MT"/>
                <a:ea typeface="+mn-ea"/>
                <a:cs typeface="Gill Sans MT"/>
              </a:defRPr>
            </a:lvl4pPr>
            <a:lvl5pPr marL="1468682" indent="-269228" algn="l" defTabSz="534741" rtl="0" eaLnBrk="1" latinLnBrk="0" hangingPunct="1">
              <a:spcBef>
                <a:spcPct val="20000"/>
              </a:spcBef>
              <a:buFont typeface="Arial"/>
              <a:buChar char="»"/>
              <a:defRPr sz="1600" b="0" i="0" kern="1200">
                <a:solidFill>
                  <a:srgbClr val="6C6463"/>
                </a:solidFill>
                <a:latin typeface="Gill Sans MT"/>
                <a:ea typeface="+mn-ea"/>
                <a:cs typeface="Gill Sans MT"/>
              </a:defRPr>
            </a:lvl5pPr>
            <a:lvl6pPr marL="2941076" indent="-267371" algn="l" defTabSz="534741" rtl="0" eaLnBrk="1" latinLnBrk="0" hangingPunct="1">
              <a:spcBef>
                <a:spcPct val="20000"/>
              </a:spcBef>
              <a:buFont typeface="Arial"/>
              <a:buChar char="•"/>
              <a:defRPr sz="2300" kern="1200">
                <a:solidFill>
                  <a:schemeClr val="tx1"/>
                </a:solidFill>
                <a:latin typeface="+mn-lt"/>
                <a:ea typeface="+mn-ea"/>
                <a:cs typeface="+mn-cs"/>
              </a:defRPr>
            </a:lvl6pPr>
            <a:lvl7pPr marL="3475817" indent="-267371" algn="l" defTabSz="534741" rtl="0" eaLnBrk="1" latinLnBrk="0" hangingPunct="1">
              <a:spcBef>
                <a:spcPct val="20000"/>
              </a:spcBef>
              <a:buFont typeface="Arial"/>
              <a:buChar char="•"/>
              <a:defRPr sz="2300" kern="1200">
                <a:solidFill>
                  <a:schemeClr val="tx1"/>
                </a:solidFill>
                <a:latin typeface="+mn-lt"/>
                <a:ea typeface="+mn-ea"/>
                <a:cs typeface="+mn-cs"/>
              </a:defRPr>
            </a:lvl7pPr>
            <a:lvl8pPr marL="4010558" indent="-267371" algn="l" defTabSz="534741" rtl="0" eaLnBrk="1" latinLnBrk="0" hangingPunct="1">
              <a:spcBef>
                <a:spcPct val="20000"/>
              </a:spcBef>
              <a:buFont typeface="Arial"/>
              <a:buChar char="•"/>
              <a:defRPr sz="2300" kern="1200">
                <a:solidFill>
                  <a:schemeClr val="tx1"/>
                </a:solidFill>
                <a:latin typeface="+mn-lt"/>
                <a:ea typeface="+mn-ea"/>
                <a:cs typeface="+mn-cs"/>
              </a:defRPr>
            </a:lvl8pPr>
            <a:lvl9pPr marL="4545300" indent="-267371" algn="l" defTabSz="534741" rtl="0" eaLnBrk="1" latinLnBrk="0" hangingPunct="1">
              <a:spcBef>
                <a:spcPct val="20000"/>
              </a:spcBef>
              <a:buFont typeface="Arial"/>
              <a:buChar char="•"/>
              <a:defRPr sz="2300" kern="1200">
                <a:solidFill>
                  <a:schemeClr val="tx1"/>
                </a:solidFill>
                <a:latin typeface="+mn-lt"/>
                <a:ea typeface="+mn-ea"/>
                <a:cs typeface="+mn-cs"/>
              </a:defRPr>
            </a:lvl9pPr>
          </a:lstStyle>
          <a:p>
            <a:pPr marL="0" lvl="2" indent="0" algn="r" defTabSz="530477">
              <a:spcBef>
                <a:spcPct val="0"/>
              </a:spcBef>
              <a:spcAft>
                <a:spcPct val="0"/>
              </a:spcAft>
              <a:buNone/>
            </a:pPr>
            <a:fld id="{0328617B-29AD-490C-9E7E-B4BCD7BC0A83}" type="datetime'''''''''''''''''Se''''''''''n''''''e''''''''''g''''''a''''l'''">
              <a:rPr lang="en-US" altLang="en-US" sz="1323">
                <a:latin typeface="+mn-lt"/>
                <a:cs typeface="+mn-cs"/>
              </a:rPr>
              <a:pPr marL="0" lvl="2" indent="0" algn="r" defTabSz="530477">
                <a:spcBef>
                  <a:spcPct val="0"/>
                </a:spcBef>
                <a:spcAft>
                  <a:spcPct val="0"/>
                </a:spcAft>
                <a:buNone/>
              </a:pPr>
              <a:t>Senegal</a:t>
            </a:fld>
            <a:r>
              <a:rPr lang="en-US" altLang="en-US" sz="1323" baseline="30000" dirty="0">
                <a:solidFill>
                  <a:schemeClr val="tx1">
                    <a:lumMod val="65000"/>
                    <a:lumOff val="35000"/>
                  </a:schemeClr>
                </a:solidFill>
                <a:cs typeface="+mn-cs"/>
              </a:rPr>
              <a:t>3</a:t>
            </a:r>
            <a:endParaRPr lang="en-US" sz="1323" dirty="0">
              <a:solidFill>
                <a:schemeClr val="tx1">
                  <a:lumMod val="65000"/>
                  <a:lumOff val="35000"/>
                </a:schemeClr>
              </a:solidFill>
              <a:latin typeface="+mn-lt"/>
              <a:cs typeface="+mn-cs"/>
            </a:endParaRPr>
          </a:p>
        </p:txBody>
      </p:sp>
      <p:sp>
        <p:nvSpPr>
          <p:cNvPr id="27" name="Text Placeholder 2">
            <a:extLst>
              <a:ext uri="{FF2B5EF4-FFF2-40B4-BE49-F238E27FC236}">
                <a16:creationId xmlns:a16="http://schemas.microsoft.com/office/drawing/2014/main" id="{31F74C74-87F4-4278-A4F3-AD563A20E8C4}"/>
              </a:ext>
            </a:extLst>
          </p:cNvPr>
          <p:cNvSpPr>
            <a:spLocks noGrp="1"/>
          </p:cNvSpPr>
          <p:nvPr>
            <p:custDataLst>
              <p:tags r:id="rId21"/>
            </p:custDataLst>
          </p:nvPr>
        </p:nvSpPr>
        <p:spPr bwMode="auto">
          <a:xfrm>
            <a:off x="6441419" y="3517469"/>
            <a:ext cx="653044" cy="40316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69228" indent="-269228" algn="l" defTabSz="534741" rtl="0" eaLnBrk="1" latinLnBrk="0" hangingPunct="1">
              <a:spcBef>
                <a:spcPts val="0"/>
              </a:spcBef>
              <a:spcAft>
                <a:spcPts val="936"/>
              </a:spcAft>
              <a:buFont typeface="Arial"/>
              <a:buChar char="•"/>
              <a:defRPr sz="1900" b="0" i="0" kern="1200">
                <a:solidFill>
                  <a:srgbClr val="6C6463"/>
                </a:solidFill>
                <a:latin typeface="Gill Sans MT"/>
                <a:ea typeface="+mn-ea"/>
                <a:cs typeface="Gill Sans MT"/>
              </a:defRPr>
            </a:lvl1pPr>
            <a:lvl2pPr marL="800256" indent="-269228" algn="l" defTabSz="534741" rtl="0" eaLnBrk="1" latinLnBrk="0" hangingPunct="1">
              <a:spcBef>
                <a:spcPts val="0"/>
              </a:spcBef>
              <a:spcAft>
                <a:spcPts val="936"/>
              </a:spcAft>
              <a:buFont typeface="Arial"/>
              <a:buChar char="–"/>
              <a:defRPr sz="1900" b="0" i="0" kern="1200">
                <a:solidFill>
                  <a:srgbClr val="6C6463"/>
                </a:solidFill>
                <a:latin typeface="Gill Sans MT"/>
                <a:ea typeface="+mn-ea"/>
                <a:cs typeface="Gill Sans MT"/>
              </a:defRPr>
            </a:lvl2pPr>
            <a:lvl3pPr marL="1069482" indent="-269228" algn="l" defTabSz="534741" rtl="0" eaLnBrk="1" latinLnBrk="0" hangingPunct="1">
              <a:spcBef>
                <a:spcPct val="20000"/>
              </a:spcBef>
              <a:buFont typeface="Arial"/>
              <a:buChar char="•"/>
              <a:defRPr sz="2100" b="0" i="0" kern="1200">
                <a:solidFill>
                  <a:srgbClr val="6C6463"/>
                </a:solidFill>
                <a:latin typeface="Gill Sans MT"/>
                <a:ea typeface="+mn-ea"/>
                <a:cs typeface="Gill Sans MT"/>
              </a:defRPr>
            </a:lvl3pPr>
            <a:lvl4pPr marL="1340566" indent="-271084" algn="l" defTabSz="534741" rtl="0" eaLnBrk="1" latinLnBrk="0" hangingPunct="1">
              <a:spcBef>
                <a:spcPct val="20000"/>
              </a:spcBef>
              <a:buFont typeface="Arial"/>
              <a:buChar char="–"/>
              <a:defRPr sz="1900" b="0" i="0" kern="1200">
                <a:solidFill>
                  <a:srgbClr val="6C6463"/>
                </a:solidFill>
                <a:latin typeface="Gill Sans MT"/>
                <a:ea typeface="+mn-ea"/>
                <a:cs typeface="Gill Sans MT"/>
              </a:defRPr>
            </a:lvl4pPr>
            <a:lvl5pPr marL="1468682" indent="-269228" algn="l" defTabSz="534741" rtl="0" eaLnBrk="1" latinLnBrk="0" hangingPunct="1">
              <a:spcBef>
                <a:spcPct val="20000"/>
              </a:spcBef>
              <a:buFont typeface="Arial"/>
              <a:buChar char="»"/>
              <a:defRPr sz="1600" b="0" i="0" kern="1200">
                <a:solidFill>
                  <a:srgbClr val="6C6463"/>
                </a:solidFill>
                <a:latin typeface="Gill Sans MT"/>
                <a:ea typeface="+mn-ea"/>
                <a:cs typeface="Gill Sans MT"/>
              </a:defRPr>
            </a:lvl5pPr>
            <a:lvl6pPr marL="2941076" indent="-267371" algn="l" defTabSz="534741" rtl="0" eaLnBrk="1" latinLnBrk="0" hangingPunct="1">
              <a:spcBef>
                <a:spcPct val="20000"/>
              </a:spcBef>
              <a:buFont typeface="Arial"/>
              <a:buChar char="•"/>
              <a:defRPr sz="2300" kern="1200">
                <a:solidFill>
                  <a:schemeClr val="tx1"/>
                </a:solidFill>
                <a:latin typeface="+mn-lt"/>
                <a:ea typeface="+mn-ea"/>
                <a:cs typeface="+mn-cs"/>
              </a:defRPr>
            </a:lvl6pPr>
            <a:lvl7pPr marL="3475817" indent="-267371" algn="l" defTabSz="534741" rtl="0" eaLnBrk="1" latinLnBrk="0" hangingPunct="1">
              <a:spcBef>
                <a:spcPct val="20000"/>
              </a:spcBef>
              <a:buFont typeface="Arial"/>
              <a:buChar char="•"/>
              <a:defRPr sz="2300" kern="1200">
                <a:solidFill>
                  <a:schemeClr val="tx1"/>
                </a:solidFill>
                <a:latin typeface="+mn-lt"/>
                <a:ea typeface="+mn-ea"/>
                <a:cs typeface="+mn-cs"/>
              </a:defRPr>
            </a:lvl7pPr>
            <a:lvl8pPr marL="4010558" indent="-267371" algn="l" defTabSz="534741" rtl="0" eaLnBrk="1" latinLnBrk="0" hangingPunct="1">
              <a:spcBef>
                <a:spcPct val="20000"/>
              </a:spcBef>
              <a:buFont typeface="Arial"/>
              <a:buChar char="•"/>
              <a:defRPr sz="2300" kern="1200">
                <a:solidFill>
                  <a:schemeClr val="tx1"/>
                </a:solidFill>
                <a:latin typeface="+mn-lt"/>
                <a:ea typeface="+mn-ea"/>
                <a:cs typeface="+mn-cs"/>
              </a:defRPr>
            </a:lvl8pPr>
            <a:lvl9pPr marL="4545300" indent="-267371" algn="l" defTabSz="534741" rtl="0" eaLnBrk="1" latinLnBrk="0" hangingPunct="1">
              <a:spcBef>
                <a:spcPct val="20000"/>
              </a:spcBef>
              <a:buFont typeface="Arial"/>
              <a:buChar char="•"/>
              <a:defRPr sz="2300" kern="1200">
                <a:solidFill>
                  <a:schemeClr val="tx1"/>
                </a:solidFill>
                <a:latin typeface="+mn-lt"/>
                <a:ea typeface="+mn-ea"/>
                <a:cs typeface="+mn-cs"/>
              </a:defRPr>
            </a:lvl9pPr>
          </a:lstStyle>
          <a:p>
            <a:pPr marL="0" lvl="2" indent="0" algn="r" defTabSz="530477">
              <a:spcBef>
                <a:spcPct val="0"/>
              </a:spcBef>
              <a:spcAft>
                <a:spcPct val="0"/>
              </a:spcAft>
              <a:buNone/>
            </a:pPr>
            <a:r>
              <a:rPr lang="en-US" altLang="en-US" sz="1323" dirty="0">
                <a:solidFill>
                  <a:schemeClr val="tx1">
                    <a:lumMod val="65000"/>
                    <a:lumOff val="35000"/>
                  </a:schemeClr>
                </a:solidFill>
                <a:latin typeface="+mj-lt"/>
                <a:ea typeface="+mj-ea"/>
                <a:cs typeface="+mj-cs"/>
              </a:rPr>
              <a:t>Western </a:t>
            </a:r>
            <a:br>
              <a:rPr lang="en-US" altLang="en-US" sz="1323" dirty="0">
                <a:solidFill>
                  <a:schemeClr val="tx1">
                    <a:lumMod val="65000"/>
                    <a:lumOff val="35000"/>
                  </a:schemeClr>
                </a:solidFill>
                <a:latin typeface="+mj-lt"/>
                <a:ea typeface="+mj-ea"/>
                <a:cs typeface="+mj-cs"/>
              </a:rPr>
            </a:br>
            <a:r>
              <a:rPr lang="en-US" altLang="en-US" sz="1323" dirty="0">
                <a:solidFill>
                  <a:schemeClr val="tx1">
                    <a:lumMod val="65000"/>
                    <a:lumOff val="35000"/>
                  </a:schemeClr>
                </a:solidFill>
                <a:latin typeface="+mj-lt"/>
                <a:ea typeface="+mj-ea"/>
                <a:cs typeface="+mj-cs"/>
              </a:rPr>
              <a:t>Kenya</a:t>
            </a:r>
            <a:r>
              <a:rPr lang="en-US" altLang="en-US" sz="1323" baseline="30000" dirty="0">
                <a:solidFill>
                  <a:schemeClr val="tx1">
                    <a:lumMod val="65000"/>
                    <a:lumOff val="35000"/>
                  </a:schemeClr>
                </a:solidFill>
                <a:latin typeface="+mj-lt"/>
                <a:ea typeface="+mj-ea"/>
                <a:cs typeface="+mj-cs"/>
              </a:rPr>
              <a:t>2</a:t>
            </a:r>
            <a:endParaRPr lang="en-US" sz="1323" dirty="0">
              <a:solidFill>
                <a:schemeClr val="tx1">
                  <a:lumMod val="65000"/>
                  <a:lumOff val="35000"/>
                </a:schemeClr>
              </a:solidFill>
              <a:latin typeface="+mj-lt"/>
              <a:ea typeface="+mj-ea"/>
              <a:cs typeface="+mj-cs"/>
            </a:endParaRPr>
          </a:p>
        </p:txBody>
      </p:sp>
      <p:sp>
        <p:nvSpPr>
          <p:cNvPr id="28" name="Rectangle 27">
            <a:extLst>
              <a:ext uri="{FF2B5EF4-FFF2-40B4-BE49-F238E27FC236}">
                <a16:creationId xmlns:a16="http://schemas.microsoft.com/office/drawing/2014/main" id="{7164E1AF-4FD3-4A2C-9B17-A98FD8E1874D}"/>
              </a:ext>
            </a:extLst>
          </p:cNvPr>
          <p:cNvSpPr/>
          <p:nvPr>
            <p:custDataLst>
              <p:tags r:id="rId22"/>
            </p:custDataLst>
          </p:nvPr>
        </p:nvSpPr>
        <p:spPr bwMode="auto">
          <a:xfrm>
            <a:off x="6252434" y="5304413"/>
            <a:ext cx="237280" cy="176385"/>
          </a:xfrm>
          <a:prstGeom prst="rect">
            <a:avLst/>
          </a:prstGeom>
          <a:solidFill>
            <a:srgbClr val="9DB1C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907108"/>
            <a:endParaRPr lang="en-US" sz="1786" dirty="0">
              <a:solidFill>
                <a:prstClr val="black"/>
              </a:solidFill>
              <a:latin typeface="Gill Sans MT"/>
            </a:endParaRPr>
          </a:p>
        </p:txBody>
      </p:sp>
      <p:sp>
        <p:nvSpPr>
          <p:cNvPr id="29" name="Rectangle 28">
            <a:extLst>
              <a:ext uri="{FF2B5EF4-FFF2-40B4-BE49-F238E27FC236}">
                <a16:creationId xmlns:a16="http://schemas.microsoft.com/office/drawing/2014/main" id="{AE605D83-84C6-4AD5-BC50-77A5EBED4031}"/>
              </a:ext>
            </a:extLst>
          </p:cNvPr>
          <p:cNvSpPr/>
          <p:nvPr>
            <p:custDataLst>
              <p:tags r:id="rId23"/>
            </p:custDataLst>
          </p:nvPr>
        </p:nvSpPr>
        <p:spPr bwMode="auto">
          <a:xfrm>
            <a:off x="7779001" y="5304413"/>
            <a:ext cx="237280" cy="176385"/>
          </a:xfrm>
          <a:prstGeom prst="rect">
            <a:avLst/>
          </a:prstGeom>
          <a:solidFill>
            <a:srgbClr val="B9FDE3"/>
          </a:solidFill>
          <a:ln w="19050" cap="flat" cmpd="sng" algn="ctr">
            <a:solidFill>
              <a:schemeClr val="tx1"/>
            </a:solidFill>
            <a:prstDash val="lgDash"/>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07108"/>
            <a:endParaRPr lang="en-US" sz="1786" dirty="0">
              <a:solidFill>
                <a:prstClr val="black"/>
              </a:solidFill>
              <a:latin typeface="Gill Sans MT"/>
            </a:endParaRPr>
          </a:p>
        </p:txBody>
      </p:sp>
      <p:sp>
        <p:nvSpPr>
          <p:cNvPr id="30" name="Rectangle 29">
            <a:extLst>
              <a:ext uri="{FF2B5EF4-FFF2-40B4-BE49-F238E27FC236}">
                <a16:creationId xmlns:a16="http://schemas.microsoft.com/office/drawing/2014/main" id="{609BD3B0-545A-4EB8-A4BA-C75CEA84C870}"/>
              </a:ext>
            </a:extLst>
          </p:cNvPr>
          <p:cNvSpPr/>
          <p:nvPr>
            <p:custDataLst>
              <p:tags r:id="rId24"/>
            </p:custDataLst>
          </p:nvPr>
        </p:nvSpPr>
        <p:spPr bwMode="auto">
          <a:xfrm>
            <a:off x="10174891" y="5304413"/>
            <a:ext cx="237280" cy="176385"/>
          </a:xfrm>
          <a:prstGeom prst="rect">
            <a:avLst/>
          </a:prstGeom>
          <a:solidFill>
            <a:srgbClr val="DFE5E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907108"/>
            <a:endParaRPr lang="en-US" sz="1786" dirty="0">
              <a:solidFill>
                <a:prstClr val="black"/>
              </a:solidFill>
              <a:latin typeface="Gill Sans MT"/>
            </a:endParaRPr>
          </a:p>
        </p:txBody>
      </p:sp>
      <p:sp>
        <p:nvSpPr>
          <p:cNvPr id="31" name="Text Placeholder 2">
            <a:extLst>
              <a:ext uri="{FF2B5EF4-FFF2-40B4-BE49-F238E27FC236}">
                <a16:creationId xmlns:a16="http://schemas.microsoft.com/office/drawing/2014/main" id="{3085FE14-4BEA-4927-B0CB-8BC7F3039471}"/>
              </a:ext>
            </a:extLst>
          </p:cNvPr>
          <p:cNvSpPr>
            <a:spLocks noGrp="1"/>
          </p:cNvSpPr>
          <p:nvPr>
            <p:custDataLst>
              <p:tags r:id="rId25"/>
            </p:custDataLst>
          </p:nvPr>
        </p:nvSpPr>
        <p:spPr bwMode="auto">
          <a:xfrm>
            <a:off x="6556910" y="5298114"/>
            <a:ext cx="1087705" cy="201582"/>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69228" indent="-269228" algn="l" defTabSz="534741" rtl="0" eaLnBrk="1" latinLnBrk="0" hangingPunct="1">
              <a:spcBef>
                <a:spcPts val="0"/>
              </a:spcBef>
              <a:spcAft>
                <a:spcPts val="936"/>
              </a:spcAft>
              <a:buFont typeface="Arial"/>
              <a:buChar char="•"/>
              <a:defRPr sz="1900" b="0" i="0" kern="1200">
                <a:solidFill>
                  <a:srgbClr val="6C6463"/>
                </a:solidFill>
                <a:latin typeface="Gill Sans MT"/>
                <a:ea typeface="+mn-ea"/>
                <a:cs typeface="Gill Sans MT"/>
              </a:defRPr>
            </a:lvl1pPr>
            <a:lvl2pPr marL="800256" indent="-269228" algn="l" defTabSz="534741" rtl="0" eaLnBrk="1" latinLnBrk="0" hangingPunct="1">
              <a:spcBef>
                <a:spcPts val="0"/>
              </a:spcBef>
              <a:spcAft>
                <a:spcPts val="936"/>
              </a:spcAft>
              <a:buFont typeface="Arial"/>
              <a:buChar char="–"/>
              <a:defRPr sz="1900" b="0" i="0" kern="1200">
                <a:solidFill>
                  <a:srgbClr val="6C6463"/>
                </a:solidFill>
                <a:latin typeface="Gill Sans MT"/>
                <a:ea typeface="+mn-ea"/>
                <a:cs typeface="Gill Sans MT"/>
              </a:defRPr>
            </a:lvl2pPr>
            <a:lvl3pPr marL="1069482" indent="-269228" algn="l" defTabSz="534741" rtl="0" eaLnBrk="1" latinLnBrk="0" hangingPunct="1">
              <a:spcBef>
                <a:spcPct val="20000"/>
              </a:spcBef>
              <a:buFont typeface="Arial"/>
              <a:buChar char="•"/>
              <a:defRPr sz="2100" b="0" i="0" kern="1200">
                <a:solidFill>
                  <a:srgbClr val="6C6463"/>
                </a:solidFill>
                <a:latin typeface="Gill Sans MT"/>
                <a:ea typeface="+mn-ea"/>
                <a:cs typeface="Gill Sans MT"/>
              </a:defRPr>
            </a:lvl3pPr>
            <a:lvl4pPr marL="1340566" indent="-271084" algn="l" defTabSz="534741" rtl="0" eaLnBrk="1" latinLnBrk="0" hangingPunct="1">
              <a:spcBef>
                <a:spcPct val="20000"/>
              </a:spcBef>
              <a:buFont typeface="Arial"/>
              <a:buChar char="–"/>
              <a:defRPr sz="1900" b="0" i="0" kern="1200">
                <a:solidFill>
                  <a:srgbClr val="6C6463"/>
                </a:solidFill>
                <a:latin typeface="Gill Sans MT"/>
                <a:ea typeface="+mn-ea"/>
                <a:cs typeface="Gill Sans MT"/>
              </a:defRPr>
            </a:lvl4pPr>
            <a:lvl5pPr marL="1468682" indent="-269228" algn="l" defTabSz="534741" rtl="0" eaLnBrk="1" latinLnBrk="0" hangingPunct="1">
              <a:spcBef>
                <a:spcPct val="20000"/>
              </a:spcBef>
              <a:buFont typeface="Arial"/>
              <a:buChar char="»"/>
              <a:defRPr sz="1600" b="0" i="0" kern="1200">
                <a:solidFill>
                  <a:srgbClr val="6C6463"/>
                </a:solidFill>
                <a:latin typeface="Gill Sans MT"/>
                <a:ea typeface="+mn-ea"/>
                <a:cs typeface="Gill Sans MT"/>
              </a:defRPr>
            </a:lvl5pPr>
            <a:lvl6pPr marL="2941076" indent="-267371" algn="l" defTabSz="534741" rtl="0" eaLnBrk="1" latinLnBrk="0" hangingPunct="1">
              <a:spcBef>
                <a:spcPct val="20000"/>
              </a:spcBef>
              <a:buFont typeface="Arial"/>
              <a:buChar char="•"/>
              <a:defRPr sz="2300" kern="1200">
                <a:solidFill>
                  <a:schemeClr val="tx1"/>
                </a:solidFill>
                <a:latin typeface="+mn-lt"/>
                <a:ea typeface="+mn-ea"/>
                <a:cs typeface="+mn-cs"/>
              </a:defRPr>
            </a:lvl6pPr>
            <a:lvl7pPr marL="3475817" indent="-267371" algn="l" defTabSz="534741" rtl="0" eaLnBrk="1" latinLnBrk="0" hangingPunct="1">
              <a:spcBef>
                <a:spcPct val="20000"/>
              </a:spcBef>
              <a:buFont typeface="Arial"/>
              <a:buChar char="•"/>
              <a:defRPr sz="2300" kern="1200">
                <a:solidFill>
                  <a:schemeClr val="tx1"/>
                </a:solidFill>
                <a:latin typeface="+mn-lt"/>
                <a:ea typeface="+mn-ea"/>
                <a:cs typeface="+mn-cs"/>
              </a:defRPr>
            </a:lvl7pPr>
            <a:lvl8pPr marL="4010558" indent="-267371" algn="l" defTabSz="534741" rtl="0" eaLnBrk="1" latinLnBrk="0" hangingPunct="1">
              <a:spcBef>
                <a:spcPct val="20000"/>
              </a:spcBef>
              <a:buFont typeface="Arial"/>
              <a:buChar char="•"/>
              <a:defRPr sz="2300" kern="1200">
                <a:solidFill>
                  <a:schemeClr val="tx1"/>
                </a:solidFill>
                <a:latin typeface="+mn-lt"/>
                <a:ea typeface="+mn-ea"/>
                <a:cs typeface="+mn-cs"/>
              </a:defRPr>
            </a:lvl8pPr>
            <a:lvl9pPr marL="4545300" indent="-267371" algn="l" defTabSz="534741" rtl="0" eaLnBrk="1" latinLnBrk="0" hangingPunct="1">
              <a:spcBef>
                <a:spcPct val="20000"/>
              </a:spcBef>
              <a:buFont typeface="Arial"/>
              <a:buChar char="•"/>
              <a:defRPr sz="2300" kern="1200">
                <a:solidFill>
                  <a:schemeClr val="tx1"/>
                </a:solidFill>
                <a:latin typeface="+mn-lt"/>
                <a:ea typeface="+mn-ea"/>
                <a:cs typeface="+mn-cs"/>
              </a:defRPr>
            </a:lvl9pPr>
          </a:lstStyle>
          <a:p>
            <a:pPr marL="0" lvl="2" indent="0" defTabSz="530477">
              <a:spcBef>
                <a:spcPct val="0"/>
              </a:spcBef>
              <a:spcAft>
                <a:spcPct val="0"/>
              </a:spcAft>
              <a:buNone/>
            </a:pPr>
            <a:fld id="{E7C47A63-D883-4A0D-9016-28DE1B854AC0}" type="datetime'R''e''''qu''i''''''''r''''e'''' ''S''u''''b''s''idy'''''''''">
              <a:rPr lang="en-US" altLang="en-US" sz="1323">
                <a:latin typeface="+mn-lt"/>
                <a:cs typeface="+mn-cs"/>
              </a:rPr>
              <a:pPr marL="0" lvl="2" indent="0" defTabSz="530477">
                <a:spcBef>
                  <a:spcPct val="0"/>
                </a:spcBef>
                <a:spcAft>
                  <a:spcPct val="0"/>
                </a:spcAft>
                <a:buNone/>
              </a:pPr>
              <a:t>Require Subsidy</a:t>
            </a:fld>
            <a:endParaRPr lang="en-US" sz="1323" dirty="0">
              <a:latin typeface="+mn-lt"/>
              <a:cs typeface="+mn-cs"/>
            </a:endParaRPr>
          </a:p>
        </p:txBody>
      </p:sp>
      <p:sp>
        <p:nvSpPr>
          <p:cNvPr id="32" name="Text Placeholder 2">
            <a:extLst>
              <a:ext uri="{FF2B5EF4-FFF2-40B4-BE49-F238E27FC236}">
                <a16:creationId xmlns:a16="http://schemas.microsoft.com/office/drawing/2014/main" id="{805462DD-897C-4952-8413-077534024154}"/>
              </a:ext>
            </a:extLst>
          </p:cNvPr>
          <p:cNvSpPr>
            <a:spLocks noGrp="1"/>
          </p:cNvSpPr>
          <p:nvPr>
            <p:custDataLst>
              <p:tags r:id="rId26"/>
            </p:custDataLst>
          </p:nvPr>
        </p:nvSpPr>
        <p:spPr bwMode="auto">
          <a:xfrm>
            <a:off x="8083474" y="5298114"/>
            <a:ext cx="1957029" cy="201582"/>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69228" indent="-269228" algn="l" defTabSz="534741" rtl="0" eaLnBrk="1" latinLnBrk="0" hangingPunct="1">
              <a:spcBef>
                <a:spcPts val="0"/>
              </a:spcBef>
              <a:spcAft>
                <a:spcPts val="936"/>
              </a:spcAft>
              <a:buFont typeface="Arial"/>
              <a:buChar char="•"/>
              <a:defRPr sz="1900" b="0" i="0" kern="1200">
                <a:solidFill>
                  <a:srgbClr val="6C6463"/>
                </a:solidFill>
                <a:latin typeface="Gill Sans MT"/>
                <a:ea typeface="+mn-ea"/>
                <a:cs typeface="Gill Sans MT"/>
              </a:defRPr>
            </a:lvl1pPr>
            <a:lvl2pPr marL="800256" indent="-269228" algn="l" defTabSz="534741" rtl="0" eaLnBrk="1" latinLnBrk="0" hangingPunct="1">
              <a:spcBef>
                <a:spcPts val="0"/>
              </a:spcBef>
              <a:spcAft>
                <a:spcPts val="936"/>
              </a:spcAft>
              <a:buFont typeface="Arial"/>
              <a:buChar char="–"/>
              <a:defRPr sz="1900" b="0" i="0" kern="1200">
                <a:solidFill>
                  <a:srgbClr val="6C6463"/>
                </a:solidFill>
                <a:latin typeface="Gill Sans MT"/>
                <a:ea typeface="+mn-ea"/>
                <a:cs typeface="Gill Sans MT"/>
              </a:defRPr>
            </a:lvl2pPr>
            <a:lvl3pPr marL="1069482" indent="-269228" algn="l" defTabSz="534741" rtl="0" eaLnBrk="1" latinLnBrk="0" hangingPunct="1">
              <a:spcBef>
                <a:spcPct val="20000"/>
              </a:spcBef>
              <a:buFont typeface="Arial"/>
              <a:buChar char="•"/>
              <a:defRPr sz="2100" b="0" i="0" kern="1200">
                <a:solidFill>
                  <a:srgbClr val="6C6463"/>
                </a:solidFill>
                <a:latin typeface="Gill Sans MT"/>
                <a:ea typeface="+mn-ea"/>
                <a:cs typeface="Gill Sans MT"/>
              </a:defRPr>
            </a:lvl3pPr>
            <a:lvl4pPr marL="1340566" indent="-271084" algn="l" defTabSz="534741" rtl="0" eaLnBrk="1" latinLnBrk="0" hangingPunct="1">
              <a:spcBef>
                <a:spcPct val="20000"/>
              </a:spcBef>
              <a:buFont typeface="Arial"/>
              <a:buChar char="–"/>
              <a:defRPr sz="1900" b="0" i="0" kern="1200">
                <a:solidFill>
                  <a:srgbClr val="6C6463"/>
                </a:solidFill>
                <a:latin typeface="Gill Sans MT"/>
                <a:ea typeface="+mn-ea"/>
                <a:cs typeface="Gill Sans MT"/>
              </a:defRPr>
            </a:lvl4pPr>
            <a:lvl5pPr marL="1468682" indent="-269228" algn="l" defTabSz="534741" rtl="0" eaLnBrk="1" latinLnBrk="0" hangingPunct="1">
              <a:spcBef>
                <a:spcPct val="20000"/>
              </a:spcBef>
              <a:buFont typeface="Arial"/>
              <a:buChar char="»"/>
              <a:defRPr sz="1600" b="0" i="0" kern="1200">
                <a:solidFill>
                  <a:srgbClr val="6C6463"/>
                </a:solidFill>
                <a:latin typeface="Gill Sans MT"/>
                <a:ea typeface="+mn-ea"/>
                <a:cs typeface="Gill Sans MT"/>
              </a:defRPr>
            </a:lvl5pPr>
            <a:lvl6pPr marL="2941076" indent="-267371" algn="l" defTabSz="534741" rtl="0" eaLnBrk="1" latinLnBrk="0" hangingPunct="1">
              <a:spcBef>
                <a:spcPct val="20000"/>
              </a:spcBef>
              <a:buFont typeface="Arial"/>
              <a:buChar char="•"/>
              <a:defRPr sz="2300" kern="1200">
                <a:solidFill>
                  <a:schemeClr val="tx1"/>
                </a:solidFill>
                <a:latin typeface="+mn-lt"/>
                <a:ea typeface="+mn-ea"/>
                <a:cs typeface="+mn-cs"/>
              </a:defRPr>
            </a:lvl6pPr>
            <a:lvl7pPr marL="3475817" indent="-267371" algn="l" defTabSz="534741" rtl="0" eaLnBrk="1" latinLnBrk="0" hangingPunct="1">
              <a:spcBef>
                <a:spcPct val="20000"/>
              </a:spcBef>
              <a:buFont typeface="Arial"/>
              <a:buChar char="•"/>
              <a:defRPr sz="2300" kern="1200">
                <a:solidFill>
                  <a:schemeClr val="tx1"/>
                </a:solidFill>
                <a:latin typeface="+mn-lt"/>
                <a:ea typeface="+mn-ea"/>
                <a:cs typeface="+mn-cs"/>
              </a:defRPr>
            </a:lvl7pPr>
            <a:lvl8pPr marL="4010558" indent="-267371" algn="l" defTabSz="534741" rtl="0" eaLnBrk="1" latinLnBrk="0" hangingPunct="1">
              <a:spcBef>
                <a:spcPct val="20000"/>
              </a:spcBef>
              <a:buFont typeface="Arial"/>
              <a:buChar char="•"/>
              <a:defRPr sz="2300" kern="1200">
                <a:solidFill>
                  <a:schemeClr val="tx1"/>
                </a:solidFill>
                <a:latin typeface="+mn-lt"/>
                <a:ea typeface="+mn-ea"/>
                <a:cs typeface="+mn-cs"/>
              </a:defRPr>
            </a:lvl8pPr>
            <a:lvl9pPr marL="4545300" indent="-267371" algn="l" defTabSz="534741" rtl="0" eaLnBrk="1" latinLnBrk="0" hangingPunct="1">
              <a:spcBef>
                <a:spcPct val="20000"/>
              </a:spcBef>
              <a:buFont typeface="Arial"/>
              <a:buChar char="•"/>
              <a:defRPr sz="2300" kern="1200">
                <a:solidFill>
                  <a:schemeClr val="tx1"/>
                </a:solidFill>
                <a:latin typeface="+mn-lt"/>
                <a:ea typeface="+mn-ea"/>
                <a:cs typeface="+mn-cs"/>
              </a:defRPr>
            </a:lvl9pPr>
          </a:lstStyle>
          <a:p>
            <a:pPr marL="0" lvl="2" indent="0" defTabSz="530477">
              <a:spcBef>
                <a:spcPct val="0"/>
              </a:spcBef>
              <a:spcAft>
                <a:spcPct val="0"/>
              </a:spcAft>
              <a:buNone/>
            </a:pPr>
            <a:fld id="{3E797566-3286-49E1-8CF3-232B612870D5}" type="datetime'Re''''quire'' Subsidy'' and''/''or Lo''''a''''''n'''">
              <a:rPr lang="en-US" altLang="en-US" sz="1323">
                <a:latin typeface="+mn-lt"/>
                <a:cs typeface="+mn-cs"/>
              </a:rPr>
              <a:pPr marL="0" lvl="2" indent="0" defTabSz="530477">
                <a:spcBef>
                  <a:spcPct val="0"/>
                </a:spcBef>
                <a:spcAft>
                  <a:spcPct val="0"/>
                </a:spcAft>
                <a:buNone/>
              </a:pPr>
              <a:t>Require Subsidy and/or Loan</a:t>
            </a:fld>
            <a:endParaRPr lang="en-US" sz="1323" dirty="0">
              <a:latin typeface="+mn-lt"/>
              <a:cs typeface="+mn-cs"/>
            </a:endParaRPr>
          </a:p>
        </p:txBody>
      </p:sp>
      <p:sp>
        <p:nvSpPr>
          <p:cNvPr id="33" name="Text Placeholder 2">
            <a:extLst>
              <a:ext uri="{FF2B5EF4-FFF2-40B4-BE49-F238E27FC236}">
                <a16:creationId xmlns:a16="http://schemas.microsoft.com/office/drawing/2014/main" id="{8B3E8396-BCC9-4AAE-8525-4E2D4E293BFB}"/>
              </a:ext>
            </a:extLst>
          </p:cNvPr>
          <p:cNvSpPr>
            <a:spLocks noGrp="1"/>
          </p:cNvSpPr>
          <p:nvPr>
            <p:custDataLst>
              <p:tags r:id="rId27"/>
            </p:custDataLst>
          </p:nvPr>
        </p:nvSpPr>
        <p:spPr bwMode="auto">
          <a:xfrm>
            <a:off x="10479367" y="5298114"/>
            <a:ext cx="1062507" cy="201582"/>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69228" indent="-269228" algn="l" defTabSz="534741" rtl="0" eaLnBrk="1" latinLnBrk="0" hangingPunct="1">
              <a:spcBef>
                <a:spcPts val="0"/>
              </a:spcBef>
              <a:spcAft>
                <a:spcPts val="936"/>
              </a:spcAft>
              <a:buFont typeface="Arial"/>
              <a:buChar char="•"/>
              <a:defRPr sz="1900" b="0" i="0" kern="1200">
                <a:solidFill>
                  <a:srgbClr val="6C6463"/>
                </a:solidFill>
                <a:latin typeface="Gill Sans MT"/>
                <a:ea typeface="+mn-ea"/>
                <a:cs typeface="Gill Sans MT"/>
              </a:defRPr>
            </a:lvl1pPr>
            <a:lvl2pPr marL="800256" indent="-269228" algn="l" defTabSz="534741" rtl="0" eaLnBrk="1" latinLnBrk="0" hangingPunct="1">
              <a:spcBef>
                <a:spcPts val="0"/>
              </a:spcBef>
              <a:spcAft>
                <a:spcPts val="936"/>
              </a:spcAft>
              <a:buFont typeface="Arial"/>
              <a:buChar char="–"/>
              <a:defRPr sz="1900" b="0" i="0" kern="1200">
                <a:solidFill>
                  <a:srgbClr val="6C6463"/>
                </a:solidFill>
                <a:latin typeface="Gill Sans MT"/>
                <a:ea typeface="+mn-ea"/>
                <a:cs typeface="Gill Sans MT"/>
              </a:defRPr>
            </a:lvl2pPr>
            <a:lvl3pPr marL="1069482" indent="-269228" algn="l" defTabSz="534741" rtl="0" eaLnBrk="1" latinLnBrk="0" hangingPunct="1">
              <a:spcBef>
                <a:spcPct val="20000"/>
              </a:spcBef>
              <a:buFont typeface="Arial"/>
              <a:buChar char="•"/>
              <a:defRPr sz="2100" b="0" i="0" kern="1200">
                <a:solidFill>
                  <a:srgbClr val="6C6463"/>
                </a:solidFill>
                <a:latin typeface="Gill Sans MT"/>
                <a:ea typeface="+mn-ea"/>
                <a:cs typeface="Gill Sans MT"/>
              </a:defRPr>
            </a:lvl3pPr>
            <a:lvl4pPr marL="1340566" indent="-271084" algn="l" defTabSz="534741" rtl="0" eaLnBrk="1" latinLnBrk="0" hangingPunct="1">
              <a:spcBef>
                <a:spcPct val="20000"/>
              </a:spcBef>
              <a:buFont typeface="Arial"/>
              <a:buChar char="–"/>
              <a:defRPr sz="1900" b="0" i="0" kern="1200">
                <a:solidFill>
                  <a:srgbClr val="6C6463"/>
                </a:solidFill>
                <a:latin typeface="Gill Sans MT"/>
                <a:ea typeface="+mn-ea"/>
                <a:cs typeface="Gill Sans MT"/>
              </a:defRPr>
            </a:lvl4pPr>
            <a:lvl5pPr marL="1468682" indent="-269228" algn="l" defTabSz="534741" rtl="0" eaLnBrk="1" latinLnBrk="0" hangingPunct="1">
              <a:spcBef>
                <a:spcPct val="20000"/>
              </a:spcBef>
              <a:buFont typeface="Arial"/>
              <a:buChar char="»"/>
              <a:defRPr sz="1600" b="0" i="0" kern="1200">
                <a:solidFill>
                  <a:srgbClr val="6C6463"/>
                </a:solidFill>
                <a:latin typeface="Gill Sans MT"/>
                <a:ea typeface="+mn-ea"/>
                <a:cs typeface="Gill Sans MT"/>
              </a:defRPr>
            </a:lvl5pPr>
            <a:lvl6pPr marL="2941076" indent="-267371" algn="l" defTabSz="534741" rtl="0" eaLnBrk="1" latinLnBrk="0" hangingPunct="1">
              <a:spcBef>
                <a:spcPct val="20000"/>
              </a:spcBef>
              <a:buFont typeface="Arial"/>
              <a:buChar char="•"/>
              <a:defRPr sz="2300" kern="1200">
                <a:solidFill>
                  <a:schemeClr val="tx1"/>
                </a:solidFill>
                <a:latin typeface="+mn-lt"/>
                <a:ea typeface="+mn-ea"/>
                <a:cs typeface="+mn-cs"/>
              </a:defRPr>
            </a:lvl6pPr>
            <a:lvl7pPr marL="3475817" indent="-267371" algn="l" defTabSz="534741" rtl="0" eaLnBrk="1" latinLnBrk="0" hangingPunct="1">
              <a:spcBef>
                <a:spcPct val="20000"/>
              </a:spcBef>
              <a:buFont typeface="Arial"/>
              <a:buChar char="•"/>
              <a:defRPr sz="2300" kern="1200">
                <a:solidFill>
                  <a:schemeClr val="tx1"/>
                </a:solidFill>
                <a:latin typeface="+mn-lt"/>
                <a:ea typeface="+mn-ea"/>
                <a:cs typeface="+mn-cs"/>
              </a:defRPr>
            </a:lvl7pPr>
            <a:lvl8pPr marL="4010558" indent="-267371" algn="l" defTabSz="534741" rtl="0" eaLnBrk="1" latinLnBrk="0" hangingPunct="1">
              <a:spcBef>
                <a:spcPct val="20000"/>
              </a:spcBef>
              <a:buFont typeface="Arial"/>
              <a:buChar char="•"/>
              <a:defRPr sz="2300" kern="1200">
                <a:solidFill>
                  <a:schemeClr val="tx1"/>
                </a:solidFill>
                <a:latin typeface="+mn-lt"/>
                <a:ea typeface="+mn-ea"/>
                <a:cs typeface="+mn-cs"/>
              </a:defRPr>
            </a:lvl8pPr>
            <a:lvl9pPr marL="4545300" indent="-267371" algn="l" defTabSz="534741" rtl="0" eaLnBrk="1" latinLnBrk="0" hangingPunct="1">
              <a:spcBef>
                <a:spcPct val="20000"/>
              </a:spcBef>
              <a:buFont typeface="Arial"/>
              <a:buChar char="•"/>
              <a:defRPr sz="2300" kern="1200">
                <a:solidFill>
                  <a:schemeClr val="tx1"/>
                </a:solidFill>
                <a:latin typeface="+mn-lt"/>
                <a:ea typeface="+mn-ea"/>
                <a:cs typeface="+mn-cs"/>
              </a:defRPr>
            </a:lvl9pPr>
          </a:lstStyle>
          <a:p>
            <a:pPr marL="0" lvl="2" indent="0" defTabSz="530477">
              <a:spcBef>
                <a:spcPct val="0"/>
              </a:spcBef>
              <a:spcAft>
                <a:spcPct val="0"/>
              </a:spcAft>
              <a:buNone/>
            </a:pPr>
            <a:fld id="{55688F89-713E-4011-AF8C-1B938C618CF8}" type="datetime'C''a''n ''afford ''''IBT'''''''''''''''''''''''''''''''">
              <a:rPr lang="en-US" altLang="en-US" sz="1323">
                <a:latin typeface="+mn-lt"/>
                <a:cs typeface="+mn-cs"/>
              </a:rPr>
              <a:pPr marL="0" lvl="2" indent="0" defTabSz="530477">
                <a:spcBef>
                  <a:spcPct val="0"/>
                </a:spcBef>
                <a:spcAft>
                  <a:spcPct val="0"/>
                </a:spcAft>
                <a:buNone/>
              </a:pPr>
              <a:t>Can afford IBT</a:t>
            </a:fld>
            <a:r>
              <a:rPr lang="en-US" altLang="en-US" sz="1323" baseline="30000" dirty="0">
                <a:solidFill>
                  <a:schemeClr val="tx1">
                    <a:lumMod val="65000"/>
                    <a:lumOff val="35000"/>
                  </a:schemeClr>
                </a:solidFill>
                <a:cs typeface="+mn-cs"/>
              </a:rPr>
              <a:t>5</a:t>
            </a:r>
            <a:endParaRPr lang="en-US" sz="1323" dirty="0">
              <a:solidFill>
                <a:schemeClr val="tx1">
                  <a:lumMod val="65000"/>
                  <a:lumOff val="35000"/>
                </a:schemeClr>
              </a:solidFill>
              <a:latin typeface="+mn-lt"/>
              <a:cs typeface="+mn-cs"/>
            </a:endParaRPr>
          </a:p>
        </p:txBody>
      </p:sp>
      <p:sp>
        <p:nvSpPr>
          <p:cNvPr id="34" name="TextBox 33">
            <a:extLst>
              <a:ext uri="{FF2B5EF4-FFF2-40B4-BE49-F238E27FC236}">
                <a16:creationId xmlns:a16="http://schemas.microsoft.com/office/drawing/2014/main" id="{C06235A3-CEF8-434B-849B-31D6970BB1A8}"/>
              </a:ext>
            </a:extLst>
          </p:cNvPr>
          <p:cNvSpPr txBox="1"/>
          <p:nvPr/>
        </p:nvSpPr>
        <p:spPr>
          <a:xfrm>
            <a:off x="2125361" y="6045925"/>
            <a:ext cx="8328455" cy="598625"/>
          </a:xfrm>
          <a:prstGeom prst="rect">
            <a:avLst/>
          </a:prstGeom>
          <a:noFill/>
        </p:spPr>
        <p:txBody>
          <a:bodyPr wrap="square" rtlCol="0" anchor="b">
            <a:spAutoFit/>
          </a:bodyPr>
          <a:lstStyle/>
          <a:p>
            <a:pPr marL="88191" lvl="1" defTabSz="907108">
              <a:buSzPct val="100000"/>
            </a:pPr>
            <a:r>
              <a:rPr lang="en-US" sz="1190" dirty="0">
                <a:solidFill>
                  <a:schemeClr val="tx1">
                    <a:lumMod val="65000"/>
                    <a:lumOff val="35000"/>
                  </a:schemeClr>
                </a:solidFill>
                <a:latin typeface="Gill Sans MT"/>
              </a:rPr>
              <a:t>1</a:t>
            </a:r>
            <a:r>
              <a:rPr lang="en-US" sz="1050" dirty="0">
                <a:solidFill>
                  <a:schemeClr val="tx1">
                    <a:lumMod val="65000"/>
                    <a:lumOff val="35000"/>
                  </a:schemeClr>
                </a:solidFill>
                <a:latin typeface="Quicksand" pitchFamily="2" charset="0"/>
              </a:rPr>
              <a:t>, 2, 3 USAID WASHPaLS sanitation market assessments conducted in Liberia, Western Kenya, and Senegal (2021); 4. Monitor Group (2012). Market-led, Evidence-based, Solution to Rural Sanitation; 5. Improved Basic Toilet: Sanitation facility that hygienically separate excreta from human contact and are not shared with other households</a:t>
            </a:r>
            <a:endParaRPr lang="en-US" sz="1190" dirty="0">
              <a:solidFill>
                <a:schemeClr val="tx1">
                  <a:lumMod val="65000"/>
                  <a:lumOff val="35000"/>
                </a:schemeClr>
              </a:solidFill>
              <a:latin typeface="Quicksand" pitchFamily="2" charset="0"/>
            </a:endParaRPr>
          </a:p>
        </p:txBody>
      </p:sp>
      <p:graphicFrame>
        <p:nvGraphicFramePr>
          <p:cNvPr id="35" name="Table 34">
            <a:extLst>
              <a:ext uri="{FF2B5EF4-FFF2-40B4-BE49-F238E27FC236}">
                <a16:creationId xmlns:a16="http://schemas.microsoft.com/office/drawing/2014/main" id="{EEE67CEA-7719-433B-A610-891566594573}"/>
              </a:ext>
            </a:extLst>
          </p:cNvPr>
          <p:cNvGraphicFramePr>
            <a:graphicFrameLocks noGrp="1"/>
          </p:cNvGraphicFramePr>
          <p:nvPr>
            <p:extLst>
              <p:ext uri="{D42A27DB-BD31-4B8C-83A1-F6EECF244321}">
                <p14:modId xmlns:p14="http://schemas.microsoft.com/office/powerpoint/2010/main" val="1935624515"/>
              </p:ext>
            </p:extLst>
          </p:nvPr>
        </p:nvGraphicFramePr>
        <p:xfrm>
          <a:off x="2673559" y="1690437"/>
          <a:ext cx="6813384" cy="518130"/>
        </p:xfrm>
        <a:graphic>
          <a:graphicData uri="http://schemas.openxmlformats.org/drawingml/2006/table">
            <a:tbl>
              <a:tblPr firstRow="1" bandRow="1">
                <a:tableStyleId>{5C22544A-7EE6-4342-B048-85BDC9FD1C3A}</a:tableStyleId>
              </a:tblPr>
              <a:tblGrid>
                <a:gridCol w="1703346">
                  <a:extLst>
                    <a:ext uri="{9D8B030D-6E8A-4147-A177-3AD203B41FA5}">
                      <a16:colId xmlns:a16="http://schemas.microsoft.com/office/drawing/2014/main" val="2373729912"/>
                    </a:ext>
                  </a:extLst>
                </a:gridCol>
                <a:gridCol w="1703346">
                  <a:extLst>
                    <a:ext uri="{9D8B030D-6E8A-4147-A177-3AD203B41FA5}">
                      <a16:colId xmlns:a16="http://schemas.microsoft.com/office/drawing/2014/main" val="2082048507"/>
                    </a:ext>
                  </a:extLst>
                </a:gridCol>
                <a:gridCol w="1703346">
                  <a:extLst>
                    <a:ext uri="{9D8B030D-6E8A-4147-A177-3AD203B41FA5}">
                      <a16:colId xmlns:a16="http://schemas.microsoft.com/office/drawing/2014/main" val="3571385166"/>
                    </a:ext>
                  </a:extLst>
                </a:gridCol>
                <a:gridCol w="1703346">
                  <a:extLst>
                    <a:ext uri="{9D8B030D-6E8A-4147-A177-3AD203B41FA5}">
                      <a16:colId xmlns:a16="http://schemas.microsoft.com/office/drawing/2014/main" val="1201590903"/>
                    </a:ext>
                  </a:extLst>
                </a:gridCol>
              </a:tblGrid>
              <a:tr h="518130">
                <a:tc>
                  <a:txBody>
                    <a:bodyPr/>
                    <a:lstStyle/>
                    <a:p>
                      <a:pPr algn="ctr"/>
                      <a:r>
                        <a:rPr lang="en-US" sz="1900" dirty="0">
                          <a:solidFill>
                            <a:schemeClr val="tx1">
                              <a:lumMod val="65000"/>
                              <a:lumOff val="35000"/>
                            </a:schemeClr>
                          </a:solidFill>
                        </a:rPr>
                        <a:t>CLTS/SBC</a:t>
                      </a:r>
                    </a:p>
                  </a:txBody>
                  <a:tcPr marL="90712" marR="90712" marT="45356" marB="45356" anchor="ctr">
                    <a:solidFill>
                      <a:schemeClr val="bg1">
                        <a:lumMod val="65000"/>
                      </a:schemeClr>
                    </a:solidFill>
                  </a:tcPr>
                </a:tc>
                <a:tc>
                  <a:txBody>
                    <a:bodyPr/>
                    <a:lstStyle/>
                    <a:p>
                      <a:pPr algn="ctr"/>
                      <a:r>
                        <a:rPr lang="en-US" sz="1900" dirty="0">
                          <a:solidFill>
                            <a:schemeClr val="tx1">
                              <a:lumMod val="65000"/>
                              <a:lumOff val="35000"/>
                            </a:schemeClr>
                          </a:solidFill>
                        </a:rPr>
                        <a:t>MBS</a:t>
                      </a:r>
                    </a:p>
                  </a:txBody>
                  <a:tcPr marL="90712" marR="90712" marT="45356" marB="45356" anchor="ctr">
                    <a:solidFill>
                      <a:schemeClr val="bg1">
                        <a:lumMod val="65000"/>
                      </a:schemeClr>
                    </a:solidFill>
                  </a:tcPr>
                </a:tc>
                <a:tc>
                  <a:txBody>
                    <a:bodyPr/>
                    <a:lstStyle/>
                    <a:p>
                      <a:pPr algn="ctr"/>
                      <a:r>
                        <a:rPr lang="en-US" sz="1900" dirty="0">
                          <a:solidFill>
                            <a:schemeClr val="tx1">
                              <a:lumMod val="65000"/>
                              <a:lumOff val="35000"/>
                            </a:schemeClr>
                          </a:solidFill>
                        </a:rPr>
                        <a:t>Subsidy</a:t>
                      </a:r>
                    </a:p>
                  </a:txBody>
                  <a:tcPr marL="90712" marR="90712" marT="45356" marB="45356" anchor="ctr">
                    <a:solidFill>
                      <a:schemeClr val="bg1">
                        <a:lumMod val="65000"/>
                      </a:schemeClr>
                    </a:solidFill>
                  </a:tcPr>
                </a:tc>
                <a:tc>
                  <a:txBody>
                    <a:bodyPr/>
                    <a:lstStyle/>
                    <a:p>
                      <a:pPr algn="ctr"/>
                      <a:r>
                        <a:rPr lang="en-US" sz="1900" dirty="0">
                          <a:solidFill>
                            <a:schemeClr val="tx1">
                              <a:lumMod val="65000"/>
                              <a:lumOff val="35000"/>
                            </a:schemeClr>
                          </a:solidFill>
                        </a:rPr>
                        <a:t>….</a:t>
                      </a:r>
                    </a:p>
                  </a:txBody>
                  <a:tcPr marL="90712" marR="90712" marT="45356" marB="45356" anchor="ctr">
                    <a:solidFill>
                      <a:schemeClr val="bg1">
                        <a:lumMod val="65000"/>
                      </a:schemeClr>
                    </a:solidFill>
                  </a:tcPr>
                </a:tc>
                <a:extLst>
                  <a:ext uri="{0D108BD9-81ED-4DB2-BD59-A6C34878D82A}">
                    <a16:rowId xmlns:a16="http://schemas.microsoft.com/office/drawing/2014/main" val="2125047662"/>
                  </a:ext>
                </a:extLst>
              </a:tr>
            </a:tbl>
          </a:graphicData>
        </a:graphic>
      </p:graphicFrame>
      <p:graphicFrame>
        <p:nvGraphicFramePr>
          <p:cNvPr id="36" name="Table 15">
            <a:extLst>
              <a:ext uri="{FF2B5EF4-FFF2-40B4-BE49-F238E27FC236}">
                <a16:creationId xmlns:a16="http://schemas.microsoft.com/office/drawing/2014/main" id="{952B2651-7354-4AA8-9CC0-264F63B2557D}"/>
              </a:ext>
            </a:extLst>
          </p:cNvPr>
          <p:cNvGraphicFramePr>
            <a:graphicFrameLocks noGrp="1"/>
          </p:cNvGraphicFramePr>
          <p:nvPr>
            <p:extLst>
              <p:ext uri="{D42A27DB-BD31-4B8C-83A1-F6EECF244321}">
                <p14:modId xmlns:p14="http://schemas.microsoft.com/office/powerpoint/2010/main" val="4005214624"/>
              </p:ext>
            </p:extLst>
          </p:nvPr>
        </p:nvGraphicFramePr>
        <p:xfrm>
          <a:off x="1573957" y="2917971"/>
          <a:ext cx="4444268" cy="593724"/>
        </p:xfrm>
        <a:graphic>
          <a:graphicData uri="http://schemas.openxmlformats.org/drawingml/2006/table">
            <a:tbl>
              <a:tblPr firstRow="1" bandRow="1">
                <a:tableStyleId>{5C22544A-7EE6-4342-B048-85BDC9FD1C3A}</a:tableStyleId>
              </a:tblPr>
              <a:tblGrid>
                <a:gridCol w="1111067">
                  <a:extLst>
                    <a:ext uri="{9D8B030D-6E8A-4147-A177-3AD203B41FA5}">
                      <a16:colId xmlns:a16="http://schemas.microsoft.com/office/drawing/2014/main" val="2373729912"/>
                    </a:ext>
                  </a:extLst>
                </a:gridCol>
                <a:gridCol w="1111067">
                  <a:extLst>
                    <a:ext uri="{9D8B030D-6E8A-4147-A177-3AD203B41FA5}">
                      <a16:colId xmlns:a16="http://schemas.microsoft.com/office/drawing/2014/main" val="2082048507"/>
                    </a:ext>
                  </a:extLst>
                </a:gridCol>
                <a:gridCol w="1111067">
                  <a:extLst>
                    <a:ext uri="{9D8B030D-6E8A-4147-A177-3AD203B41FA5}">
                      <a16:colId xmlns:a16="http://schemas.microsoft.com/office/drawing/2014/main" val="3571385166"/>
                    </a:ext>
                  </a:extLst>
                </a:gridCol>
                <a:gridCol w="1111067">
                  <a:extLst>
                    <a:ext uri="{9D8B030D-6E8A-4147-A177-3AD203B41FA5}">
                      <a16:colId xmlns:a16="http://schemas.microsoft.com/office/drawing/2014/main" val="1201590903"/>
                    </a:ext>
                  </a:extLst>
                </a:gridCol>
              </a:tblGrid>
              <a:tr h="593724">
                <a:tc>
                  <a:txBody>
                    <a:bodyPr/>
                    <a:lstStyle/>
                    <a:p>
                      <a:pPr algn="ctr"/>
                      <a:r>
                        <a:rPr lang="en-US" sz="1600" dirty="0">
                          <a:solidFill>
                            <a:schemeClr val="tx1">
                              <a:lumMod val="65000"/>
                              <a:lumOff val="35000"/>
                            </a:schemeClr>
                          </a:solidFill>
                        </a:rPr>
                        <a:t>Rural mixed</a:t>
                      </a:r>
                    </a:p>
                  </a:txBody>
                  <a:tcPr marL="90712" marR="90712" marT="45356" marB="45356" anchor="ctr">
                    <a:solidFill>
                      <a:srgbClr val="B9FDE3"/>
                    </a:solidFill>
                  </a:tcPr>
                </a:tc>
                <a:tc>
                  <a:txBody>
                    <a:bodyPr/>
                    <a:lstStyle/>
                    <a:p>
                      <a:pPr algn="ctr"/>
                      <a:r>
                        <a:rPr lang="en-US" sz="1600" dirty="0">
                          <a:solidFill>
                            <a:schemeClr val="tx1">
                              <a:lumMod val="65000"/>
                              <a:lumOff val="35000"/>
                            </a:schemeClr>
                          </a:solidFill>
                        </a:rPr>
                        <a:t>Rural on-road</a:t>
                      </a:r>
                    </a:p>
                  </a:txBody>
                  <a:tcPr marL="90712" marR="90712" marT="45356" marB="45356" anchor="ctr">
                    <a:solidFill>
                      <a:srgbClr val="B9FDE3"/>
                    </a:solidFill>
                  </a:tcPr>
                </a:tc>
                <a:tc>
                  <a:txBody>
                    <a:bodyPr/>
                    <a:lstStyle/>
                    <a:p>
                      <a:pPr algn="ctr"/>
                      <a:r>
                        <a:rPr lang="en-US" sz="1600" dirty="0">
                          <a:solidFill>
                            <a:schemeClr val="tx1">
                              <a:lumMod val="65000"/>
                              <a:lumOff val="35000"/>
                            </a:schemeClr>
                          </a:solidFill>
                        </a:rPr>
                        <a:t>Rural remote</a:t>
                      </a:r>
                    </a:p>
                  </a:txBody>
                  <a:tcPr marL="90712" marR="90712" marT="45356" marB="45356" anchor="ctr">
                    <a:gradFill flip="none" rotWithShape="1">
                      <a:gsLst>
                        <a:gs pos="0">
                          <a:srgbClr val="B9FDE3"/>
                        </a:gs>
                        <a:gs pos="63000">
                          <a:srgbClr val="FCD4E5"/>
                        </a:gs>
                      </a:gsLst>
                      <a:lin ang="0" scaled="1"/>
                      <a:tileRect/>
                    </a:gradFill>
                  </a:tcPr>
                </a:tc>
                <a:tc>
                  <a:txBody>
                    <a:bodyPr/>
                    <a:lstStyle/>
                    <a:p>
                      <a:pPr algn="ctr"/>
                      <a:r>
                        <a:rPr lang="en-US" sz="1600" dirty="0">
                          <a:solidFill>
                            <a:schemeClr val="tx1">
                              <a:lumMod val="65000"/>
                              <a:lumOff val="35000"/>
                            </a:schemeClr>
                          </a:solidFill>
                        </a:rPr>
                        <a:t>Difficult contexts</a:t>
                      </a:r>
                    </a:p>
                  </a:txBody>
                  <a:tcPr marL="90712" marR="90712" marT="45356" marB="45356" anchor="ctr">
                    <a:solidFill>
                      <a:srgbClr val="FCD4E5"/>
                    </a:solidFill>
                  </a:tcPr>
                </a:tc>
                <a:extLst>
                  <a:ext uri="{0D108BD9-81ED-4DB2-BD59-A6C34878D82A}">
                    <a16:rowId xmlns:a16="http://schemas.microsoft.com/office/drawing/2014/main" val="2125047662"/>
                  </a:ext>
                </a:extLst>
              </a:tr>
            </a:tbl>
          </a:graphicData>
        </a:graphic>
      </p:graphicFrame>
      <p:grpSp>
        <p:nvGrpSpPr>
          <p:cNvPr id="37" name="Group 36">
            <a:extLst>
              <a:ext uri="{FF2B5EF4-FFF2-40B4-BE49-F238E27FC236}">
                <a16:creationId xmlns:a16="http://schemas.microsoft.com/office/drawing/2014/main" id="{E11A13D1-3442-401C-9141-CB1AB3D4B1AD}"/>
              </a:ext>
            </a:extLst>
          </p:cNvPr>
          <p:cNvGrpSpPr/>
          <p:nvPr/>
        </p:nvGrpSpPr>
        <p:grpSpPr>
          <a:xfrm>
            <a:off x="1670094" y="3691232"/>
            <a:ext cx="4242977" cy="2017399"/>
            <a:chOff x="801386" y="2254494"/>
            <a:chExt cx="5483584" cy="2377796"/>
          </a:xfrm>
        </p:grpSpPr>
        <p:sp>
          <p:nvSpPr>
            <p:cNvPr id="38" name="Rectangle 37">
              <a:extLst>
                <a:ext uri="{FF2B5EF4-FFF2-40B4-BE49-F238E27FC236}">
                  <a16:creationId xmlns:a16="http://schemas.microsoft.com/office/drawing/2014/main" id="{270E47DC-E042-4764-8F0F-934A844907ED}"/>
                </a:ext>
              </a:extLst>
            </p:cNvPr>
            <p:cNvSpPr/>
            <p:nvPr/>
          </p:nvSpPr>
          <p:spPr>
            <a:xfrm>
              <a:off x="801386" y="2280986"/>
              <a:ext cx="1675754" cy="1080000"/>
            </a:xfrm>
            <a:prstGeom prst="rect">
              <a:avLst/>
            </a:prstGeom>
            <a:solidFill>
              <a:schemeClr val="tx2">
                <a:lumMod val="20000"/>
                <a:lumOff val="80000"/>
              </a:schemeClr>
            </a:solidFill>
            <a:ln w="3175">
              <a:solidFill>
                <a:schemeClr val="accent1">
                  <a:lumMod val="20000"/>
                  <a:lumOff val="80000"/>
                </a:schemeClr>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07108"/>
              <a:r>
                <a:rPr lang="en-US" sz="1587" dirty="0">
                  <a:solidFill>
                    <a:prstClr val="black">
                      <a:lumMod val="65000"/>
                      <a:lumOff val="35000"/>
                    </a:prstClr>
                  </a:solidFill>
                  <a:latin typeface="Gill Sans MT"/>
                </a:rPr>
                <a:t>Community- level exclusion</a:t>
              </a:r>
            </a:p>
          </p:txBody>
        </p:sp>
        <p:sp>
          <p:nvSpPr>
            <p:cNvPr id="39" name="Rectangle 38">
              <a:extLst>
                <a:ext uri="{FF2B5EF4-FFF2-40B4-BE49-F238E27FC236}">
                  <a16:creationId xmlns:a16="http://schemas.microsoft.com/office/drawing/2014/main" id="{49DEF6C3-FDAF-44B3-BBA5-3EFB386C1641}"/>
                </a:ext>
              </a:extLst>
            </p:cNvPr>
            <p:cNvSpPr/>
            <p:nvPr/>
          </p:nvSpPr>
          <p:spPr>
            <a:xfrm>
              <a:off x="801386" y="3552293"/>
              <a:ext cx="1675754" cy="1079997"/>
            </a:xfrm>
            <a:prstGeom prst="rect">
              <a:avLst/>
            </a:prstGeom>
            <a:solidFill>
              <a:schemeClr val="tx2">
                <a:lumMod val="20000"/>
                <a:lumOff val="80000"/>
              </a:schemeClr>
            </a:solidFill>
            <a:ln w="3175">
              <a:solidFill>
                <a:schemeClr val="accent1">
                  <a:lumMod val="20000"/>
                  <a:lumOff val="80000"/>
                </a:schemeClr>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07108"/>
              <a:r>
                <a:rPr lang="en-US" sz="1587" dirty="0">
                  <a:solidFill>
                    <a:prstClr val="black">
                      <a:lumMod val="65000"/>
                      <a:lumOff val="35000"/>
                    </a:prstClr>
                  </a:solidFill>
                  <a:latin typeface="Gill Sans MT"/>
                </a:rPr>
                <a:t>Intra-household exclusion</a:t>
              </a:r>
            </a:p>
          </p:txBody>
        </p:sp>
        <p:sp>
          <p:nvSpPr>
            <p:cNvPr id="40" name="Rectangle 39">
              <a:extLst>
                <a:ext uri="{FF2B5EF4-FFF2-40B4-BE49-F238E27FC236}">
                  <a16:creationId xmlns:a16="http://schemas.microsoft.com/office/drawing/2014/main" id="{6D7EAA93-CA00-478E-96B9-65F4156F53FA}"/>
                </a:ext>
              </a:extLst>
            </p:cNvPr>
            <p:cNvSpPr/>
            <p:nvPr/>
          </p:nvSpPr>
          <p:spPr>
            <a:xfrm>
              <a:off x="2913803" y="2254494"/>
              <a:ext cx="1630017" cy="475099"/>
            </a:xfrm>
            <a:prstGeom prst="rect">
              <a:avLst/>
            </a:prstGeom>
            <a:solidFill>
              <a:srgbClr val="B9FD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07108"/>
              <a:r>
                <a:rPr lang="en-US" sz="1389" dirty="0">
                  <a:solidFill>
                    <a:prstClr val="black">
                      <a:lumMod val="65000"/>
                      <a:lumOff val="35000"/>
                    </a:prstClr>
                  </a:solidFill>
                  <a:latin typeface="Gill Sans MT"/>
                </a:rPr>
                <a:t>Physical distance</a:t>
              </a:r>
            </a:p>
          </p:txBody>
        </p:sp>
        <p:sp>
          <p:nvSpPr>
            <p:cNvPr id="41" name="Rectangle 40">
              <a:extLst>
                <a:ext uri="{FF2B5EF4-FFF2-40B4-BE49-F238E27FC236}">
                  <a16:creationId xmlns:a16="http://schemas.microsoft.com/office/drawing/2014/main" id="{C9B4DC3D-EE15-4336-84A2-63349F30F1DB}"/>
                </a:ext>
              </a:extLst>
            </p:cNvPr>
            <p:cNvSpPr/>
            <p:nvPr/>
          </p:nvSpPr>
          <p:spPr>
            <a:xfrm>
              <a:off x="2913803" y="2885888"/>
              <a:ext cx="1630017" cy="475099"/>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07108"/>
              <a:r>
                <a:rPr lang="en-US" sz="1389" dirty="0">
                  <a:solidFill>
                    <a:prstClr val="black">
                      <a:lumMod val="65000"/>
                      <a:lumOff val="35000"/>
                    </a:prstClr>
                  </a:solidFill>
                  <a:latin typeface="Gill Sans MT"/>
                </a:rPr>
                <a:t>Social distance</a:t>
              </a:r>
            </a:p>
          </p:txBody>
        </p:sp>
        <p:sp>
          <p:nvSpPr>
            <p:cNvPr id="42" name="Rectangle 41">
              <a:extLst>
                <a:ext uri="{FF2B5EF4-FFF2-40B4-BE49-F238E27FC236}">
                  <a16:creationId xmlns:a16="http://schemas.microsoft.com/office/drawing/2014/main" id="{35300D1B-E032-462A-A147-D1601C2DD5C3}"/>
                </a:ext>
              </a:extLst>
            </p:cNvPr>
            <p:cNvSpPr/>
            <p:nvPr/>
          </p:nvSpPr>
          <p:spPr>
            <a:xfrm>
              <a:off x="2913803" y="3551838"/>
              <a:ext cx="1630017" cy="475099"/>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07108"/>
              <a:r>
                <a:rPr lang="en-US" sz="1389" dirty="0">
                  <a:solidFill>
                    <a:prstClr val="black">
                      <a:lumMod val="65000"/>
                      <a:lumOff val="35000"/>
                    </a:prstClr>
                  </a:solidFill>
                  <a:latin typeface="Gill Sans MT"/>
                </a:rPr>
                <a:t>Gender</a:t>
              </a:r>
            </a:p>
          </p:txBody>
        </p:sp>
        <p:sp>
          <p:nvSpPr>
            <p:cNvPr id="43" name="Rectangle 42">
              <a:extLst>
                <a:ext uri="{FF2B5EF4-FFF2-40B4-BE49-F238E27FC236}">
                  <a16:creationId xmlns:a16="http://schemas.microsoft.com/office/drawing/2014/main" id="{742871F5-CFDC-406C-B107-2BA86CBDCF42}"/>
                </a:ext>
              </a:extLst>
            </p:cNvPr>
            <p:cNvSpPr/>
            <p:nvPr/>
          </p:nvSpPr>
          <p:spPr>
            <a:xfrm>
              <a:off x="4654954" y="3551838"/>
              <a:ext cx="1630016" cy="475099"/>
            </a:xfrm>
            <a:prstGeom prst="rect">
              <a:avLst/>
            </a:prstGeom>
            <a:solidFill>
              <a:srgbClr val="B9FD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07108"/>
              <a:r>
                <a:rPr lang="en-US" sz="1389" dirty="0">
                  <a:solidFill>
                    <a:prstClr val="black">
                      <a:lumMod val="65000"/>
                      <a:lumOff val="35000"/>
                    </a:prstClr>
                  </a:solidFill>
                  <a:latin typeface="Gill Sans MT"/>
                </a:rPr>
                <a:t>Age</a:t>
              </a:r>
            </a:p>
          </p:txBody>
        </p:sp>
        <p:sp>
          <p:nvSpPr>
            <p:cNvPr id="44" name="Rectangle 43">
              <a:extLst>
                <a:ext uri="{FF2B5EF4-FFF2-40B4-BE49-F238E27FC236}">
                  <a16:creationId xmlns:a16="http://schemas.microsoft.com/office/drawing/2014/main" id="{F6EFF976-D789-449D-BEE8-3741BEAD0CCE}"/>
                </a:ext>
              </a:extLst>
            </p:cNvPr>
            <p:cNvSpPr/>
            <p:nvPr/>
          </p:nvSpPr>
          <p:spPr>
            <a:xfrm>
              <a:off x="2913803" y="4156783"/>
              <a:ext cx="1630017" cy="475099"/>
            </a:xfrm>
            <a:prstGeom prst="rect">
              <a:avLst/>
            </a:prstGeom>
            <a:solidFill>
              <a:srgbClr val="B9FD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07108"/>
              <a:r>
                <a:rPr lang="en-US" sz="1389" dirty="0">
                  <a:solidFill>
                    <a:prstClr val="black">
                      <a:lumMod val="65000"/>
                      <a:lumOff val="35000"/>
                    </a:prstClr>
                  </a:solidFill>
                  <a:latin typeface="Gill Sans MT"/>
                </a:rPr>
                <a:t>Physical disability</a:t>
              </a:r>
            </a:p>
          </p:txBody>
        </p:sp>
        <p:sp>
          <p:nvSpPr>
            <p:cNvPr id="45" name="Rectangle 44">
              <a:extLst>
                <a:ext uri="{FF2B5EF4-FFF2-40B4-BE49-F238E27FC236}">
                  <a16:creationId xmlns:a16="http://schemas.microsoft.com/office/drawing/2014/main" id="{0A671DEC-4BB6-436B-B9D0-191432A1705F}"/>
                </a:ext>
              </a:extLst>
            </p:cNvPr>
            <p:cNvSpPr/>
            <p:nvPr/>
          </p:nvSpPr>
          <p:spPr>
            <a:xfrm>
              <a:off x="4654954" y="4156782"/>
              <a:ext cx="1630016" cy="475099"/>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07108"/>
              <a:r>
                <a:rPr lang="en-US" sz="1389" dirty="0">
                  <a:solidFill>
                    <a:prstClr val="black">
                      <a:lumMod val="65000"/>
                      <a:lumOff val="35000"/>
                    </a:prstClr>
                  </a:solidFill>
                  <a:latin typeface="Gill Sans MT"/>
                </a:rPr>
                <a:t>….</a:t>
              </a:r>
            </a:p>
          </p:txBody>
        </p:sp>
        <p:sp>
          <p:nvSpPr>
            <p:cNvPr id="46" name="Isosceles Triangle 45">
              <a:extLst>
                <a:ext uri="{FF2B5EF4-FFF2-40B4-BE49-F238E27FC236}">
                  <a16:creationId xmlns:a16="http://schemas.microsoft.com/office/drawing/2014/main" id="{0848C8C7-464D-4336-8A67-A75997CF6B65}"/>
                </a:ext>
              </a:extLst>
            </p:cNvPr>
            <p:cNvSpPr/>
            <p:nvPr/>
          </p:nvSpPr>
          <p:spPr>
            <a:xfrm rot="5400000">
              <a:off x="2445460" y="2393903"/>
              <a:ext cx="500025" cy="223384"/>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07108"/>
              <a:endParaRPr lang="en-US" sz="1587" dirty="0">
                <a:solidFill>
                  <a:prstClr val="black"/>
                </a:solidFill>
                <a:latin typeface="Gill Sans MT"/>
              </a:endParaRPr>
            </a:p>
          </p:txBody>
        </p:sp>
        <p:sp>
          <p:nvSpPr>
            <p:cNvPr id="47" name="Isosceles Triangle 46">
              <a:extLst>
                <a:ext uri="{FF2B5EF4-FFF2-40B4-BE49-F238E27FC236}">
                  <a16:creationId xmlns:a16="http://schemas.microsoft.com/office/drawing/2014/main" id="{0BAC7CE7-F160-4B15-BE54-6D3E23D0B7BB}"/>
                </a:ext>
              </a:extLst>
            </p:cNvPr>
            <p:cNvSpPr/>
            <p:nvPr/>
          </p:nvSpPr>
          <p:spPr>
            <a:xfrm rot="5400000">
              <a:off x="2445460" y="3011745"/>
              <a:ext cx="500025" cy="223384"/>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07108"/>
              <a:endParaRPr lang="en-US" sz="1587" dirty="0">
                <a:solidFill>
                  <a:prstClr val="black"/>
                </a:solidFill>
                <a:latin typeface="Gill Sans MT"/>
              </a:endParaRPr>
            </a:p>
          </p:txBody>
        </p:sp>
        <p:sp>
          <p:nvSpPr>
            <p:cNvPr id="48" name="Isosceles Triangle 47">
              <a:extLst>
                <a:ext uri="{FF2B5EF4-FFF2-40B4-BE49-F238E27FC236}">
                  <a16:creationId xmlns:a16="http://schemas.microsoft.com/office/drawing/2014/main" id="{2A191AD6-C4BE-4FC6-A392-CC1A10379792}"/>
                </a:ext>
              </a:extLst>
            </p:cNvPr>
            <p:cNvSpPr/>
            <p:nvPr/>
          </p:nvSpPr>
          <p:spPr>
            <a:xfrm rot="5400000">
              <a:off x="2445460" y="3980603"/>
              <a:ext cx="500025" cy="223383"/>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07108"/>
              <a:endParaRPr lang="en-US" sz="1587" dirty="0">
                <a:solidFill>
                  <a:prstClr val="black"/>
                </a:solidFill>
                <a:latin typeface="Gill Sans MT"/>
              </a:endParaRPr>
            </a:p>
          </p:txBody>
        </p:sp>
      </p:grpSp>
      <p:sp>
        <p:nvSpPr>
          <p:cNvPr id="49" name="TextBox 48">
            <a:extLst>
              <a:ext uri="{FF2B5EF4-FFF2-40B4-BE49-F238E27FC236}">
                <a16:creationId xmlns:a16="http://schemas.microsoft.com/office/drawing/2014/main" id="{3D819C04-8B76-4B72-8E85-3D0658D2454F}"/>
              </a:ext>
            </a:extLst>
          </p:cNvPr>
          <p:cNvSpPr txBox="1"/>
          <p:nvPr/>
        </p:nvSpPr>
        <p:spPr>
          <a:xfrm>
            <a:off x="1136657" y="1649042"/>
            <a:ext cx="1519217" cy="580800"/>
          </a:xfrm>
          <a:prstGeom prst="rect">
            <a:avLst/>
          </a:prstGeom>
          <a:noFill/>
        </p:spPr>
        <p:txBody>
          <a:bodyPr wrap="square" rtlCol="0">
            <a:spAutoFit/>
          </a:bodyPr>
          <a:lstStyle/>
          <a:p>
            <a:pPr algn="ctr" defTabSz="907108"/>
            <a:r>
              <a:rPr lang="en-US" sz="1587" dirty="0">
                <a:solidFill>
                  <a:schemeClr val="bg2"/>
                </a:solidFill>
                <a:latin typeface="Quicksand" pitchFamily="2" charset="0"/>
              </a:rPr>
              <a:t>Development approaches</a:t>
            </a:r>
          </a:p>
        </p:txBody>
      </p:sp>
      <p:sp>
        <p:nvSpPr>
          <p:cNvPr id="50" name="TextBox 49">
            <a:extLst>
              <a:ext uri="{FF2B5EF4-FFF2-40B4-BE49-F238E27FC236}">
                <a16:creationId xmlns:a16="http://schemas.microsoft.com/office/drawing/2014/main" id="{D97063B0-091E-4D21-B738-C5E1D169E601}"/>
              </a:ext>
            </a:extLst>
          </p:cNvPr>
          <p:cNvSpPr txBox="1"/>
          <p:nvPr/>
        </p:nvSpPr>
        <p:spPr>
          <a:xfrm>
            <a:off x="294207" y="3077034"/>
            <a:ext cx="1296631" cy="336567"/>
          </a:xfrm>
          <a:prstGeom prst="rect">
            <a:avLst/>
          </a:prstGeom>
          <a:noFill/>
        </p:spPr>
        <p:txBody>
          <a:bodyPr wrap="square" rtlCol="0">
            <a:spAutoFit/>
          </a:bodyPr>
          <a:lstStyle/>
          <a:p>
            <a:pPr defTabSz="907108"/>
            <a:r>
              <a:rPr lang="en-US" sz="1587" b="1" i="1" dirty="0">
                <a:solidFill>
                  <a:prstClr val="black">
                    <a:lumMod val="65000"/>
                    <a:lumOff val="35000"/>
                  </a:prstClr>
                </a:solidFill>
                <a:latin typeface="Gill Sans MT"/>
              </a:rPr>
              <a:t>Geographic</a:t>
            </a:r>
          </a:p>
        </p:txBody>
      </p:sp>
      <p:sp>
        <p:nvSpPr>
          <p:cNvPr id="51" name="TextBox 50">
            <a:extLst>
              <a:ext uri="{FF2B5EF4-FFF2-40B4-BE49-F238E27FC236}">
                <a16:creationId xmlns:a16="http://schemas.microsoft.com/office/drawing/2014/main" id="{B3D9795E-9545-4A66-83B4-BBCF179FCA7B}"/>
              </a:ext>
            </a:extLst>
          </p:cNvPr>
          <p:cNvSpPr txBox="1"/>
          <p:nvPr/>
        </p:nvSpPr>
        <p:spPr>
          <a:xfrm>
            <a:off x="294206" y="4507010"/>
            <a:ext cx="1375887" cy="336567"/>
          </a:xfrm>
          <a:prstGeom prst="rect">
            <a:avLst/>
          </a:prstGeom>
          <a:noFill/>
        </p:spPr>
        <p:txBody>
          <a:bodyPr wrap="square" rtlCol="0">
            <a:spAutoFit/>
          </a:bodyPr>
          <a:lstStyle/>
          <a:p>
            <a:pPr defTabSz="907108"/>
            <a:r>
              <a:rPr lang="en-US" sz="1587" b="1" i="1" dirty="0">
                <a:solidFill>
                  <a:prstClr val="black">
                    <a:lumMod val="65000"/>
                    <a:lumOff val="35000"/>
                  </a:prstClr>
                </a:solidFill>
                <a:latin typeface="Gill Sans MT"/>
              </a:rPr>
              <a:t>Vulnerability</a:t>
            </a:r>
          </a:p>
        </p:txBody>
      </p:sp>
      <p:sp>
        <p:nvSpPr>
          <p:cNvPr id="52" name="TextBox 51">
            <a:extLst>
              <a:ext uri="{FF2B5EF4-FFF2-40B4-BE49-F238E27FC236}">
                <a16:creationId xmlns:a16="http://schemas.microsoft.com/office/drawing/2014/main" id="{E554C979-6EF7-4EB2-8D1B-C34F5243F3B1}"/>
              </a:ext>
            </a:extLst>
          </p:cNvPr>
          <p:cNvSpPr txBox="1"/>
          <p:nvPr/>
        </p:nvSpPr>
        <p:spPr>
          <a:xfrm>
            <a:off x="513891" y="2404566"/>
            <a:ext cx="5566358" cy="367152"/>
          </a:xfrm>
          <a:prstGeom prst="rect">
            <a:avLst/>
          </a:prstGeom>
          <a:noFill/>
        </p:spPr>
        <p:txBody>
          <a:bodyPr wrap="square" rtlCol="0">
            <a:spAutoFit/>
          </a:bodyPr>
          <a:lstStyle/>
          <a:p>
            <a:pPr algn="ctr" defTabSz="907108"/>
            <a:r>
              <a:rPr lang="en-US" sz="1786" b="1" i="1" dirty="0">
                <a:solidFill>
                  <a:prstClr val="black">
                    <a:lumMod val="65000"/>
                    <a:lumOff val="35000"/>
                  </a:prstClr>
                </a:solidFill>
                <a:latin typeface="Gill Sans MT"/>
              </a:rPr>
              <a:t>Extend the reach of markets to less-served contexts...</a:t>
            </a:r>
          </a:p>
        </p:txBody>
      </p:sp>
      <p:sp>
        <p:nvSpPr>
          <p:cNvPr id="53" name="TextBox 52">
            <a:extLst>
              <a:ext uri="{FF2B5EF4-FFF2-40B4-BE49-F238E27FC236}">
                <a16:creationId xmlns:a16="http://schemas.microsoft.com/office/drawing/2014/main" id="{B7DA658A-2D9B-46F6-9C6B-17A84FC31688}"/>
              </a:ext>
            </a:extLst>
          </p:cNvPr>
          <p:cNvSpPr txBox="1"/>
          <p:nvPr/>
        </p:nvSpPr>
        <p:spPr>
          <a:xfrm>
            <a:off x="6578998" y="2404565"/>
            <a:ext cx="5295655" cy="367152"/>
          </a:xfrm>
          <a:prstGeom prst="rect">
            <a:avLst/>
          </a:prstGeom>
          <a:noFill/>
        </p:spPr>
        <p:txBody>
          <a:bodyPr wrap="square" rtlCol="0">
            <a:spAutoFit/>
          </a:bodyPr>
          <a:lstStyle/>
          <a:p>
            <a:pPr algn="ctr" defTabSz="907108"/>
            <a:r>
              <a:rPr lang="en-US" sz="1786" b="1" i="1" dirty="0">
                <a:solidFill>
                  <a:prstClr val="black">
                    <a:lumMod val="65000"/>
                    <a:lumOff val="35000"/>
                  </a:prstClr>
                </a:solidFill>
                <a:latin typeface="Gill Sans MT"/>
              </a:rPr>
              <a:t>…and less served customer segments</a:t>
            </a:r>
          </a:p>
        </p:txBody>
      </p:sp>
      <p:sp>
        <p:nvSpPr>
          <p:cNvPr id="54" name="Rectangle 53">
            <a:extLst>
              <a:ext uri="{FF2B5EF4-FFF2-40B4-BE49-F238E27FC236}">
                <a16:creationId xmlns:a16="http://schemas.microsoft.com/office/drawing/2014/main" id="{DFC52AFB-D861-4344-899C-85B6CC4E76DD}"/>
              </a:ext>
            </a:extLst>
          </p:cNvPr>
          <p:cNvSpPr/>
          <p:nvPr/>
        </p:nvSpPr>
        <p:spPr>
          <a:xfrm>
            <a:off x="294206" y="2404567"/>
            <a:ext cx="5801794" cy="3422177"/>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07108"/>
            <a:endParaRPr lang="en-US" sz="1786" dirty="0">
              <a:solidFill>
                <a:srgbClr val="FFFFFF"/>
              </a:solidFill>
              <a:latin typeface="Gill Sans MT"/>
            </a:endParaRPr>
          </a:p>
        </p:txBody>
      </p:sp>
      <p:sp>
        <p:nvSpPr>
          <p:cNvPr id="55" name="Rectangle 54">
            <a:extLst>
              <a:ext uri="{FF2B5EF4-FFF2-40B4-BE49-F238E27FC236}">
                <a16:creationId xmlns:a16="http://schemas.microsoft.com/office/drawing/2014/main" id="{C0173974-67F5-483C-AD30-71FF983F346C}"/>
              </a:ext>
            </a:extLst>
          </p:cNvPr>
          <p:cNvSpPr/>
          <p:nvPr/>
        </p:nvSpPr>
        <p:spPr>
          <a:xfrm>
            <a:off x="6100721" y="2404567"/>
            <a:ext cx="5801794" cy="3422177"/>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07108"/>
            <a:endParaRPr lang="en-US" sz="1786" dirty="0">
              <a:solidFill>
                <a:srgbClr val="FFFFFF"/>
              </a:solidFill>
              <a:latin typeface="Gill Sans MT"/>
            </a:endParaRPr>
          </a:p>
        </p:txBody>
      </p:sp>
    </p:spTree>
    <p:extLst>
      <p:ext uri="{BB962C8B-B14F-4D97-AF65-F5344CB8AC3E}">
        <p14:creationId xmlns:p14="http://schemas.microsoft.com/office/powerpoint/2010/main" val="2017892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5014728-B99F-45CC-8CD8-F168CF665E53}"/>
              </a:ext>
            </a:extLst>
          </p:cNvPr>
          <p:cNvSpPr>
            <a:spLocks noGrp="1"/>
          </p:cNvSpPr>
          <p:nvPr>
            <p:ph type="ftr" sz="quarter" idx="11"/>
          </p:nvPr>
        </p:nvSpPr>
        <p:spPr/>
        <p:txBody>
          <a:bodyPr/>
          <a:lstStyle/>
          <a:p>
            <a:endParaRPr lang="en-GB" dirty="0"/>
          </a:p>
        </p:txBody>
      </p:sp>
      <p:sp>
        <p:nvSpPr>
          <p:cNvPr id="3" name="Title 2">
            <a:extLst>
              <a:ext uri="{FF2B5EF4-FFF2-40B4-BE49-F238E27FC236}">
                <a16:creationId xmlns:a16="http://schemas.microsoft.com/office/drawing/2014/main" id="{07312632-DEA6-4A11-A84E-AEAB4F66F537}"/>
              </a:ext>
            </a:extLst>
          </p:cNvPr>
          <p:cNvSpPr>
            <a:spLocks noGrp="1"/>
          </p:cNvSpPr>
          <p:nvPr>
            <p:ph type="title"/>
          </p:nvPr>
        </p:nvSpPr>
        <p:spPr>
          <a:xfrm>
            <a:off x="662453" y="476885"/>
            <a:ext cx="8547587" cy="1325563"/>
          </a:xfrm>
        </p:spPr>
        <p:txBody>
          <a:bodyPr>
            <a:noAutofit/>
          </a:bodyPr>
          <a:lstStyle/>
          <a:p>
            <a:r>
              <a:rPr lang="en-US" sz="5600" dirty="0"/>
              <a:t>Finish Mondial LNOB</a:t>
            </a:r>
            <a:br>
              <a:rPr lang="en-US" sz="5600" dirty="0"/>
            </a:br>
            <a:endParaRPr lang="en-US" sz="5600" dirty="0"/>
          </a:p>
        </p:txBody>
      </p:sp>
      <p:sp>
        <p:nvSpPr>
          <p:cNvPr id="4" name="Content Placeholder 3">
            <a:extLst>
              <a:ext uri="{FF2B5EF4-FFF2-40B4-BE49-F238E27FC236}">
                <a16:creationId xmlns:a16="http://schemas.microsoft.com/office/drawing/2014/main" id="{256DF96D-11C8-424B-A86C-0063FB1F7AB0}"/>
              </a:ext>
            </a:extLst>
          </p:cNvPr>
          <p:cNvSpPr>
            <a:spLocks noGrp="1"/>
          </p:cNvSpPr>
          <p:nvPr>
            <p:ph idx="1"/>
          </p:nvPr>
        </p:nvSpPr>
        <p:spPr>
          <a:xfrm>
            <a:off x="926756" y="1196975"/>
            <a:ext cx="10206681" cy="4573630"/>
          </a:xfrm>
        </p:spPr>
        <p:txBody>
          <a:bodyPr>
            <a:normAutofit fontScale="77500" lnSpcReduction="20000"/>
          </a:bodyPr>
          <a:lstStyle/>
          <a:p>
            <a:pPr>
              <a:lnSpc>
                <a:spcPct val="120000"/>
              </a:lnSpc>
              <a:spcBef>
                <a:spcPts val="600"/>
              </a:spcBef>
            </a:pPr>
            <a:r>
              <a:rPr lang="en-US" sz="2800" b="0" i="0" dirty="0">
                <a:effectLst/>
              </a:rPr>
              <a:t>45% of sanitation constructed under FM Uganda are built by female masons, breaking down taboos for instance </a:t>
            </a:r>
            <a:r>
              <a:rPr lang="en-US" sz="2800" b="0" i="0" dirty="0" err="1">
                <a:effectLst/>
              </a:rPr>
              <a:t>Tweheyo</a:t>
            </a:r>
            <a:r>
              <a:rPr lang="en-US" sz="2800" b="0" i="0" dirty="0">
                <a:effectLst/>
              </a:rPr>
              <a:t> </a:t>
            </a:r>
            <a:r>
              <a:rPr lang="en-US" sz="2800" b="0" i="0" dirty="0" err="1">
                <a:effectLst/>
              </a:rPr>
              <a:t>Naume</a:t>
            </a:r>
            <a:r>
              <a:rPr lang="en-US" sz="2800" b="0" i="0" dirty="0">
                <a:effectLst/>
              </a:rPr>
              <a:t> is 23-years-old and has already constructed over 80 sanitation systems. For her, setting up her own business is a dream come true. </a:t>
            </a:r>
          </a:p>
          <a:p>
            <a:pPr>
              <a:lnSpc>
                <a:spcPct val="120000"/>
              </a:lnSpc>
              <a:spcBef>
                <a:spcPts val="600"/>
              </a:spcBef>
            </a:pPr>
            <a:r>
              <a:rPr lang="en-US" sz="2000" b="0" i="0" dirty="0">
                <a:effectLst/>
              </a:rPr>
              <a:t>Jayshree Yona has lived all her life without a toilet in </a:t>
            </a:r>
            <a:r>
              <a:rPr lang="en-US" sz="2000" b="0" i="0" dirty="0" err="1">
                <a:effectLst/>
              </a:rPr>
              <a:t>Wadjhakan</a:t>
            </a:r>
            <a:r>
              <a:rPr lang="en-US" sz="2000" b="0" i="0" dirty="0">
                <a:effectLst/>
              </a:rPr>
              <a:t> Gram Panchayat.  While the men of her family can go outside anytime, Jayshree and her mother-in-law had to wait till it gets dark, making their walk to the “bush toilet” a risky </a:t>
            </a:r>
            <a:r>
              <a:rPr lang="en-US" sz="2000" b="0" i="0" dirty="0" err="1">
                <a:effectLst/>
              </a:rPr>
              <a:t>endeavour</a:t>
            </a:r>
            <a:r>
              <a:rPr lang="en-US" sz="2000" b="0" i="0" dirty="0">
                <a:effectLst/>
              </a:rPr>
              <a:t>. Vulnerability to violence is a real threat faced by women who practice open defecation. Stories from: </a:t>
            </a:r>
            <a:r>
              <a:rPr lang="en-US" sz="2800" dirty="0">
                <a:hlinkClick r:id="rId3"/>
              </a:rPr>
              <a:t>Leave No One Behind: Working for socially and gender inclusive sanitation – FINISH Mondial</a:t>
            </a:r>
            <a:endParaRPr lang="en-US" sz="3600" dirty="0"/>
          </a:p>
          <a:p>
            <a:pPr>
              <a:lnSpc>
                <a:spcPct val="120000"/>
              </a:lnSpc>
            </a:pPr>
            <a:r>
              <a:rPr lang="en-US" sz="2800" dirty="0">
                <a:hlinkClick r:id="rId4"/>
              </a:rPr>
              <a:t>BBC News Africa on Twitter: "It's a basic human function, but for some it's not easy getting to a toilet. This is how a group of women in Uganda are helping those with disabilities get the access they need 🚽⬇️ https://t.co/uNfGo4rl74" / Twitter</a:t>
            </a:r>
            <a:endParaRPr lang="en-US" sz="3600" dirty="0"/>
          </a:p>
        </p:txBody>
      </p:sp>
    </p:spTree>
    <p:extLst>
      <p:ext uri="{BB962C8B-B14F-4D97-AF65-F5344CB8AC3E}">
        <p14:creationId xmlns:p14="http://schemas.microsoft.com/office/powerpoint/2010/main" val="1557953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403D0CB-DF60-446B-BD60-4E6ED813992F}"/>
              </a:ext>
            </a:extLst>
          </p:cNvPr>
          <p:cNvSpPr>
            <a:spLocks noGrp="1"/>
          </p:cNvSpPr>
          <p:nvPr>
            <p:ph type="body" idx="1"/>
          </p:nvPr>
        </p:nvSpPr>
        <p:spPr/>
        <p:txBody>
          <a:bodyPr/>
          <a:lstStyle/>
          <a:p>
            <a:r>
              <a:rPr lang="en-GB" dirty="0"/>
              <a:t>The critical role of sanitation </a:t>
            </a:r>
            <a:r>
              <a:rPr lang="en-GB" dirty="0" err="1"/>
              <a:t>centers</a:t>
            </a:r>
            <a:r>
              <a:rPr lang="en-GB" dirty="0"/>
              <a:t> and community showrooms in effective sanitation services delivery – Rwanda’s experience</a:t>
            </a:r>
            <a:endParaRPr lang="en-US" dirty="0"/>
          </a:p>
        </p:txBody>
      </p:sp>
      <p:sp>
        <p:nvSpPr>
          <p:cNvPr id="3" name="Footer Placeholder 2">
            <a:extLst>
              <a:ext uri="{FF2B5EF4-FFF2-40B4-BE49-F238E27FC236}">
                <a16:creationId xmlns:a16="http://schemas.microsoft.com/office/drawing/2014/main" id="{FCDC18A0-CE4E-4780-852B-B4DC9F211B15}"/>
              </a:ext>
            </a:extLst>
          </p:cNvPr>
          <p:cNvSpPr>
            <a:spLocks noGrp="1"/>
          </p:cNvSpPr>
          <p:nvPr>
            <p:ph type="ftr" sz="quarter" idx="3"/>
          </p:nvPr>
        </p:nvSpPr>
        <p:spPr/>
        <p:txBody>
          <a:bodyPr/>
          <a:lstStyle/>
          <a:p>
            <a:r>
              <a:rPr lang="en-GB" sz="1800" dirty="0"/>
              <a:t>Fidele Nteziyaremye, Water for People, Rwanda</a:t>
            </a:r>
          </a:p>
        </p:txBody>
      </p:sp>
      <p:pic>
        <p:nvPicPr>
          <p:cNvPr id="9" name="Picture Placeholder 8" descr="A picture containing text, sky, ground, outdoor&#10;&#10;Description automatically generated">
            <a:extLst>
              <a:ext uri="{FF2B5EF4-FFF2-40B4-BE49-F238E27FC236}">
                <a16:creationId xmlns:a16="http://schemas.microsoft.com/office/drawing/2014/main" id="{189335ED-C07C-4595-96D8-AF2501A80922}"/>
              </a:ext>
            </a:extLst>
          </p:cNvPr>
          <p:cNvPicPr>
            <a:picLocks noGrp="1" noChangeAspect="1"/>
          </p:cNvPicPr>
          <p:nvPr>
            <p:ph type="pic" idx="10"/>
          </p:nvPr>
        </p:nvPicPr>
        <p:blipFill>
          <a:blip r:embed="rId3">
            <a:extLst>
              <a:ext uri="{28A0092B-C50C-407E-A947-70E740481C1C}">
                <a14:useLocalDpi xmlns:a14="http://schemas.microsoft.com/office/drawing/2010/main" val="0"/>
              </a:ext>
            </a:extLst>
          </a:blip>
          <a:srcRect t="10" b="10"/>
          <a:stretch>
            <a:fillRect/>
          </a:stretch>
        </p:blipFill>
        <p:spPr/>
      </p:pic>
    </p:spTree>
    <p:extLst>
      <p:ext uri="{BB962C8B-B14F-4D97-AF65-F5344CB8AC3E}">
        <p14:creationId xmlns:p14="http://schemas.microsoft.com/office/powerpoint/2010/main" val="631530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FCDFBA1-CAE2-1C79-9F92-A1F33F99B7C1}"/>
              </a:ext>
            </a:extLst>
          </p:cNvPr>
          <p:cNvSpPr>
            <a:spLocks noGrp="1"/>
          </p:cNvSpPr>
          <p:nvPr>
            <p:ph type="title"/>
          </p:nvPr>
        </p:nvSpPr>
        <p:spPr>
          <a:xfrm>
            <a:off x="608965" y="224012"/>
            <a:ext cx="7254630" cy="1174654"/>
          </a:xfrm>
        </p:spPr>
        <p:txBody>
          <a:bodyPr/>
          <a:lstStyle/>
          <a:p>
            <a:r>
              <a:rPr lang="en-GB" dirty="0"/>
              <a:t>Contents slide</a:t>
            </a:r>
          </a:p>
        </p:txBody>
      </p:sp>
      <p:sp>
        <p:nvSpPr>
          <p:cNvPr id="6" name="Content Placeholder 5">
            <a:extLst>
              <a:ext uri="{FF2B5EF4-FFF2-40B4-BE49-F238E27FC236}">
                <a16:creationId xmlns:a16="http://schemas.microsoft.com/office/drawing/2014/main" id="{E44BF7EC-3898-C5C4-5DE9-45ED75192677}"/>
              </a:ext>
            </a:extLst>
          </p:cNvPr>
          <p:cNvSpPr>
            <a:spLocks noGrp="1"/>
          </p:cNvSpPr>
          <p:nvPr>
            <p:ph idx="1"/>
          </p:nvPr>
        </p:nvSpPr>
        <p:spPr>
          <a:xfrm>
            <a:off x="589280" y="1779666"/>
            <a:ext cx="8583295" cy="4287759"/>
          </a:xfrm>
        </p:spPr>
        <p:txBody>
          <a:bodyPr>
            <a:normAutofit fontScale="77500" lnSpcReduction="20000"/>
          </a:bodyPr>
          <a:lstStyle/>
          <a:p>
            <a:pPr marL="542925" indent="-542925">
              <a:lnSpc>
                <a:spcPct val="120000"/>
              </a:lnSpc>
              <a:buFont typeface="+mj-lt"/>
              <a:buAutoNum type="arabicPeriod"/>
            </a:pPr>
            <a:r>
              <a:rPr lang="en-US" sz="3600" dirty="0"/>
              <a:t>Rationale of the DSC establishment;</a:t>
            </a:r>
          </a:p>
          <a:p>
            <a:pPr marL="542925" indent="-542925">
              <a:lnSpc>
                <a:spcPct val="120000"/>
              </a:lnSpc>
              <a:buFont typeface="+mj-lt"/>
              <a:buAutoNum type="arabicPeriod"/>
            </a:pPr>
            <a:r>
              <a:rPr lang="en-US" sz="3600" dirty="0"/>
              <a:t>Main functions</a:t>
            </a:r>
          </a:p>
          <a:p>
            <a:pPr marL="542925" indent="-542925">
              <a:lnSpc>
                <a:spcPct val="120000"/>
              </a:lnSpc>
              <a:buFont typeface="+mj-lt"/>
              <a:buAutoNum type="arabicPeriod"/>
            </a:pPr>
            <a:r>
              <a:rPr lang="en-US" sz="3600" dirty="0"/>
              <a:t>Current status and impact</a:t>
            </a:r>
          </a:p>
          <a:p>
            <a:pPr marL="542925" indent="-542925">
              <a:lnSpc>
                <a:spcPct val="120000"/>
              </a:lnSpc>
              <a:buFont typeface="+mj-lt"/>
              <a:buAutoNum type="arabicPeriod"/>
            </a:pPr>
            <a:r>
              <a:rPr lang="en-US" sz="3600" dirty="0"/>
              <a:t>Roles and responsibilities</a:t>
            </a:r>
          </a:p>
          <a:p>
            <a:pPr marL="542925" indent="-542925">
              <a:lnSpc>
                <a:spcPct val="120000"/>
              </a:lnSpc>
              <a:buFont typeface="+mj-lt"/>
              <a:buAutoNum type="arabicPeriod"/>
            </a:pPr>
            <a:r>
              <a:rPr lang="en-US" sz="3600" dirty="0"/>
              <a:t>Roles played to broader sanitation &amp; Hygiene promotion approach</a:t>
            </a:r>
          </a:p>
          <a:p>
            <a:pPr marL="542925" indent="-542925">
              <a:lnSpc>
                <a:spcPct val="120000"/>
              </a:lnSpc>
              <a:buFont typeface="+mj-lt"/>
              <a:buAutoNum type="arabicPeriod"/>
            </a:pPr>
            <a:r>
              <a:rPr lang="en-US" sz="3600" dirty="0"/>
              <a:t>Challenges, opportunities and lessons  learnt </a:t>
            </a:r>
          </a:p>
          <a:p>
            <a:pPr marL="542925" indent="-542925">
              <a:lnSpc>
                <a:spcPct val="120000"/>
              </a:lnSpc>
              <a:buFont typeface="+mj-lt"/>
              <a:buAutoNum type="arabicPeriod"/>
            </a:pPr>
            <a:r>
              <a:rPr lang="en-US" sz="3600" dirty="0"/>
              <a:t>Conclusion and way forward</a:t>
            </a:r>
            <a:endParaRPr lang="en-GB" dirty="0"/>
          </a:p>
          <a:p>
            <a:pPr marL="0" indent="0">
              <a:buNone/>
            </a:pPr>
            <a:endParaRPr lang="en-GB" dirty="0"/>
          </a:p>
        </p:txBody>
      </p:sp>
      <p:pic>
        <p:nvPicPr>
          <p:cNvPr id="2" name="Picture 1">
            <a:extLst>
              <a:ext uri="{FF2B5EF4-FFF2-40B4-BE49-F238E27FC236}">
                <a16:creationId xmlns:a16="http://schemas.microsoft.com/office/drawing/2014/main" id="{2A4E8157-F18E-E967-A7A0-11C637F2B16E}"/>
              </a:ext>
            </a:extLst>
          </p:cNvPr>
          <p:cNvPicPr/>
          <p:nvPr/>
        </p:nvPicPr>
        <p:blipFill>
          <a:blip r:embed="rId2"/>
          <a:stretch>
            <a:fillRect/>
          </a:stretch>
        </p:blipFill>
        <p:spPr>
          <a:xfrm>
            <a:off x="9277350" y="1398666"/>
            <a:ext cx="2781935" cy="4583034"/>
          </a:xfrm>
          <a:prstGeom prst="rect">
            <a:avLst/>
          </a:prstGeom>
        </p:spPr>
      </p:pic>
    </p:spTree>
    <p:extLst>
      <p:ext uri="{BB962C8B-B14F-4D97-AF65-F5344CB8AC3E}">
        <p14:creationId xmlns:p14="http://schemas.microsoft.com/office/powerpoint/2010/main" val="17148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9788" y="124911"/>
            <a:ext cx="8115300" cy="668894"/>
          </a:xfrm>
        </p:spPr>
        <p:txBody>
          <a:bodyPr>
            <a:normAutofit/>
          </a:bodyPr>
          <a:lstStyle/>
          <a:p>
            <a:r>
              <a:rPr lang="en-US" sz="3600" dirty="0"/>
              <a:t>Rationale of the DSCs establishment</a:t>
            </a:r>
          </a:p>
        </p:txBody>
      </p:sp>
      <p:sp>
        <p:nvSpPr>
          <p:cNvPr id="2" name="Content Placeholder 1"/>
          <p:cNvSpPr>
            <a:spLocks noGrp="1"/>
          </p:cNvSpPr>
          <p:nvPr>
            <p:ph idx="4294967295"/>
          </p:nvPr>
        </p:nvSpPr>
        <p:spPr>
          <a:xfrm>
            <a:off x="847726" y="806161"/>
            <a:ext cx="9648824" cy="1467399"/>
          </a:xfrm>
        </p:spPr>
        <p:txBody>
          <a:bodyPr>
            <a:noAutofit/>
          </a:bodyPr>
          <a:lstStyle/>
          <a:p>
            <a:pPr marL="0" indent="0">
              <a:buNone/>
            </a:pPr>
            <a:r>
              <a:rPr lang="en-US" sz="2400" dirty="0">
                <a:latin typeface="Quicksand" pitchFamily="2" charset="0"/>
              </a:rPr>
              <a:t>Concept highlighted in the National Sanitation Policy (2016) to solve challenges related to the sanitation supply chain and transmission of knowledge</a:t>
            </a:r>
          </a:p>
          <a:p>
            <a:pPr marL="0" indent="0">
              <a:buNone/>
            </a:pPr>
            <a:endParaRPr lang="en-US" dirty="0">
              <a:solidFill>
                <a:schemeClr val="bg2">
                  <a:lumMod val="10000"/>
                </a:schemeClr>
              </a:solidFill>
              <a:latin typeface="Gill Sans MT" panose="020B0502020104020203" pitchFamily="34" charset="0"/>
            </a:endParaRPr>
          </a:p>
        </p:txBody>
      </p:sp>
      <p:pic>
        <p:nvPicPr>
          <p:cNvPr id="7" name="Picture 6"/>
          <p:cNvPicPr>
            <a:picLocks noChangeAspect="1"/>
          </p:cNvPicPr>
          <p:nvPr/>
        </p:nvPicPr>
        <p:blipFill>
          <a:blip r:embed="rId3"/>
          <a:stretch>
            <a:fillRect/>
          </a:stretch>
        </p:blipFill>
        <p:spPr>
          <a:xfrm>
            <a:off x="3087451" y="2619220"/>
            <a:ext cx="5339054" cy="3359817"/>
          </a:xfrm>
          <a:prstGeom prst="rect">
            <a:avLst/>
          </a:prstGeom>
        </p:spPr>
      </p:pic>
      <p:pic>
        <p:nvPicPr>
          <p:cNvPr id="2050" name="Picture 2" descr="IMG_978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10599" y="4320865"/>
            <a:ext cx="3246947" cy="2163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Content Placeholder 1"/>
          <p:cNvSpPr txBox="1">
            <a:spLocks/>
          </p:cNvSpPr>
          <p:nvPr/>
        </p:nvSpPr>
        <p:spPr>
          <a:xfrm>
            <a:off x="8513805" y="1940011"/>
            <a:ext cx="3049545" cy="2127165"/>
          </a:xfrm>
          <a:prstGeom prst="rect">
            <a:avLst/>
          </a:prstGeom>
        </p:spPr>
        <p:txBody>
          <a:bodyPr vert="horz" lIns="91440" tIns="45720" rIns="91440" bIns="45720" rtlCol="0">
            <a:noAutofit/>
          </a:bodyPr>
          <a:lstStyle>
            <a:lvl1pPr marL="246063" indent="-246063" algn="l" defTabSz="457200" rtl="0" eaLnBrk="1" latinLnBrk="0" hangingPunct="1">
              <a:spcBef>
                <a:spcPct val="20000"/>
              </a:spcBef>
              <a:buFont typeface="Arial"/>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36575" indent="-250825" algn="l" defTabSz="457200" rtl="0" eaLnBrk="1" latinLnBrk="0" hangingPunct="1">
              <a:spcBef>
                <a:spcPct val="20000"/>
              </a:spcBef>
              <a:buFont typeface="Arial"/>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04863" indent="-250825" algn="l" defTabSz="457200" rtl="0" eaLnBrk="1" latinLnBrk="0" hangingPunct="1">
              <a:spcBef>
                <a:spcPct val="20000"/>
              </a:spcBef>
              <a:buFont typeface="Arial"/>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73150" indent="-250825" algn="l" defTabSz="457200" rtl="0" eaLnBrk="1" latinLnBrk="0" hangingPunct="1">
              <a:spcBef>
                <a:spcPct val="20000"/>
              </a:spcBef>
              <a:buFont typeface="Arial"/>
              <a:buChar char="•"/>
              <a:tabLst>
                <a:tab pos="990600" algn="l"/>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343025" indent="-250825" algn="l" defTabSz="457200" rtl="0" eaLnBrk="1" latinLnBrk="0" hangingPunct="1">
              <a:spcBef>
                <a:spcPct val="20000"/>
              </a:spcBef>
              <a:buFont typeface="Arial"/>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1800" b="1" i="0" u="none" strike="noStrike" kern="1200" cap="none" spc="0" normalizeH="0" baseline="0" noProof="0" dirty="0">
                <a:ln>
                  <a:noFill/>
                </a:ln>
                <a:solidFill>
                  <a:schemeClr val="bg2"/>
                </a:solidFill>
                <a:effectLst/>
                <a:uLnTx/>
                <a:uFillTx/>
                <a:latin typeface="Quicksand" pitchFamily="2" charset="0"/>
              </a:rPr>
              <a:t>Policy objectives:</a:t>
            </a:r>
          </a:p>
          <a:p>
            <a:pPr marL="246063" marR="0" lvl="0" indent="-246063" algn="l" defTabSz="457200" rtl="0" eaLnBrk="1" fontAlgn="auto" latinLnBrk="0" hangingPunct="1">
              <a:lnSpc>
                <a:spcPct val="10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chemeClr val="bg2"/>
                </a:solidFill>
                <a:effectLst/>
                <a:uLnTx/>
                <a:uFillTx/>
                <a:latin typeface="Quicksand" pitchFamily="2" charset="0"/>
              </a:rPr>
              <a:t>Supply chain</a:t>
            </a:r>
          </a:p>
          <a:p>
            <a:pPr marL="246063" marR="0" lvl="0" indent="-246063" algn="l" defTabSz="457200" rtl="0" eaLnBrk="1" fontAlgn="auto" latinLnBrk="0" hangingPunct="1">
              <a:lnSpc>
                <a:spcPct val="10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chemeClr val="bg2"/>
                </a:solidFill>
                <a:effectLst/>
                <a:uLnTx/>
                <a:uFillTx/>
                <a:latin typeface="Quicksand" pitchFamily="2" charset="0"/>
              </a:rPr>
              <a:t>Display </a:t>
            </a:r>
          </a:p>
          <a:p>
            <a:pPr marL="246063" marR="0" lvl="0" indent="-246063" algn="l" defTabSz="457200" rtl="0" eaLnBrk="1" fontAlgn="auto" latinLnBrk="0" hangingPunct="1">
              <a:lnSpc>
                <a:spcPct val="10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chemeClr val="bg2"/>
                </a:solidFill>
                <a:effectLst/>
                <a:uLnTx/>
                <a:uFillTx/>
                <a:latin typeface="Quicksand" pitchFamily="2" charset="0"/>
              </a:rPr>
              <a:t>Capacity building </a:t>
            </a:r>
          </a:p>
          <a:p>
            <a:pPr marL="246063" marR="0" lvl="0" indent="-246063" algn="l" defTabSz="457200" rtl="0" eaLnBrk="1" fontAlgn="auto" latinLnBrk="0" hangingPunct="1">
              <a:lnSpc>
                <a:spcPct val="10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chemeClr val="bg2"/>
                </a:solidFill>
                <a:effectLst/>
                <a:uLnTx/>
                <a:uFillTx/>
                <a:latin typeface="Quicksand" pitchFamily="2" charset="0"/>
              </a:rPr>
              <a:t>Business and marketing </a:t>
            </a:r>
          </a:p>
        </p:txBody>
      </p:sp>
      <p:pic>
        <p:nvPicPr>
          <p:cNvPr id="12" name="Picture 11"/>
          <p:cNvPicPr/>
          <p:nvPr/>
        </p:nvPicPr>
        <p:blipFill>
          <a:blip r:embed="rId5" cstate="email">
            <a:extLst>
              <a:ext uri="{28A0092B-C50C-407E-A947-70E740481C1C}">
                <a14:useLocalDpi xmlns:a14="http://schemas.microsoft.com/office/drawing/2010/main"/>
              </a:ext>
            </a:extLst>
          </a:blip>
          <a:stretch>
            <a:fillRect/>
          </a:stretch>
        </p:blipFill>
        <p:spPr>
          <a:xfrm>
            <a:off x="295670" y="4762395"/>
            <a:ext cx="2791781" cy="1771755"/>
          </a:xfrm>
          <a:prstGeom prst="rect">
            <a:avLst/>
          </a:prstGeom>
        </p:spPr>
      </p:pic>
      <p:pic>
        <p:nvPicPr>
          <p:cNvPr id="8" name="Picture 7">
            <a:extLst>
              <a:ext uri="{FF2B5EF4-FFF2-40B4-BE49-F238E27FC236}">
                <a16:creationId xmlns:a16="http://schemas.microsoft.com/office/drawing/2014/main" id="{F6F2B81F-CEB5-94C6-C946-F0A981D548CB}"/>
              </a:ext>
            </a:extLst>
          </p:cNvPr>
          <p:cNvPicPr>
            <a:picLocks noChangeAspect="1"/>
          </p:cNvPicPr>
          <p:nvPr/>
        </p:nvPicPr>
        <p:blipFill>
          <a:blip r:embed="rId6"/>
          <a:stretch>
            <a:fillRect/>
          </a:stretch>
        </p:blipFill>
        <p:spPr>
          <a:xfrm>
            <a:off x="271138" y="2356834"/>
            <a:ext cx="2840843" cy="2130631"/>
          </a:xfrm>
          <a:prstGeom prst="rect">
            <a:avLst/>
          </a:prstGeom>
        </p:spPr>
      </p:pic>
    </p:spTree>
    <p:extLst>
      <p:ext uri="{BB962C8B-B14F-4D97-AF65-F5344CB8AC3E}">
        <p14:creationId xmlns:p14="http://schemas.microsoft.com/office/powerpoint/2010/main" val="3293160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idx="4294967295"/>
          </p:nvPr>
        </p:nvSpPr>
        <p:spPr>
          <a:xfrm>
            <a:off x="590550" y="190377"/>
            <a:ext cx="10372725" cy="701675"/>
          </a:xfrm>
        </p:spPr>
        <p:txBody>
          <a:bodyPr>
            <a:normAutofit/>
          </a:bodyPr>
          <a:lstStyle/>
          <a:p>
            <a:r>
              <a:rPr lang="en-US" b="1" dirty="0">
                <a:solidFill>
                  <a:schemeClr val="bg2">
                    <a:lumMod val="10000"/>
                  </a:schemeClr>
                </a:solidFill>
              </a:rPr>
              <a:t> </a:t>
            </a:r>
            <a:r>
              <a:rPr lang="en-US" sz="3200" dirty="0"/>
              <a:t>What are the components and functions of the DSC?</a:t>
            </a:r>
          </a:p>
        </p:txBody>
      </p:sp>
      <p:sp>
        <p:nvSpPr>
          <p:cNvPr id="7" name="Content Placeholder 6"/>
          <p:cNvSpPr>
            <a:spLocks noGrp="1"/>
          </p:cNvSpPr>
          <p:nvPr>
            <p:ph idx="4294967295"/>
          </p:nvPr>
        </p:nvSpPr>
        <p:spPr>
          <a:xfrm>
            <a:off x="515462" y="1057713"/>
            <a:ext cx="5743020" cy="5382087"/>
          </a:xfrm>
        </p:spPr>
        <p:txBody>
          <a:bodyPr>
            <a:normAutofit/>
          </a:bodyPr>
          <a:lstStyle/>
          <a:p>
            <a:pPr>
              <a:lnSpc>
                <a:spcPct val="100000"/>
              </a:lnSpc>
            </a:pPr>
            <a:r>
              <a:rPr lang="en-US" sz="2000" b="1" dirty="0">
                <a:solidFill>
                  <a:schemeClr val="tx1"/>
                </a:solidFill>
                <a:latin typeface="Quicksand" pitchFamily="2" charset="0"/>
              </a:rPr>
              <a:t>Three main components:</a:t>
            </a:r>
          </a:p>
          <a:p>
            <a:pPr lvl="1">
              <a:lnSpc>
                <a:spcPct val="100000"/>
              </a:lnSpc>
            </a:pPr>
            <a:r>
              <a:rPr lang="en-US" sz="1800" dirty="0">
                <a:solidFill>
                  <a:schemeClr val="tx1"/>
                </a:solidFill>
              </a:rPr>
              <a:t>Technologies demonstration</a:t>
            </a:r>
          </a:p>
          <a:p>
            <a:pPr lvl="1">
              <a:lnSpc>
                <a:spcPct val="100000"/>
              </a:lnSpc>
            </a:pPr>
            <a:r>
              <a:rPr lang="en-US" sz="1800" dirty="0"/>
              <a:t>Sanitation shop</a:t>
            </a:r>
          </a:p>
          <a:p>
            <a:pPr lvl="1">
              <a:lnSpc>
                <a:spcPct val="100000"/>
              </a:lnSpc>
            </a:pPr>
            <a:r>
              <a:rPr lang="en-US" sz="1800" dirty="0">
                <a:solidFill>
                  <a:schemeClr val="tx1"/>
                </a:solidFill>
              </a:rPr>
              <a:t>Training room</a:t>
            </a:r>
          </a:p>
          <a:p>
            <a:pPr>
              <a:lnSpc>
                <a:spcPct val="100000"/>
              </a:lnSpc>
            </a:pPr>
            <a:r>
              <a:rPr lang="en-US" sz="2000" b="1" dirty="0">
                <a:solidFill>
                  <a:schemeClr val="tx1">
                    <a:lumMod val="50000"/>
                  </a:schemeClr>
                </a:solidFill>
                <a:latin typeface="Quicksand" pitchFamily="2" charset="0"/>
              </a:rPr>
              <a:t>Functions</a:t>
            </a:r>
          </a:p>
          <a:p>
            <a:pPr lvl="1">
              <a:lnSpc>
                <a:spcPct val="100000"/>
              </a:lnSpc>
            </a:pPr>
            <a:r>
              <a:rPr lang="en-US" sz="1800" u="sng" dirty="0">
                <a:solidFill>
                  <a:schemeClr val="tx1">
                    <a:lumMod val="50000"/>
                  </a:schemeClr>
                </a:solidFill>
              </a:rPr>
              <a:t>A </a:t>
            </a:r>
            <a:r>
              <a:rPr lang="en-US" sz="1800" b="1" u="sng" dirty="0">
                <a:solidFill>
                  <a:schemeClr val="tx1">
                    <a:lumMod val="50000"/>
                  </a:schemeClr>
                </a:solidFill>
              </a:rPr>
              <a:t>business outlet: </a:t>
            </a:r>
            <a:r>
              <a:rPr lang="en-US" sz="1800" dirty="0">
                <a:solidFill>
                  <a:schemeClr val="tx1">
                    <a:lumMod val="50000"/>
                  </a:schemeClr>
                </a:solidFill>
              </a:rPr>
              <a:t>to visualize different technical options of sanitation and hand-washing facilities, inform visitors about techniques, construction methods, prices and conditions</a:t>
            </a:r>
          </a:p>
          <a:p>
            <a:pPr lvl="1">
              <a:lnSpc>
                <a:spcPct val="100000"/>
              </a:lnSpc>
            </a:pPr>
            <a:r>
              <a:rPr lang="en-US" sz="1800" b="1" u="sng" dirty="0">
                <a:solidFill>
                  <a:schemeClr val="tx1">
                    <a:lumMod val="50000"/>
                  </a:schemeClr>
                </a:solidFill>
              </a:rPr>
              <a:t>Facilitate marketing &amp; training</a:t>
            </a:r>
            <a:r>
              <a:rPr lang="en-US" sz="1800" dirty="0">
                <a:solidFill>
                  <a:schemeClr val="tx1">
                    <a:lumMod val="50000"/>
                  </a:schemeClr>
                </a:solidFill>
              </a:rPr>
              <a:t>, meetings, awareness and (social) marketing campaigns</a:t>
            </a:r>
          </a:p>
          <a:p>
            <a:pPr lvl="1">
              <a:lnSpc>
                <a:spcPct val="100000"/>
              </a:lnSpc>
            </a:pPr>
            <a:r>
              <a:rPr lang="en-US" sz="1800" b="1" dirty="0">
                <a:solidFill>
                  <a:schemeClr val="tx1">
                    <a:lumMod val="50000"/>
                  </a:schemeClr>
                </a:solidFill>
              </a:rPr>
              <a:t>S</a:t>
            </a:r>
            <a:r>
              <a:rPr lang="en-US" sz="1800" b="1" u="sng" dirty="0">
                <a:solidFill>
                  <a:schemeClr val="tx1">
                    <a:lumMod val="50000"/>
                  </a:schemeClr>
                </a:solidFill>
              </a:rPr>
              <a:t>torage</a:t>
            </a:r>
            <a:r>
              <a:rPr lang="en-US" sz="1800" u="sng" dirty="0">
                <a:solidFill>
                  <a:schemeClr val="tx1">
                    <a:lumMod val="50000"/>
                  </a:schemeClr>
                </a:solidFill>
              </a:rPr>
              <a:t> </a:t>
            </a:r>
            <a:r>
              <a:rPr lang="en-US" sz="1800" dirty="0">
                <a:solidFill>
                  <a:schemeClr val="tx1">
                    <a:lumMod val="50000"/>
                  </a:schemeClr>
                </a:solidFill>
              </a:rPr>
              <a:t>for private sector products. (</a:t>
            </a:r>
            <a:r>
              <a:rPr lang="en-US" sz="1800" dirty="0" err="1">
                <a:solidFill>
                  <a:schemeClr val="tx1">
                    <a:lumMod val="50000"/>
                  </a:schemeClr>
                </a:solidFill>
              </a:rPr>
              <a:t>SaTo</a:t>
            </a:r>
            <a:r>
              <a:rPr lang="en-US" sz="1800" dirty="0">
                <a:solidFill>
                  <a:schemeClr val="tx1">
                    <a:lumMod val="50000"/>
                  </a:schemeClr>
                </a:solidFill>
              </a:rPr>
              <a:t> pan, toilet seats and slabs, hand washing equipment, ventilation pipes, insect screens, Hand Sanitizers, water filters, chlorine tablets, hand washing facilities and pumps, Hygiene product such as soaps  </a:t>
            </a:r>
          </a:p>
        </p:txBody>
      </p:sp>
      <p:pic>
        <p:nvPicPr>
          <p:cNvPr id="8" name="Picture 7"/>
          <p:cNvPicPr>
            <a:picLocks noChangeAspect="1"/>
          </p:cNvPicPr>
          <p:nvPr/>
        </p:nvPicPr>
        <p:blipFill>
          <a:blip r:embed="rId3"/>
          <a:stretch>
            <a:fillRect/>
          </a:stretch>
        </p:blipFill>
        <p:spPr>
          <a:xfrm>
            <a:off x="8857015" y="1057713"/>
            <a:ext cx="3016891" cy="1860225"/>
          </a:xfrm>
          <a:prstGeom prst="rect">
            <a:avLst/>
          </a:prstGeom>
        </p:spPr>
      </p:pic>
      <p:pic>
        <p:nvPicPr>
          <p:cNvPr id="9" name="Picture 8"/>
          <p:cNvPicPr>
            <a:picLocks noChangeAspect="1"/>
          </p:cNvPicPr>
          <p:nvPr/>
        </p:nvPicPr>
        <p:blipFill>
          <a:blip r:embed="rId4"/>
          <a:stretch>
            <a:fillRect/>
          </a:stretch>
        </p:blipFill>
        <p:spPr>
          <a:xfrm>
            <a:off x="6392659" y="1050771"/>
            <a:ext cx="2336317" cy="1867167"/>
          </a:xfrm>
          <a:prstGeom prst="rect">
            <a:avLst/>
          </a:prstGeom>
        </p:spPr>
      </p:pic>
      <p:pic>
        <p:nvPicPr>
          <p:cNvPr id="2" name="Picture 1">
            <a:extLst>
              <a:ext uri="{FF2B5EF4-FFF2-40B4-BE49-F238E27FC236}">
                <a16:creationId xmlns:a16="http://schemas.microsoft.com/office/drawing/2014/main" id="{14A5E1B7-92E1-DE5E-FB37-58610424CC22}"/>
              </a:ext>
            </a:extLst>
          </p:cNvPr>
          <p:cNvPicPr>
            <a:picLocks noChangeAspect="1"/>
          </p:cNvPicPr>
          <p:nvPr/>
        </p:nvPicPr>
        <p:blipFill>
          <a:blip r:embed="rId5"/>
          <a:stretch>
            <a:fillRect/>
          </a:stretch>
        </p:blipFill>
        <p:spPr>
          <a:xfrm>
            <a:off x="6809831" y="4794422"/>
            <a:ext cx="2472194" cy="1910272"/>
          </a:xfrm>
          <a:prstGeom prst="rect">
            <a:avLst/>
          </a:prstGeom>
        </p:spPr>
      </p:pic>
      <p:pic>
        <p:nvPicPr>
          <p:cNvPr id="4" name="Picture 3">
            <a:extLst>
              <a:ext uri="{FF2B5EF4-FFF2-40B4-BE49-F238E27FC236}">
                <a16:creationId xmlns:a16="http://schemas.microsoft.com/office/drawing/2014/main" id="{15859EE2-099F-54D8-D9F5-B4D7D5D3EB21}"/>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23199" y="3041507"/>
            <a:ext cx="3768572" cy="1654062"/>
          </a:xfrm>
          <a:prstGeom prst="rect">
            <a:avLst/>
          </a:prstGeom>
          <a:noFill/>
          <a:ln>
            <a:noFill/>
          </a:ln>
        </p:spPr>
      </p:pic>
    </p:spTree>
    <p:extLst>
      <p:ext uri="{BB962C8B-B14F-4D97-AF65-F5344CB8AC3E}">
        <p14:creationId xmlns:p14="http://schemas.microsoft.com/office/powerpoint/2010/main" val="2034703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FCDFBA1-CAE2-1C79-9F92-A1F33F99B7C1}"/>
              </a:ext>
            </a:extLst>
          </p:cNvPr>
          <p:cNvSpPr>
            <a:spLocks noGrp="1"/>
          </p:cNvSpPr>
          <p:nvPr>
            <p:ph type="title"/>
          </p:nvPr>
        </p:nvSpPr>
        <p:spPr/>
        <p:txBody>
          <a:bodyPr/>
          <a:lstStyle/>
          <a:p>
            <a:r>
              <a:rPr lang="en-GB" dirty="0"/>
              <a:t>Session plan</a:t>
            </a:r>
          </a:p>
        </p:txBody>
      </p:sp>
      <p:sp>
        <p:nvSpPr>
          <p:cNvPr id="6" name="Content Placeholder 5">
            <a:extLst>
              <a:ext uri="{FF2B5EF4-FFF2-40B4-BE49-F238E27FC236}">
                <a16:creationId xmlns:a16="http://schemas.microsoft.com/office/drawing/2014/main" id="{E44BF7EC-3898-C5C4-5DE9-45ED75192677}"/>
              </a:ext>
            </a:extLst>
          </p:cNvPr>
          <p:cNvSpPr>
            <a:spLocks noGrp="1"/>
          </p:cNvSpPr>
          <p:nvPr>
            <p:ph idx="1"/>
          </p:nvPr>
        </p:nvSpPr>
        <p:spPr>
          <a:xfrm>
            <a:off x="751840" y="1470455"/>
            <a:ext cx="8536539" cy="4127706"/>
          </a:xfrm>
        </p:spPr>
        <p:txBody>
          <a:bodyPr>
            <a:normAutofit fontScale="92500"/>
          </a:bodyPr>
          <a:lstStyle/>
          <a:p>
            <a:pPr>
              <a:lnSpc>
                <a:spcPct val="100000"/>
              </a:lnSpc>
            </a:pPr>
            <a:r>
              <a:rPr lang="en-GB" dirty="0"/>
              <a:t>Welcome, opening and introductions, poll</a:t>
            </a:r>
          </a:p>
          <a:p>
            <a:pPr>
              <a:lnSpc>
                <a:spcPct val="100000"/>
              </a:lnSpc>
            </a:pPr>
            <a:r>
              <a:rPr lang="en-GB" dirty="0"/>
              <a:t>FINISH Mondial approach and results</a:t>
            </a:r>
          </a:p>
          <a:p>
            <a:pPr>
              <a:lnSpc>
                <a:spcPct val="100000"/>
              </a:lnSpc>
            </a:pPr>
            <a:r>
              <a:rPr lang="en-GB" dirty="0"/>
              <a:t>A focus on area-wide sanitation – presentation and participatory exercise</a:t>
            </a:r>
          </a:p>
          <a:p>
            <a:pPr>
              <a:lnSpc>
                <a:spcPct val="100000"/>
              </a:lnSpc>
            </a:pPr>
            <a:r>
              <a:rPr lang="en-GB" dirty="0"/>
              <a:t>Inclusive programming in Tanzania through GESI barrier analysis</a:t>
            </a:r>
          </a:p>
          <a:p>
            <a:pPr>
              <a:lnSpc>
                <a:spcPct val="100000"/>
              </a:lnSpc>
            </a:pPr>
            <a:r>
              <a:rPr lang="en-GB" dirty="0"/>
              <a:t>The critical role of sanitation </a:t>
            </a:r>
            <a:r>
              <a:rPr lang="en-GB" dirty="0" err="1"/>
              <a:t>centers</a:t>
            </a:r>
            <a:r>
              <a:rPr lang="en-GB" dirty="0"/>
              <a:t> and community showrooms in effective sanitation services delivery – Rwanda’s experience</a:t>
            </a:r>
          </a:p>
          <a:p>
            <a:pPr>
              <a:lnSpc>
                <a:spcPct val="100000"/>
              </a:lnSpc>
            </a:pPr>
            <a:r>
              <a:rPr lang="en-GB" dirty="0"/>
              <a:t>Area-wide sanitation and ecosystem learning and research agendas</a:t>
            </a:r>
          </a:p>
          <a:p>
            <a:pPr>
              <a:lnSpc>
                <a:spcPct val="100000"/>
              </a:lnSpc>
            </a:pPr>
            <a:r>
              <a:rPr lang="en-GB" dirty="0"/>
              <a:t>Key takeaways and next steps</a:t>
            </a:r>
          </a:p>
        </p:txBody>
      </p:sp>
      <p:pic>
        <p:nvPicPr>
          <p:cNvPr id="7" name="Picture 6" descr="Logo, company name&#10;&#10;Description automatically generated">
            <a:extLst>
              <a:ext uri="{FF2B5EF4-FFF2-40B4-BE49-F238E27FC236}">
                <a16:creationId xmlns:a16="http://schemas.microsoft.com/office/drawing/2014/main" id="{0D717794-7408-42B5-89BF-E672977717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945546"/>
            <a:ext cx="1767631" cy="676119"/>
          </a:xfrm>
          <a:prstGeom prst="rect">
            <a:avLst/>
          </a:prstGeom>
        </p:spPr>
      </p:pic>
    </p:spTree>
    <p:extLst>
      <p:ext uri="{BB962C8B-B14F-4D97-AF65-F5344CB8AC3E}">
        <p14:creationId xmlns:p14="http://schemas.microsoft.com/office/powerpoint/2010/main" val="2949070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BF8B233-85DB-E649-9AAA-4E629A683818}" type="slidenum">
              <a:rPr kumimoji="0" lang="en-US" sz="1200" b="0" i="0" u="none" strike="noStrike" kern="1200" cap="none" spc="0" normalizeH="0" baseline="0" noProof="0" smtClean="0">
                <a:ln>
                  <a:noFill/>
                </a:ln>
                <a:solidFill>
                  <a:srgbClr val="0C0C0C">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srgbClr val="0C0C0C">
                  <a:tint val="75000"/>
                </a:srgbClr>
              </a:solidFill>
              <a:effectLst/>
              <a:uLnTx/>
              <a:uFillTx/>
              <a:latin typeface="Calibri" panose="020F0502020204030204"/>
              <a:ea typeface="+mn-ea"/>
              <a:cs typeface="+mn-cs"/>
            </a:endParaRPr>
          </a:p>
        </p:txBody>
      </p:sp>
      <p:sp>
        <p:nvSpPr>
          <p:cNvPr id="6" name="Title 5"/>
          <p:cNvSpPr>
            <a:spLocks noGrp="1"/>
          </p:cNvSpPr>
          <p:nvPr>
            <p:ph type="title" idx="4294967295"/>
          </p:nvPr>
        </p:nvSpPr>
        <p:spPr>
          <a:xfrm>
            <a:off x="545238" y="198214"/>
            <a:ext cx="10225094" cy="701675"/>
          </a:xfrm>
        </p:spPr>
        <p:txBody>
          <a:bodyPr>
            <a:noAutofit/>
          </a:bodyPr>
          <a:lstStyle/>
          <a:p>
            <a:r>
              <a:rPr lang="en-US" sz="3600" dirty="0"/>
              <a:t>DSC and Community showrooms Parts</a:t>
            </a:r>
          </a:p>
        </p:txBody>
      </p:sp>
      <p:sp>
        <p:nvSpPr>
          <p:cNvPr id="7" name="Content Placeholder 6"/>
          <p:cNvSpPr>
            <a:spLocks noGrp="1"/>
          </p:cNvSpPr>
          <p:nvPr>
            <p:ph idx="4294967295"/>
          </p:nvPr>
        </p:nvSpPr>
        <p:spPr>
          <a:xfrm>
            <a:off x="437685" y="1028700"/>
            <a:ext cx="6410419" cy="5149048"/>
          </a:xfrm>
        </p:spPr>
        <p:txBody>
          <a:bodyPr>
            <a:normAutofit fontScale="92500" lnSpcReduction="10000"/>
          </a:bodyPr>
          <a:lstStyle/>
          <a:p>
            <a:pPr algn="just"/>
            <a:endParaRPr lang="en-US" sz="2400" dirty="0">
              <a:solidFill>
                <a:schemeClr val="tx2">
                  <a:lumMod val="50000"/>
                </a:schemeClr>
              </a:solidFill>
              <a:latin typeface="Gill Sans MT" panose="020B0502020104020203" pitchFamily="34" charset="0"/>
            </a:endParaRPr>
          </a:p>
          <a:p>
            <a:pPr lvl="0" algn="just" fontAlgn="base"/>
            <a:r>
              <a:rPr lang="en-US" sz="2400" b="1" u="sng" dirty="0">
                <a:latin typeface="Quicksand" pitchFamily="2" charset="0"/>
              </a:rPr>
              <a:t>A showroom</a:t>
            </a:r>
            <a:r>
              <a:rPr lang="en-US" sz="2400" dirty="0">
                <a:latin typeface="Quicksand" pitchFamily="2" charset="0"/>
              </a:rPr>
              <a:t>: visitors get to view various existing and the latest sanitation products and technologies, such as new and affordable latrine prototypes, or an innovative handwashing station that is suitable for rural settings.</a:t>
            </a:r>
          </a:p>
          <a:p>
            <a:pPr lvl="0" algn="just" fontAlgn="base"/>
            <a:endParaRPr lang="en-US" sz="2400" dirty="0">
              <a:latin typeface="Quicksand" pitchFamily="2" charset="0"/>
            </a:endParaRPr>
          </a:p>
          <a:p>
            <a:pPr lvl="0" algn="just" fontAlgn="base"/>
            <a:r>
              <a:rPr lang="en-US" sz="2400" b="1" u="sng" dirty="0">
                <a:latin typeface="Quicksand" pitchFamily="2" charset="0"/>
              </a:rPr>
              <a:t>A selling point</a:t>
            </a:r>
            <a:r>
              <a:rPr lang="en-US" sz="2400" u="sng" dirty="0">
                <a:latin typeface="Quicksand" pitchFamily="2" charset="0"/>
              </a:rPr>
              <a:t>:</a:t>
            </a:r>
            <a:r>
              <a:rPr lang="en-US" sz="2400" dirty="0">
                <a:latin typeface="Quicksand" pitchFamily="2" charset="0"/>
              </a:rPr>
              <a:t> this part is where customers can purchase products and enquire information about sanitation services, such as latrine construction and emptying services.</a:t>
            </a:r>
          </a:p>
          <a:p>
            <a:pPr lvl="0" algn="just" fontAlgn="base"/>
            <a:endParaRPr lang="en-US" sz="2400" dirty="0">
              <a:latin typeface="Quicksand" pitchFamily="2" charset="0"/>
            </a:endParaRPr>
          </a:p>
          <a:p>
            <a:pPr lvl="0" algn="just" fontAlgn="base"/>
            <a:r>
              <a:rPr lang="en-US" sz="2400" b="1" u="sng" dirty="0">
                <a:latin typeface="Quicksand" pitchFamily="2" charset="0"/>
              </a:rPr>
              <a:t>A training room</a:t>
            </a:r>
            <a:r>
              <a:rPr lang="en-US" sz="2400" u="sng" dirty="0">
                <a:latin typeface="Quicksand" pitchFamily="2" charset="0"/>
              </a:rPr>
              <a:t> </a:t>
            </a:r>
            <a:r>
              <a:rPr lang="en-US" sz="2400" dirty="0">
                <a:latin typeface="Quicksand" pitchFamily="2" charset="0"/>
              </a:rPr>
              <a:t>is the site used to mentor and pass on innovative technical skills to local artisans and engineers.</a:t>
            </a:r>
          </a:p>
          <a:p>
            <a:pPr algn="just"/>
            <a:endParaRPr lang="en-US" sz="2400" dirty="0">
              <a:latin typeface="Quicksand" pitchFamily="2" charset="0"/>
            </a:endParaRPr>
          </a:p>
          <a:p>
            <a:pPr marL="0" indent="0" algn="just">
              <a:buNone/>
            </a:pPr>
            <a:endParaRPr lang="en-US" sz="2400" dirty="0">
              <a:solidFill>
                <a:schemeClr val="tx2">
                  <a:lumMod val="50000"/>
                </a:schemeClr>
              </a:solidFill>
              <a:latin typeface="Gill Sans MT" panose="020B0502020104020203" pitchFamily="34" charset="0"/>
            </a:endParaRPr>
          </a:p>
        </p:txBody>
      </p:sp>
      <p:pic>
        <p:nvPicPr>
          <p:cNvPr id="2" name="Picture 1">
            <a:extLst>
              <a:ext uri="{FF2B5EF4-FFF2-40B4-BE49-F238E27FC236}">
                <a16:creationId xmlns:a16="http://schemas.microsoft.com/office/drawing/2014/main" id="{8C8B5081-D326-4287-B300-979E76783E98}"/>
              </a:ext>
            </a:extLst>
          </p:cNvPr>
          <p:cNvPicPr>
            <a:picLocks noChangeAspect="1"/>
          </p:cNvPicPr>
          <p:nvPr/>
        </p:nvPicPr>
        <p:blipFill>
          <a:blip r:embed="rId3"/>
          <a:stretch>
            <a:fillRect/>
          </a:stretch>
        </p:blipFill>
        <p:spPr>
          <a:xfrm>
            <a:off x="8337667" y="4759468"/>
            <a:ext cx="2993787" cy="2024322"/>
          </a:xfrm>
          <a:prstGeom prst="rect">
            <a:avLst/>
          </a:prstGeom>
        </p:spPr>
      </p:pic>
      <p:pic>
        <p:nvPicPr>
          <p:cNvPr id="11" name="Picture 10">
            <a:extLst>
              <a:ext uri="{FF2B5EF4-FFF2-40B4-BE49-F238E27FC236}">
                <a16:creationId xmlns:a16="http://schemas.microsoft.com/office/drawing/2014/main" id="{07C9A40B-CF0A-499C-8CF4-5867FDEF8E71}"/>
              </a:ext>
            </a:extLst>
          </p:cNvPr>
          <p:cNvPicPr>
            <a:picLocks noChangeAspect="1"/>
          </p:cNvPicPr>
          <p:nvPr/>
        </p:nvPicPr>
        <p:blipFill>
          <a:blip r:embed="rId4"/>
          <a:stretch>
            <a:fillRect/>
          </a:stretch>
        </p:blipFill>
        <p:spPr>
          <a:xfrm>
            <a:off x="8384311" y="866542"/>
            <a:ext cx="2900501" cy="2175375"/>
          </a:xfrm>
          <a:prstGeom prst="rect">
            <a:avLst/>
          </a:prstGeom>
        </p:spPr>
      </p:pic>
      <p:pic>
        <p:nvPicPr>
          <p:cNvPr id="8" name="Picture 7">
            <a:extLst>
              <a:ext uri="{FF2B5EF4-FFF2-40B4-BE49-F238E27FC236}">
                <a16:creationId xmlns:a16="http://schemas.microsoft.com/office/drawing/2014/main" id="{EB86B52F-F497-3328-5446-C85B5443AFE9}"/>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68140" y="3272795"/>
            <a:ext cx="2916672" cy="1280155"/>
          </a:xfrm>
          <a:prstGeom prst="rect">
            <a:avLst/>
          </a:prstGeom>
          <a:noFill/>
          <a:ln>
            <a:noFill/>
          </a:ln>
        </p:spPr>
      </p:pic>
    </p:spTree>
    <p:extLst>
      <p:ext uri="{BB962C8B-B14F-4D97-AF65-F5344CB8AC3E}">
        <p14:creationId xmlns:p14="http://schemas.microsoft.com/office/powerpoint/2010/main" val="3101682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BF8B233-85DB-E649-9AAA-4E629A683818}" type="slidenum">
              <a:rPr kumimoji="0" lang="en-US" sz="1200" b="0" i="0" u="none" strike="noStrike" kern="1200" cap="none" spc="0" normalizeH="0" baseline="0" noProof="0" smtClean="0">
                <a:ln>
                  <a:noFill/>
                </a:ln>
                <a:solidFill>
                  <a:srgbClr val="0C0C0C">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srgbClr val="0C0C0C">
                  <a:tint val="75000"/>
                </a:srgbClr>
              </a:solidFill>
              <a:effectLst/>
              <a:uLnTx/>
              <a:uFillTx/>
              <a:latin typeface="Calibri" panose="020F0502020204030204"/>
              <a:ea typeface="+mn-ea"/>
              <a:cs typeface="+mn-cs"/>
            </a:endParaRPr>
          </a:p>
        </p:txBody>
      </p:sp>
      <p:sp>
        <p:nvSpPr>
          <p:cNvPr id="6" name="Title 5"/>
          <p:cNvSpPr>
            <a:spLocks noGrp="1"/>
          </p:cNvSpPr>
          <p:nvPr>
            <p:ph type="title" idx="4294967295"/>
          </p:nvPr>
        </p:nvSpPr>
        <p:spPr>
          <a:xfrm>
            <a:off x="480799" y="129683"/>
            <a:ext cx="7772400" cy="701675"/>
          </a:xfrm>
        </p:spPr>
        <p:txBody>
          <a:bodyPr>
            <a:normAutofit/>
          </a:bodyPr>
          <a:lstStyle/>
          <a:p>
            <a:r>
              <a:rPr lang="en-US" sz="3200" dirty="0"/>
              <a:t>Location and management the DSCs</a:t>
            </a:r>
          </a:p>
        </p:txBody>
      </p:sp>
      <p:sp>
        <p:nvSpPr>
          <p:cNvPr id="7" name="Content Placeholder 6"/>
          <p:cNvSpPr>
            <a:spLocks noGrp="1"/>
          </p:cNvSpPr>
          <p:nvPr>
            <p:ph idx="4294967295"/>
          </p:nvPr>
        </p:nvSpPr>
        <p:spPr>
          <a:xfrm>
            <a:off x="233922" y="466725"/>
            <a:ext cx="3617913" cy="6181210"/>
          </a:xfrm>
        </p:spPr>
        <p:txBody>
          <a:bodyPr>
            <a:normAutofit fontScale="77500" lnSpcReduction="20000"/>
          </a:bodyPr>
          <a:lstStyle/>
          <a:p>
            <a:pPr marL="0" indent="0" algn="just">
              <a:buNone/>
            </a:pPr>
            <a:endParaRPr lang="en-US" sz="2400" dirty="0">
              <a:solidFill>
                <a:schemeClr val="bg2">
                  <a:lumMod val="10000"/>
                </a:schemeClr>
              </a:solidFill>
              <a:latin typeface="Gill Sans MT" panose="020B0502020104020203" pitchFamily="34" charset="0"/>
            </a:endParaRPr>
          </a:p>
          <a:p>
            <a:pPr marL="0" indent="0" algn="just">
              <a:buNone/>
            </a:pPr>
            <a:endParaRPr lang="en-US" sz="2400" dirty="0">
              <a:solidFill>
                <a:schemeClr val="bg2">
                  <a:lumMod val="10000"/>
                </a:schemeClr>
              </a:solidFill>
              <a:latin typeface="Gill Sans MT" panose="020B0502020104020203" pitchFamily="34" charset="0"/>
            </a:endParaRPr>
          </a:p>
          <a:p>
            <a:pPr>
              <a:lnSpc>
                <a:spcPct val="120000"/>
              </a:lnSpc>
            </a:pPr>
            <a:r>
              <a:rPr lang="en-US" sz="2400" dirty="0">
                <a:solidFill>
                  <a:schemeClr val="bg2">
                    <a:lumMod val="10000"/>
                  </a:schemeClr>
                </a:solidFill>
                <a:latin typeface="Quicksand" pitchFamily="2" charset="0"/>
              </a:rPr>
              <a:t>The DSC is ideally located in </a:t>
            </a:r>
            <a:r>
              <a:rPr lang="en-US" sz="2400" b="1" dirty="0">
                <a:solidFill>
                  <a:schemeClr val="bg2">
                    <a:lumMod val="10000"/>
                  </a:schemeClr>
                </a:solidFill>
                <a:latin typeface="Quicksand" pitchFamily="2" charset="0"/>
              </a:rPr>
              <a:t>a busy part of town and accessible</a:t>
            </a:r>
            <a:r>
              <a:rPr lang="en-US" sz="2400" dirty="0">
                <a:solidFill>
                  <a:schemeClr val="bg2">
                    <a:lumMod val="10000"/>
                  </a:schemeClr>
                </a:solidFill>
                <a:latin typeface="Quicksand" pitchFamily="2" charset="0"/>
              </a:rPr>
              <a:t> for all clients, including elderly and disabled. </a:t>
            </a:r>
          </a:p>
          <a:p>
            <a:pPr marL="0" indent="0">
              <a:lnSpc>
                <a:spcPct val="120000"/>
              </a:lnSpc>
              <a:buNone/>
            </a:pPr>
            <a:endParaRPr lang="en-US" sz="2400" dirty="0">
              <a:solidFill>
                <a:schemeClr val="bg2">
                  <a:lumMod val="10000"/>
                </a:schemeClr>
              </a:solidFill>
              <a:latin typeface="Quicksand" pitchFamily="2" charset="0"/>
            </a:endParaRPr>
          </a:p>
          <a:p>
            <a:pPr>
              <a:lnSpc>
                <a:spcPct val="120000"/>
              </a:lnSpc>
            </a:pPr>
            <a:r>
              <a:rPr lang="en-US" sz="2400" dirty="0">
                <a:solidFill>
                  <a:schemeClr val="bg2">
                    <a:lumMod val="10000"/>
                  </a:schemeClr>
                </a:solidFill>
                <a:latin typeface="Quicksand" pitchFamily="2" charset="0"/>
              </a:rPr>
              <a:t>It provides enough outside space for display of latrine prototypes, exhibition room &amp; training and meeting space for around 25-30 people.</a:t>
            </a:r>
          </a:p>
          <a:p>
            <a:pPr marL="0" indent="0">
              <a:lnSpc>
                <a:spcPct val="120000"/>
              </a:lnSpc>
              <a:buNone/>
            </a:pPr>
            <a:endParaRPr lang="en-US" sz="2400" dirty="0">
              <a:solidFill>
                <a:schemeClr val="bg2">
                  <a:lumMod val="10000"/>
                </a:schemeClr>
              </a:solidFill>
              <a:latin typeface="Quicksand" pitchFamily="2" charset="0"/>
            </a:endParaRPr>
          </a:p>
          <a:p>
            <a:pPr>
              <a:lnSpc>
                <a:spcPct val="120000"/>
              </a:lnSpc>
            </a:pPr>
            <a:r>
              <a:rPr lang="en-US" sz="2400" dirty="0">
                <a:solidFill>
                  <a:schemeClr val="bg2">
                    <a:lumMod val="10000"/>
                  </a:schemeClr>
                </a:solidFill>
                <a:latin typeface="Quicksand" pitchFamily="2" charset="0"/>
              </a:rPr>
              <a:t>The center is operated by </a:t>
            </a:r>
            <a:r>
              <a:rPr lang="en-US" sz="2400" b="1" dirty="0">
                <a:solidFill>
                  <a:schemeClr val="bg2">
                    <a:lumMod val="10000"/>
                  </a:schemeClr>
                </a:solidFill>
                <a:latin typeface="Quicksand" pitchFamily="2" charset="0"/>
              </a:rPr>
              <a:t>a private local entrepreneur </a:t>
            </a:r>
            <a:r>
              <a:rPr lang="en-US" sz="2400" dirty="0">
                <a:solidFill>
                  <a:schemeClr val="bg2">
                    <a:lumMod val="10000"/>
                  </a:schemeClr>
                </a:solidFill>
                <a:latin typeface="Quicksand" pitchFamily="2" charset="0"/>
              </a:rPr>
              <a:t>in close cooperation with the Private Sector Federation under a PPP scheme. </a:t>
            </a:r>
          </a:p>
          <a:p>
            <a:pPr marL="0" indent="0">
              <a:lnSpc>
                <a:spcPct val="120000"/>
              </a:lnSpc>
              <a:buNone/>
            </a:pPr>
            <a:endParaRPr lang="en-US" sz="2400" dirty="0">
              <a:solidFill>
                <a:schemeClr val="bg2">
                  <a:lumMod val="10000"/>
                </a:schemeClr>
              </a:solidFill>
              <a:latin typeface="Quicksand" pitchFamily="2" charset="0"/>
            </a:endParaRPr>
          </a:p>
          <a:p>
            <a:endParaRPr lang="en-US" sz="2400" dirty="0">
              <a:latin typeface="Gill Sans MT" panose="020B0502020104020203" pitchFamily="34" charset="0"/>
            </a:endParaRPr>
          </a:p>
        </p:txBody>
      </p:sp>
      <p:pic>
        <p:nvPicPr>
          <p:cNvPr id="8" name="Picture 7"/>
          <p:cNvPicPr>
            <a:picLocks noChangeAspect="1"/>
          </p:cNvPicPr>
          <p:nvPr/>
        </p:nvPicPr>
        <p:blipFill>
          <a:blip r:embed="rId3"/>
          <a:stretch>
            <a:fillRect/>
          </a:stretch>
        </p:blipFill>
        <p:spPr>
          <a:xfrm>
            <a:off x="8075269" y="475687"/>
            <a:ext cx="4067862" cy="3050897"/>
          </a:xfrm>
          <a:prstGeom prst="rect">
            <a:avLst/>
          </a:prstGeom>
        </p:spPr>
      </p:pic>
      <p:pic>
        <p:nvPicPr>
          <p:cNvPr id="9" name="Picture 8"/>
          <p:cNvPicPr>
            <a:picLocks noChangeAspect="1"/>
          </p:cNvPicPr>
          <p:nvPr/>
        </p:nvPicPr>
        <p:blipFill>
          <a:blip r:embed="rId4"/>
          <a:stretch>
            <a:fillRect/>
          </a:stretch>
        </p:blipFill>
        <p:spPr>
          <a:xfrm>
            <a:off x="8075269" y="3670578"/>
            <a:ext cx="4067862" cy="3050897"/>
          </a:xfrm>
          <a:prstGeom prst="rect">
            <a:avLst/>
          </a:prstGeom>
        </p:spPr>
      </p:pic>
      <p:pic>
        <p:nvPicPr>
          <p:cNvPr id="13" name="Picture 12" descr="A picture containing sky, ground, outdoor, parked&#10;&#10;Description automatically generated">
            <a:extLst>
              <a:ext uri="{FF2B5EF4-FFF2-40B4-BE49-F238E27FC236}">
                <a16:creationId xmlns:a16="http://schemas.microsoft.com/office/drawing/2014/main" id="{7F9623F8-BE12-EE06-5853-71D99EA60745}"/>
              </a:ext>
            </a:extLst>
          </p:cNvPr>
          <p:cNvPicPr>
            <a:picLocks noChangeAspect="1"/>
          </p:cNvPicPr>
          <p:nvPr/>
        </p:nvPicPr>
        <p:blipFill>
          <a:blip r:embed="rId5"/>
          <a:stretch>
            <a:fillRect/>
          </a:stretch>
        </p:blipFill>
        <p:spPr>
          <a:xfrm>
            <a:off x="3882338" y="1866337"/>
            <a:ext cx="4067862" cy="3050897"/>
          </a:xfrm>
          <a:prstGeom prst="rect">
            <a:avLst/>
          </a:prstGeom>
        </p:spPr>
      </p:pic>
    </p:spTree>
    <p:extLst>
      <p:ext uri="{BB962C8B-B14F-4D97-AF65-F5344CB8AC3E}">
        <p14:creationId xmlns:p14="http://schemas.microsoft.com/office/powerpoint/2010/main" val="1601462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p:cNvSpPr>
            <a:spLocks noGrp="1"/>
          </p:cNvSpPr>
          <p:nvPr>
            <p:ph idx="4294967295"/>
          </p:nvPr>
        </p:nvSpPr>
        <p:spPr>
          <a:xfrm>
            <a:off x="568410" y="1313035"/>
            <a:ext cx="3524250" cy="5310187"/>
          </a:xfrm>
        </p:spPr>
        <p:txBody>
          <a:bodyPr>
            <a:normAutofit/>
          </a:bodyPr>
          <a:lstStyle/>
          <a:p>
            <a:r>
              <a:rPr lang="en-US" sz="2000" b="1" dirty="0">
                <a:solidFill>
                  <a:schemeClr val="bg2">
                    <a:lumMod val="10000"/>
                  </a:schemeClr>
                </a:solidFill>
                <a:latin typeface="Quicksand" pitchFamily="2" charset="0"/>
              </a:rPr>
              <a:t>Eleven (11) </a:t>
            </a:r>
            <a:r>
              <a:rPr lang="en-US" sz="2000" dirty="0">
                <a:solidFill>
                  <a:schemeClr val="bg2">
                    <a:lumMod val="10000"/>
                  </a:schemeClr>
                </a:solidFill>
                <a:latin typeface="Quicksand" pitchFamily="2" charset="0"/>
              </a:rPr>
              <a:t>DSCs have been established and are functional </a:t>
            </a:r>
          </a:p>
          <a:p>
            <a:r>
              <a:rPr lang="en-US" sz="2000" b="1" dirty="0">
                <a:solidFill>
                  <a:schemeClr val="bg2">
                    <a:lumMod val="10000"/>
                  </a:schemeClr>
                </a:solidFill>
                <a:latin typeface="Quicksand" pitchFamily="2" charset="0"/>
              </a:rPr>
              <a:t>Seventy-one</a:t>
            </a:r>
            <a:r>
              <a:rPr lang="en-US" sz="2000" dirty="0">
                <a:solidFill>
                  <a:schemeClr val="bg2">
                    <a:lumMod val="10000"/>
                  </a:schemeClr>
                </a:solidFill>
                <a:latin typeface="Quicksand" pitchFamily="2" charset="0"/>
              </a:rPr>
              <a:t> (</a:t>
            </a:r>
            <a:r>
              <a:rPr lang="en-US" sz="2000" b="1" dirty="0">
                <a:solidFill>
                  <a:schemeClr val="bg2">
                    <a:lumMod val="10000"/>
                  </a:schemeClr>
                </a:solidFill>
                <a:latin typeface="Quicksand" pitchFamily="2" charset="0"/>
              </a:rPr>
              <a:t>71)</a:t>
            </a:r>
            <a:r>
              <a:rPr lang="en-US" sz="2000" dirty="0">
                <a:solidFill>
                  <a:schemeClr val="bg2">
                    <a:lumMod val="10000"/>
                  </a:schemeClr>
                </a:solidFill>
                <a:latin typeface="Quicksand" pitchFamily="2" charset="0"/>
              </a:rPr>
              <a:t> community showrooms established</a:t>
            </a:r>
          </a:p>
          <a:p>
            <a:r>
              <a:rPr lang="en-US" sz="2000" dirty="0">
                <a:solidFill>
                  <a:schemeClr val="bg2">
                    <a:lumMod val="10000"/>
                  </a:schemeClr>
                </a:solidFill>
                <a:latin typeface="Quicksand" pitchFamily="2" charset="0"/>
              </a:rPr>
              <a:t>Over 20,000 Sato pans sold through this initiatives</a:t>
            </a:r>
          </a:p>
          <a:p>
            <a:r>
              <a:rPr lang="en-US" sz="2000" dirty="0">
                <a:solidFill>
                  <a:schemeClr val="bg2">
                    <a:lumMod val="10000"/>
                  </a:schemeClr>
                </a:solidFill>
                <a:latin typeface="Quicksand" pitchFamily="2" charset="0"/>
              </a:rPr>
              <a:t>271 trained local masons</a:t>
            </a:r>
          </a:p>
          <a:p>
            <a:r>
              <a:rPr lang="en-US" sz="2000" dirty="0">
                <a:solidFill>
                  <a:schemeClr val="bg2">
                    <a:lumMod val="10000"/>
                  </a:schemeClr>
                </a:solidFill>
                <a:latin typeface="Quicksand" pitchFamily="2" charset="0"/>
              </a:rPr>
              <a:t>Sanitation awareness activities done through the private sector</a:t>
            </a:r>
          </a:p>
          <a:p>
            <a:r>
              <a:rPr lang="en-US" sz="2000" dirty="0">
                <a:solidFill>
                  <a:schemeClr val="bg2">
                    <a:lumMod val="10000"/>
                  </a:schemeClr>
                </a:solidFill>
                <a:latin typeface="Quicksand" pitchFamily="2" charset="0"/>
              </a:rPr>
              <a:t>Over 2,000 latrines improved by trained masons</a:t>
            </a:r>
          </a:p>
          <a:p>
            <a:pPr marL="0" indent="0">
              <a:buNone/>
            </a:pPr>
            <a:endParaRPr lang="en-US" sz="2200" dirty="0">
              <a:solidFill>
                <a:schemeClr val="bg2">
                  <a:lumMod val="10000"/>
                </a:schemeClr>
              </a:solidFill>
              <a:latin typeface="Gill Sans MT" panose="020B0502020104020203" pitchFamily="34" charset="0"/>
            </a:endParaRPr>
          </a:p>
        </p:txBody>
      </p:sp>
      <p:sp>
        <p:nvSpPr>
          <p:cNvPr id="11" name="Title 10"/>
          <p:cNvSpPr>
            <a:spLocks noGrp="1"/>
          </p:cNvSpPr>
          <p:nvPr>
            <p:ph type="title" idx="4294967295"/>
          </p:nvPr>
        </p:nvSpPr>
        <p:spPr>
          <a:xfrm>
            <a:off x="803275" y="231518"/>
            <a:ext cx="7491413" cy="776288"/>
          </a:xfrm>
        </p:spPr>
        <p:txBody>
          <a:bodyPr>
            <a:normAutofit/>
          </a:bodyPr>
          <a:lstStyle/>
          <a:p>
            <a:r>
              <a:rPr lang="en-US" sz="4000" dirty="0"/>
              <a:t>Current status and impact</a:t>
            </a:r>
          </a:p>
        </p:txBody>
      </p:sp>
      <p:pic>
        <p:nvPicPr>
          <p:cNvPr id="7" name="Picture 6">
            <a:extLst>
              <a:ext uri="{FF2B5EF4-FFF2-40B4-BE49-F238E27FC236}">
                <a16:creationId xmlns:a16="http://schemas.microsoft.com/office/drawing/2014/main" id="{33732A88-EBCD-4B31-9CFF-A48FDBF4A0D7}"/>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36965" y="1160463"/>
            <a:ext cx="3830804" cy="20066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6" name="Picture 5" descr="A picture containing text, sky, colorful&#10;&#10;Description automatically generated">
            <a:extLst>
              <a:ext uri="{FF2B5EF4-FFF2-40B4-BE49-F238E27FC236}">
                <a16:creationId xmlns:a16="http://schemas.microsoft.com/office/drawing/2014/main" id="{1E173E8F-D24D-4767-90A3-E312829E1555}"/>
              </a:ext>
            </a:extLst>
          </p:cNvPr>
          <p:cNvPicPr>
            <a:picLocks noChangeAspect="1"/>
          </p:cNvPicPr>
          <p:nvPr/>
        </p:nvPicPr>
        <p:blipFill>
          <a:blip r:embed="rId4"/>
          <a:stretch>
            <a:fillRect/>
          </a:stretch>
        </p:blipFill>
        <p:spPr>
          <a:xfrm>
            <a:off x="8748583" y="1126680"/>
            <a:ext cx="2959280" cy="2302320"/>
          </a:xfrm>
          <a:prstGeom prst="rect">
            <a:avLst/>
          </a:prstGeom>
        </p:spPr>
      </p:pic>
      <p:pic>
        <p:nvPicPr>
          <p:cNvPr id="5" name="Picture 4" descr="A group of people in safety vests standing outside&#10;&#10;Description automatically generated with low confidence">
            <a:extLst>
              <a:ext uri="{FF2B5EF4-FFF2-40B4-BE49-F238E27FC236}">
                <a16:creationId xmlns:a16="http://schemas.microsoft.com/office/drawing/2014/main" id="{C22A0C31-3DE0-4C9E-258B-DBCC2CC15A0A}"/>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9918" r="17687" b="2"/>
          <a:stretch/>
        </p:blipFill>
        <p:spPr bwMode="auto">
          <a:xfrm>
            <a:off x="8317841" y="3730510"/>
            <a:ext cx="3402379" cy="2857207"/>
          </a:xfrm>
          <a:prstGeom prst="rect">
            <a:avLst/>
          </a:prstGeom>
          <a:noFill/>
          <a:ln>
            <a:noFill/>
          </a:ln>
        </p:spPr>
      </p:pic>
      <p:pic>
        <p:nvPicPr>
          <p:cNvPr id="9" name="Picture 8">
            <a:extLst>
              <a:ext uri="{FF2B5EF4-FFF2-40B4-BE49-F238E27FC236}">
                <a16:creationId xmlns:a16="http://schemas.microsoft.com/office/drawing/2014/main" id="{001E6218-2F10-E0CF-1E82-42DE7CF1537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7451" r="3236" b="-3"/>
          <a:stretch/>
        </p:blipFill>
        <p:spPr bwMode="auto">
          <a:xfrm>
            <a:off x="4267200" y="3564613"/>
            <a:ext cx="3657600" cy="3071533"/>
          </a:xfrm>
          <a:prstGeom prst="rect">
            <a:avLst/>
          </a:prstGeom>
          <a:noFill/>
          <a:ln>
            <a:noFill/>
          </a:ln>
        </p:spPr>
      </p:pic>
    </p:spTree>
    <p:extLst>
      <p:ext uri="{BB962C8B-B14F-4D97-AF65-F5344CB8AC3E}">
        <p14:creationId xmlns:p14="http://schemas.microsoft.com/office/powerpoint/2010/main" val="3756828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1362075" y="203256"/>
            <a:ext cx="6819900" cy="679803"/>
          </a:xfrm>
        </p:spPr>
        <p:txBody>
          <a:bodyPr anchor="ctr">
            <a:normAutofit/>
          </a:bodyPr>
          <a:lstStyle/>
          <a:p>
            <a:r>
              <a:rPr lang="en-US" sz="3200" b="1" dirty="0">
                <a:solidFill>
                  <a:srgbClr val="343433"/>
                </a:solidFill>
                <a:latin typeface="Gill Sans MT" panose="020B0502020104020203" pitchFamily="34" charset="0"/>
              </a:rPr>
              <a:t>Partners roles &amp; responsibilities</a:t>
            </a:r>
          </a:p>
        </p:txBody>
      </p:sp>
      <p:sp>
        <p:nvSpPr>
          <p:cNvPr id="2" name="Date Placeholder 1" hidden="1"/>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fld id="{36433C65-4A15-0F40-ABF7-A97AD24BE4BA}" type="datetimeFigureOut">
              <a:rPr kumimoji="0" lang="en-US" sz="1200" b="0" i="0" u="none" strike="noStrike" kern="1200" cap="none" spc="0" normalizeH="0" baseline="0" noProof="0" smtClean="0">
                <a:ln>
                  <a:noFill/>
                </a:ln>
                <a:solidFill>
                  <a:srgbClr val="0C0C0C">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Liberia</a:t>
            </a:fld>
            <a:endParaRPr kumimoji="0" lang="en-US" sz="1200" b="0" i="0" u="none" strike="noStrike" kern="1200" cap="none" spc="0" normalizeH="0" baseline="0" noProof="0">
              <a:ln>
                <a:noFill/>
              </a:ln>
              <a:solidFill>
                <a:srgbClr val="0C0C0C">
                  <a:tint val="75000"/>
                </a:srgbClr>
              </a:solidFill>
              <a:effectLst/>
              <a:uLnTx/>
              <a:uFillTx/>
              <a:latin typeface="Calibri" panose="020F0502020204030204"/>
              <a:ea typeface="+mn-ea"/>
              <a:cs typeface="+mn-cs"/>
            </a:endParaRPr>
          </a:p>
        </p:txBody>
      </p:sp>
      <p:sp>
        <p:nvSpPr>
          <p:cNvPr id="3" name="Slide Number Placeholder 2" hidden="1"/>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fld id="{0BF8B233-85DB-E649-9AAA-4E629A683818}" type="slidenum">
              <a:rPr kumimoji="0" lang="en-US" sz="1200" b="0" i="0" u="none" strike="noStrike" kern="1200" cap="none" spc="0" normalizeH="0" baseline="0" noProof="0" smtClean="0">
                <a:ln>
                  <a:noFill/>
                </a:ln>
                <a:solidFill>
                  <a:srgbClr val="0C0C0C">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3</a:t>
            </a:fld>
            <a:endParaRPr kumimoji="0" lang="en-US" sz="1200" b="0" i="0" u="none" strike="noStrike" kern="1200" cap="none" spc="0" normalizeH="0" baseline="0" noProof="0">
              <a:ln>
                <a:noFill/>
              </a:ln>
              <a:solidFill>
                <a:srgbClr val="0C0C0C">
                  <a:tint val="75000"/>
                </a:srgbClr>
              </a:solidFill>
              <a:effectLst/>
              <a:uLnTx/>
              <a:uFillTx/>
              <a:latin typeface="Calibri" panose="020F0502020204030204"/>
              <a:ea typeface="+mn-ea"/>
              <a:cs typeface="+mn-cs"/>
            </a:endParaRPr>
          </a:p>
        </p:txBody>
      </p:sp>
      <p:graphicFrame>
        <p:nvGraphicFramePr>
          <p:cNvPr id="17" name="Content Placeholder 12">
            <a:extLst>
              <a:ext uri="{FF2B5EF4-FFF2-40B4-BE49-F238E27FC236}">
                <a16:creationId xmlns:a16="http://schemas.microsoft.com/office/drawing/2014/main" id="{5B163EC9-56A5-48F3-A8C3-364230E441BD}"/>
              </a:ext>
            </a:extLst>
          </p:cNvPr>
          <p:cNvGraphicFramePr>
            <a:graphicFrameLocks noGrp="1"/>
          </p:cNvGraphicFramePr>
          <p:nvPr>
            <p:ph idx="1"/>
            <p:extLst>
              <p:ext uri="{D42A27DB-BD31-4B8C-83A1-F6EECF244321}">
                <p14:modId xmlns:p14="http://schemas.microsoft.com/office/powerpoint/2010/main" val="2546329576"/>
              </p:ext>
            </p:extLst>
          </p:nvPr>
        </p:nvGraphicFramePr>
        <p:xfrm>
          <a:off x="907708" y="2473720"/>
          <a:ext cx="9953625" cy="42449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Left Brace 3">
            <a:extLst>
              <a:ext uri="{FF2B5EF4-FFF2-40B4-BE49-F238E27FC236}">
                <a16:creationId xmlns:a16="http://schemas.microsoft.com/office/drawing/2014/main" id="{18FC843B-F66F-4FEC-B921-20C75BF7E446}"/>
              </a:ext>
            </a:extLst>
          </p:cNvPr>
          <p:cNvSpPr/>
          <p:nvPr/>
        </p:nvSpPr>
        <p:spPr>
          <a:xfrm>
            <a:off x="3231472" y="3990975"/>
            <a:ext cx="1169077" cy="2552700"/>
          </a:xfrm>
          <a:prstGeom prst="leftBrace">
            <a:avLst>
              <a:gd name="adj1" fmla="val 68230"/>
              <a:gd name="adj2" fmla="val 49580"/>
            </a:avLst>
          </a:prstGeom>
        </p:spPr>
        <p:style>
          <a:lnRef idx="3">
            <a:schemeClr val="dk1"/>
          </a:lnRef>
          <a:fillRef idx="0">
            <a:schemeClr val="dk1"/>
          </a:fillRef>
          <a:effectRef idx="2">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C0C0C"/>
              </a:solidFill>
              <a:effectLst/>
              <a:uLnTx/>
              <a:uFillTx/>
              <a:latin typeface="Calibri" panose="020F0502020204030204"/>
              <a:ea typeface="+mn-ea"/>
              <a:cs typeface="+mn-cs"/>
            </a:endParaRPr>
          </a:p>
        </p:txBody>
      </p:sp>
      <p:grpSp>
        <p:nvGrpSpPr>
          <p:cNvPr id="5" name="Group 4">
            <a:extLst>
              <a:ext uri="{FF2B5EF4-FFF2-40B4-BE49-F238E27FC236}">
                <a16:creationId xmlns:a16="http://schemas.microsoft.com/office/drawing/2014/main" id="{9FF1FEB6-B90F-A621-7ECA-1EF08D0B3DE5}"/>
              </a:ext>
            </a:extLst>
          </p:cNvPr>
          <p:cNvGrpSpPr/>
          <p:nvPr/>
        </p:nvGrpSpPr>
        <p:grpSpPr>
          <a:xfrm>
            <a:off x="907708" y="1160463"/>
            <a:ext cx="2121463" cy="1272878"/>
            <a:chOff x="0" y="0"/>
            <a:chExt cx="2121463" cy="1272878"/>
          </a:xfrm>
          <a:solidFill>
            <a:srgbClr val="92D050"/>
          </a:solidFill>
        </p:grpSpPr>
        <p:sp>
          <p:nvSpPr>
            <p:cNvPr id="6" name="Rectangle 5">
              <a:extLst>
                <a:ext uri="{FF2B5EF4-FFF2-40B4-BE49-F238E27FC236}">
                  <a16:creationId xmlns:a16="http://schemas.microsoft.com/office/drawing/2014/main" id="{01E2B8D6-0FC4-8661-FDCC-4795A1C79417}"/>
                </a:ext>
              </a:extLst>
            </p:cNvPr>
            <p:cNvSpPr/>
            <p:nvPr/>
          </p:nvSpPr>
          <p:spPr>
            <a:xfrm>
              <a:off x="0" y="0"/>
              <a:ext cx="2121463" cy="1272878"/>
            </a:xfrm>
            <a:prstGeom prst="rect">
              <a:avLst/>
            </a:prstGeom>
            <a:grpFill/>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sp>
        <p:sp>
          <p:nvSpPr>
            <p:cNvPr id="8" name="TextBox 7">
              <a:extLst>
                <a:ext uri="{FF2B5EF4-FFF2-40B4-BE49-F238E27FC236}">
                  <a16:creationId xmlns:a16="http://schemas.microsoft.com/office/drawing/2014/main" id="{A9F5952C-DF9A-5DBE-83E8-B127FB90F46F}"/>
                </a:ext>
              </a:extLst>
            </p:cNvPr>
            <p:cNvSpPr txBox="1"/>
            <p:nvPr/>
          </p:nvSpPr>
          <p:spPr>
            <a:xfrm>
              <a:off x="0" y="0"/>
              <a:ext cx="2121463" cy="127287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1800" b="1" u="none" strike="noStrike" kern="1200" cap="none" spc="0" normalizeH="0" baseline="0" noProof="0" dirty="0">
                  <a:ln>
                    <a:noFill/>
                  </a:ln>
                  <a:solidFill>
                    <a:srgbClr val="4A3C31"/>
                  </a:solidFill>
                  <a:effectLst/>
                  <a:uLnTx/>
                  <a:uFillTx/>
                  <a:latin typeface="Quicksand" pitchFamily="2" charset="0"/>
                </a:rPr>
                <a:t>MINISTRY/ Agencies</a:t>
              </a:r>
            </a:p>
          </p:txBody>
        </p:sp>
      </p:grpSp>
      <p:grpSp>
        <p:nvGrpSpPr>
          <p:cNvPr id="9" name="Group 8">
            <a:extLst>
              <a:ext uri="{FF2B5EF4-FFF2-40B4-BE49-F238E27FC236}">
                <a16:creationId xmlns:a16="http://schemas.microsoft.com/office/drawing/2014/main" id="{203EA69F-F14F-79A2-9C0E-9C1DF7BB2CA5}"/>
              </a:ext>
            </a:extLst>
          </p:cNvPr>
          <p:cNvGrpSpPr/>
          <p:nvPr/>
        </p:nvGrpSpPr>
        <p:grpSpPr>
          <a:xfrm>
            <a:off x="4400549" y="994128"/>
            <a:ext cx="5133975" cy="1272878"/>
            <a:chOff x="2753582" y="5"/>
            <a:chExt cx="2121463" cy="1272878"/>
          </a:xfrm>
          <a:solidFill>
            <a:srgbClr val="92D050"/>
          </a:solidFill>
        </p:grpSpPr>
        <p:sp>
          <p:nvSpPr>
            <p:cNvPr id="10" name="Rectangle 9">
              <a:extLst>
                <a:ext uri="{FF2B5EF4-FFF2-40B4-BE49-F238E27FC236}">
                  <a16:creationId xmlns:a16="http://schemas.microsoft.com/office/drawing/2014/main" id="{8296533C-4A0E-E3EB-AC9E-6F1BDC7C6414}"/>
                </a:ext>
              </a:extLst>
            </p:cNvPr>
            <p:cNvSpPr/>
            <p:nvPr/>
          </p:nvSpPr>
          <p:spPr>
            <a:xfrm>
              <a:off x="2753582" y="5"/>
              <a:ext cx="2121463" cy="1272878"/>
            </a:xfrm>
            <a:prstGeom prst="rect">
              <a:avLst/>
            </a:prstGeom>
            <a:grpFill/>
          </p:spPr>
          <p:style>
            <a:lnRef idx="0">
              <a:schemeClr val="lt1">
                <a:hueOff val="0"/>
                <a:satOff val="0"/>
                <a:lumOff val="0"/>
                <a:alphaOff val="0"/>
              </a:schemeClr>
            </a:lnRef>
            <a:fillRef idx="3">
              <a:scrgbClr r="0" g="0" b="0"/>
            </a:fillRef>
            <a:effectRef idx="3">
              <a:schemeClr val="accent1">
                <a:hueOff val="0"/>
                <a:satOff val="0"/>
                <a:lumOff val="0"/>
                <a:alphaOff val="0"/>
              </a:schemeClr>
            </a:effectRef>
            <a:fontRef idx="minor">
              <a:schemeClr val="lt1"/>
            </a:fontRef>
          </p:style>
        </p:sp>
        <p:sp>
          <p:nvSpPr>
            <p:cNvPr id="12" name="TextBox 11">
              <a:extLst>
                <a:ext uri="{FF2B5EF4-FFF2-40B4-BE49-F238E27FC236}">
                  <a16:creationId xmlns:a16="http://schemas.microsoft.com/office/drawing/2014/main" id="{EAAA1137-B166-2553-BCC3-50D0CB93FC6B}"/>
                </a:ext>
              </a:extLst>
            </p:cNvPr>
            <p:cNvSpPr txBox="1"/>
            <p:nvPr/>
          </p:nvSpPr>
          <p:spPr>
            <a:xfrm>
              <a:off x="2753582" y="5"/>
              <a:ext cx="2121463" cy="127287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4A3C31"/>
                  </a:solidFill>
                  <a:effectLst/>
                  <a:uLnTx/>
                  <a:uFillTx/>
                  <a:latin typeface="Quicksand" pitchFamily="2" charset="0"/>
                </a:rPr>
                <a:t>Providing an enabling Environment through the</a:t>
              </a:r>
            </a:p>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4A3C31"/>
                  </a:solidFill>
                  <a:effectLst/>
                  <a:uLnTx/>
                  <a:uFillTx/>
                  <a:latin typeface="Quicksand" pitchFamily="2" charset="0"/>
                </a:rPr>
                <a:t>Development of policies and guideline</a:t>
              </a:r>
              <a:r>
                <a:rPr kumimoji="0" lang="en-US" sz="1800" b="0" i="0" u="none" strike="noStrike" kern="1200" cap="none" spc="0" normalizeH="0" baseline="0" noProof="0" dirty="0">
                  <a:ln>
                    <a:noFill/>
                  </a:ln>
                  <a:solidFill>
                    <a:srgbClr val="4A3C31"/>
                  </a:solidFill>
                  <a:effectLst/>
                  <a:uLnTx/>
                  <a:uFillTx/>
                  <a:latin typeface="Gill Sans MT" panose="020B0502020104020203" pitchFamily="34" charset="0"/>
                  <a:ea typeface="+mn-ea"/>
                  <a:cs typeface="+mn-cs"/>
                </a:rPr>
                <a:t>s  </a:t>
              </a:r>
            </a:p>
          </p:txBody>
        </p:sp>
      </p:grpSp>
    </p:spTree>
    <p:extLst>
      <p:ext uri="{BB962C8B-B14F-4D97-AF65-F5344CB8AC3E}">
        <p14:creationId xmlns:p14="http://schemas.microsoft.com/office/powerpoint/2010/main" val="1786025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290A602-370B-4560-A1E0-E9BD64D81B64}"/>
              </a:ext>
            </a:extLst>
          </p:cNvPr>
          <p:cNvSpPr>
            <a:spLocks noGrp="1"/>
          </p:cNvSpPr>
          <p:nvPr>
            <p:ph type="body" sz="quarter" idx="3"/>
          </p:nvPr>
        </p:nvSpPr>
        <p:spPr>
          <a:xfrm>
            <a:off x="518984" y="173104"/>
            <a:ext cx="9539417" cy="568685"/>
          </a:xfrm>
          <a:noFill/>
        </p:spPr>
        <p:txBody>
          <a:bodyPr vert="horz" lIns="91440" tIns="45720" rIns="91440" bIns="45720" rtlCol="0" anchor="ctr">
            <a:noAutofit/>
          </a:bodyPr>
          <a:lstStyle/>
          <a:p>
            <a:pPr>
              <a:spcBef>
                <a:spcPct val="0"/>
              </a:spcBef>
            </a:pPr>
            <a:r>
              <a:rPr lang="en-US" sz="3600" b="0" dirty="0">
                <a:solidFill>
                  <a:schemeClr val="bg2"/>
                </a:solidFill>
                <a:latin typeface="Quicksand" pitchFamily="2" charset="0"/>
                <a:ea typeface="+mj-ea"/>
                <a:cs typeface="+mj-cs"/>
              </a:rPr>
              <a:t>Operator’s Responsibilities and Qualities</a:t>
            </a:r>
          </a:p>
        </p:txBody>
      </p:sp>
      <p:pic>
        <p:nvPicPr>
          <p:cNvPr id="9" name="Picture 8" descr="A group of people in a store&#10;&#10;Description automatically generated with medium confidence">
            <a:extLst>
              <a:ext uri="{FF2B5EF4-FFF2-40B4-BE49-F238E27FC236}">
                <a16:creationId xmlns:a16="http://schemas.microsoft.com/office/drawing/2014/main" id="{774885BF-B8A7-BCF2-2FF9-47FD953CB233}"/>
              </a:ext>
            </a:extLst>
          </p:cNvPr>
          <p:cNvPicPr>
            <a:picLocks noChangeAspect="1"/>
          </p:cNvPicPr>
          <p:nvPr/>
        </p:nvPicPr>
        <p:blipFill>
          <a:blip r:embed="rId3"/>
          <a:stretch>
            <a:fillRect/>
          </a:stretch>
        </p:blipFill>
        <p:spPr>
          <a:xfrm>
            <a:off x="4270647" y="2329939"/>
            <a:ext cx="4012792" cy="3009594"/>
          </a:xfrm>
          <a:prstGeom prst="rect">
            <a:avLst/>
          </a:prstGeom>
        </p:spPr>
      </p:pic>
      <p:sp>
        <p:nvSpPr>
          <p:cNvPr id="10" name="Rectangle: Rounded Corners 9">
            <a:extLst>
              <a:ext uri="{FF2B5EF4-FFF2-40B4-BE49-F238E27FC236}">
                <a16:creationId xmlns:a16="http://schemas.microsoft.com/office/drawing/2014/main" id="{A108E98D-323F-2A1F-5D87-1666A6D03F35}"/>
              </a:ext>
            </a:extLst>
          </p:cNvPr>
          <p:cNvSpPr/>
          <p:nvPr/>
        </p:nvSpPr>
        <p:spPr>
          <a:xfrm>
            <a:off x="8667613" y="880953"/>
            <a:ext cx="2706996" cy="59559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Qualities</a:t>
            </a:r>
          </a:p>
        </p:txBody>
      </p:sp>
      <p:sp>
        <p:nvSpPr>
          <p:cNvPr id="13" name="TextBox 12">
            <a:extLst>
              <a:ext uri="{FF2B5EF4-FFF2-40B4-BE49-F238E27FC236}">
                <a16:creationId xmlns:a16="http://schemas.microsoft.com/office/drawing/2014/main" id="{1C16DCAA-9D27-24F6-EBEF-FA4B169059A9}"/>
              </a:ext>
            </a:extLst>
          </p:cNvPr>
          <p:cNvSpPr txBox="1"/>
          <p:nvPr/>
        </p:nvSpPr>
        <p:spPr>
          <a:xfrm rot="20869136">
            <a:off x="8478600" y="1876098"/>
            <a:ext cx="3514860" cy="830997"/>
          </a:xfrm>
          <a:prstGeom prst="rect">
            <a:avLst/>
          </a:prstGeom>
          <a:noFill/>
        </p:spPr>
        <p:txBody>
          <a:bodyPr wrap="square" rtlCol="0">
            <a:spAutoFit/>
          </a:bodyPr>
          <a:lstStyle/>
          <a:p>
            <a:pPr marR="0" lvl="0" algn="just" defTabSz="914400" rtl="0" eaLnBrk="1" fontAlgn="auto" latinLnBrk="0" hangingPunct="1">
              <a:lnSpc>
                <a:spcPct val="100000"/>
              </a:lnSpc>
              <a:spcBef>
                <a:spcPts val="0"/>
              </a:spcBef>
              <a:spcAft>
                <a:spcPts val="0"/>
              </a:spcAft>
              <a:buClrTx/>
              <a:buSzTx/>
              <a:tabLst/>
              <a:defRPr/>
            </a:pPr>
            <a:r>
              <a:rPr kumimoji="0" lang="en-US" sz="1600" b="0" i="0" u="none" strike="noStrike" kern="1200" cap="none" spc="0" normalizeH="0" baseline="0" noProof="0" dirty="0">
                <a:ln>
                  <a:noFill/>
                </a:ln>
                <a:solidFill>
                  <a:srgbClr val="343433"/>
                </a:solidFill>
                <a:effectLst/>
                <a:uLnTx/>
                <a:uFillTx/>
                <a:latin typeface="Quicksand" pitchFamily="2" charset="0"/>
              </a:rPr>
              <a:t>Good knowledge in business, financial management and marketing, of the local language</a:t>
            </a:r>
          </a:p>
        </p:txBody>
      </p:sp>
      <p:sp>
        <p:nvSpPr>
          <p:cNvPr id="14" name="TextBox 13">
            <a:extLst>
              <a:ext uri="{FF2B5EF4-FFF2-40B4-BE49-F238E27FC236}">
                <a16:creationId xmlns:a16="http://schemas.microsoft.com/office/drawing/2014/main" id="{762E667C-80D5-CB4D-F2E9-3E055E5C379F}"/>
              </a:ext>
            </a:extLst>
          </p:cNvPr>
          <p:cNvSpPr txBox="1"/>
          <p:nvPr/>
        </p:nvSpPr>
        <p:spPr>
          <a:xfrm>
            <a:off x="8583306" y="3309932"/>
            <a:ext cx="2680252" cy="584775"/>
          </a:xfrm>
          <a:prstGeom prst="rect">
            <a:avLst/>
          </a:prstGeom>
          <a:noFill/>
        </p:spPr>
        <p:txBody>
          <a:bodyPr wrap="square" rtlCol="0">
            <a:spAutoFit/>
          </a:bodyPr>
          <a:lstStyle/>
          <a:p>
            <a:pPr marR="0" lvl="0" algn="just" defTabSz="914400" rtl="0" eaLnBrk="1" fontAlgn="auto" latinLnBrk="0" hangingPunct="1">
              <a:lnSpc>
                <a:spcPct val="100000"/>
              </a:lnSpc>
              <a:spcBef>
                <a:spcPts val="0"/>
              </a:spcBef>
              <a:spcAft>
                <a:spcPts val="0"/>
              </a:spcAft>
              <a:buClrTx/>
              <a:buSzTx/>
              <a:tabLst/>
              <a:defRPr/>
            </a:pPr>
            <a:r>
              <a:rPr kumimoji="0" lang="en-US" sz="1600" b="0" i="0" u="none" strike="noStrike" kern="1200" cap="none" spc="0" normalizeH="0" baseline="0" noProof="0" dirty="0">
                <a:ln>
                  <a:noFill/>
                </a:ln>
                <a:solidFill>
                  <a:srgbClr val="343433"/>
                </a:solidFill>
                <a:effectLst/>
                <a:uLnTx/>
                <a:uFillTx/>
                <a:latin typeface="Quicksand" pitchFamily="2" charset="0"/>
              </a:rPr>
              <a:t>Business oriented and networking skills</a:t>
            </a:r>
          </a:p>
        </p:txBody>
      </p:sp>
      <p:sp>
        <p:nvSpPr>
          <p:cNvPr id="15" name="TextBox 14">
            <a:extLst>
              <a:ext uri="{FF2B5EF4-FFF2-40B4-BE49-F238E27FC236}">
                <a16:creationId xmlns:a16="http://schemas.microsoft.com/office/drawing/2014/main" id="{89FBC268-2F84-9B0F-E8FE-286D11A4CE49}"/>
              </a:ext>
            </a:extLst>
          </p:cNvPr>
          <p:cNvSpPr txBox="1"/>
          <p:nvPr/>
        </p:nvSpPr>
        <p:spPr>
          <a:xfrm>
            <a:off x="8556402" y="4133433"/>
            <a:ext cx="3031296" cy="830997"/>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600" b="0" i="0" u="none" strike="noStrike" kern="1200" cap="none" spc="0" normalizeH="0" baseline="0" noProof="0" dirty="0">
                <a:ln>
                  <a:noFill/>
                </a:ln>
                <a:solidFill>
                  <a:srgbClr val="343433"/>
                </a:solidFill>
                <a:effectLst/>
                <a:uLnTx/>
                <a:uFillTx/>
                <a:latin typeface="Quicksand" pitchFamily="2" charset="0"/>
              </a:rPr>
              <a:t>Skills in aggressive promotion and marketing and works ethics</a:t>
            </a:r>
            <a:endParaRPr kumimoji="0" lang="en-US" sz="1600" b="0" i="0" u="none" strike="noStrike" kern="1200" cap="none" spc="0" normalizeH="0" baseline="0" noProof="0" dirty="0">
              <a:ln>
                <a:noFill/>
              </a:ln>
              <a:solidFill>
                <a:srgbClr val="0C0C0C"/>
              </a:solidFill>
              <a:effectLst/>
              <a:uLnTx/>
              <a:uFillTx/>
              <a:latin typeface="Quicksand" pitchFamily="2" charset="0"/>
            </a:endParaRPr>
          </a:p>
        </p:txBody>
      </p:sp>
      <p:sp>
        <p:nvSpPr>
          <p:cNvPr id="16" name="TextBox 15">
            <a:extLst>
              <a:ext uri="{FF2B5EF4-FFF2-40B4-BE49-F238E27FC236}">
                <a16:creationId xmlns:a16="http://schemas.microsoft.com/office/drawing/2014/main" id="{0FF4371E-C1EC-6433-A2CB-88A117667315}"/>
              </a:ext>
            </a:extLst>
          </p:cNvPr>
          <p:cNvSpPr txBox="1"/>
          <p:nvPr/>
        </p:nvSpPr>
        <p:spPr>
          <a:xfrm rot="546480">
            <a:off x="7768111" y="5597426"/>
            <a:ext cx="2804077" cy="830997"/>
          </a:xfrm>
          <a:prstGeom prst="rect">
            <a:avLst/>
          </a:prstGeom>
          <a:noFill/>
        </p:spPr>
        <p:txBody>
          <a:bodyPr wrap="square" rtlCol="0">
            <a:spAutoFit/>
          </a:bodyPr>
          <a:lstStyle/>
          <a:p>
            <a:pPr marR="0" lvl="0" algn="just" defTabSz="914400" rtl="0" eaLnBrk="1" fontAlgn="auto" latinLnBrk="0" hangingPunct="1">
              <a:lnSpc>
                <a:spcPct val="100000"/>
              </a:lnSpc>
              <a:spcBef>
                <a:spcPts val="0"/>
              </a:spcBef>
              <a:spcAft>
                <a:spcPts val="0"/>
              </a:spcAft>
              <a:buClrTx/>
              <a:buSzTx/>
              <a:tabLst/>
              <a:defRPr/>
            </a:pPr>
            <a:r>
              <a:rPr kumimoji="0" lang="en-US" sz="1600" b="0" i="0" u="none" strike="noStrike" kern="1200" cap="none" spc="0" normalizeH="0" baseline="0" noProof="0" dirty="0">
                <a:ln>
                  <a:noFill/>
                </a:ln>
                <a:solidFill>
                  <a:srgbClr val="343433"/>
                </a:solidFill>
                <a:effectLst/>
                <a:uLnTx/>
                <a:uFillTx/>
                <a:latin typeface="Quicksand" pitchFamily="2" charset="0"/>
              </a:rPr>
              <a:t>Knowledge on local sanitation and hygiene context (demand, ….)</a:t>
            </a:r>
          </a:p>
        </p:txBody>
      </p:sp>
      <p:sp>
        <p:nvSpPr>
          <p:cNvPr id="17" name="Rectangle: Rounded Corners 16">
            <a:extLst>
              <a:ext uri="{FF2B5EF4-FFF2-40B4-BE49-F238E27FC236}">
                <a16:creationId xmlns:a16="http://schemas.microsoft.com/office/drawing/2014/main" id="{2AA587E1-54F2-D430-5103-3066AD88F2E9}"/>
              </a:ext>
            </a:extLst>
          </p:cNvPr>
          <p:cNvSpPr/>
          <p:nvPr/>
        </p:nvSpPr>
        <p:spPr>
          <a:xfrm>
            <a:off x="817392" y="991984"/>
            <a:ext cx="2844447" cy="5955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tabLst/>
              <a:defRPr/>
            </a:pPr>
            <a:r>
              <a:rPr kumimoji="0" lang="en-US" sz="2000" b="1" i="0" u="none" strike="noStrike" kern="1200" cap="none" spc="0" normalizeH="0" baseline="0" noProof="0" dirty="0">
                <a:ln>
                  <a:noFill/>
                </a:ln>
                <a:solidFill>
                  <a:prstClr val="white"/>
                </a:solidFill>
                <a:effectLst/>
                <a:uLnTx/>
                <a:uFillTx/>
                <a:latin typeface="Quicksand" pitchFamily="2" charset="0"/>
              </a:rPr>
              <a:t>Responsibilities</a:t>
            </a:r>
          </a:p>
        </p:txBody>
      </p:sp>
      <p:sp>
        <p:nvSpPr>
          <p:cNvPr id="18" name="TextBox 17">
            <a:extLst>
              <a:ext uri="{FF2B5EF4-FFF2-40B4-BE49-F238E27FC236}">
                <a16:creationId xmlns:a16="http://schemas.microsoft.com/office/drawing/2014/main" id="{55CBEEB0-085B-7DB5-E1D5-5F280CC7837C}"/>
              </a:ext>
            </a:extLst>
          </p:cNvPr>
          <p:cNvSpPr txBox="1"/>
          <p:nvPr/>
        </p:nvSpPr>
        <p:spPr>
          <a:xfrm rot="351267">
            <a:off x="401775" y="1938060"/>
            <a:ext cx="3511116" cy="584775"/>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600" b="0" i="0" u="none" strike="noStrike" kern="1200" cap="none" spc="0" normalizeH="0" baseline="0" noProof="0" dirty="0">
                <a:ln>
                  <a:noFill/>
                </a:ln>
                <a:solidFill>
                  <a:srgbClr val="343433"/>
                </a:solidFill>
                <a:effectLst/>
                <a:uLnTx/>
                <a:uFillTx/>
                <a:latin typeface="Quicksand" pitchFamily="2" charset="0"/>
              </a:rPr>
              <a:t>Avail innovative and affordable products and services</a:t>
            </a:r>
            <a:endParaRPr kumimoji="0" lang="en-US" sz="1600" b="0" i="0" u="none" strike="noStrike" kern="1200" cap="none" spc="0" normalizeH="0" baseline="0" noProof="0" dirty="0">
              <a:ln>
                <a:noFill/>
              </a:ln>
              <a:solidFill>
                <a:srgbClr val="0C0C0C"/>
              </a:solidFill>
              <a:effectLst/>
              <a:uLnTx/>
              <a:uFillTx/>
              <a:latin typeface="Quicksand" pitchFamily="2" charset="0"/>
            </a:endParaRPr>
          </a:p>
        </p:txBody>
      </p:sp>
      <p:sp>
        <p:nvSpPr>
          <p:cNvPr id="19" name="TextBox 18">
            <a:extLst>
              <a:ext uri="{FF2B5EF4-FFF2-40B4-BE49-F238E27FC236}">
                <a16:creationId xmlns:a16="http://schemas.microsoft.com/office/drawing/2014/main" id="{27094F2C-E146-7D09-2FC7-0DA034779928}"/>
              </a:ext>
            </a:extLst>
          </p:cNvPr>
          <p:cNvSpPr txBox="1"/>
          <p:nvPr/>
        </p:nvSpPr>
        <p:spPr>
          <a:xfrm>
            <a:off x="366701" y="2710684"/>
            <a:ext cx="3378187" cy="584775"/>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600" b="0" i="0" u="none" strike="noStrike" kern="1200" cap="none" spc="0" normalizeH="0" baseline="0" noProof="0" dirty="0">
                <a:ln>
                  <a:noFill/>
                </a:ln>
                <a:solidFill>
                  <a:srgbClr val="343433"/>
                </a:solidFill>
                <a:effectLst/>
                <a:uLnTx/>
                <a:uFillTx/>
                <a:latin typeface="Quicksand" pitchFamily="2" charset="0"/>
              </a:rPr>
              <a:t>Ensure products and services reach the community</a:t>
            </a:r>
          </a:p>
        </p:txBody>
      </p:sp>
      <p:sp>
        <p:nvSpPr>
          <p:cNvPr id="20" name="TextBox 19">
            <a:extLst>
              <a:ext uri="{FF2B5EF4-FFF2-40B4-BE49-F238E27FC236}">
                <a16:creationId xmlns:a16="http://schemas.microsoft.com/office/drawing/2014/main" id="{81BEE265-DC3B-7930-83C1-3AF10B5AA877}"/>
              </a:ext>
            </a:extLst>
          </p:cNvPr>
          <p:cNvSpPr txBox="1"/>
          <p:nvPr/>
        </p:nvSpPr>
        <p:spPr>
          <a:xfrm>
            <a:off x="187073" y="3484021"/>
            <a:ext cx="3852164" cy="830997"/>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600" b="0" i="0" u="none" strike="noStrike" kern="1200" cap="none" spc="0" normalizeH="0" baseline="0" noProof="0" dirty="0">
                <a:ln>
                  <a:noFill/>
                </a:ln>
                <a:solidFill>
                  <a:srgbClr val="0C0C0C"/>
                </a:solidFill>
                <a:effectLst/>
                <a:uLnTx/>
                <a:uFillTx/>
                <a:latin typeface="Quicksand" pitchFamily="2" charset="0"/>
              </a:rPr>
              <a:t>Provide guidance and explanations to clients on all products and services provided   </a:t>
            </a:r>
          </a:p>
        </p:txBody>
      </p:sp>
      <p:sp>
        <p:nvSpPr>
          <p:cNvPr id="21" name="TextBox 20">
            <a:extLst>
              <a:ext uri="{FF2B5EF4-FFF2-40B4-BE49-F238E27FC236}">
                <a16:creationId xmlns:a16="http://schemas.microsoft.com/office/drawing/2014/main" id="{D7B1BFC6-BC75-ABF3-5417-11A25A9CD310}"/>
              </a:ext>
            </a:extLst>
          </p:cNvPr>
          <p:cNvSpPr txBox="1"/>
          <p:nvPr/>
        </p:nvSpPr>
        <p:spPr>
          <a:xfrm rot="21363028">
            <a:off x="335695" y="4627457"/>
            <a:ext cx="3275196" cy="584775"/>
          </a:xfrm>
          <a:prstGeom prst="rect">
            <a:avLst/>
          </a:prstGeom>
          <a:noFill/>
        </p:spPr>
        <p:txBody>
          <a:bodyPr wrap="square" rtlCol="0">
            <a:spAutoFit/>
          </a:bodyPr>
          <a:lstStyle/>
          <a:p>
            <a:pPr marR="0" lvl="0" algn="just" defTabSz="914400" rtl="0" eaLnBrk="1" fontAlgn="auto" latinLnBrk="0" hangingPunct="1">
              <a:lnSpc>
                <a:spcPct val="100000"/>
              </a:lnSpc>
              <a:spcBef>
                <a:spcPts val="0"/>
              </a:spcBef>
              <a:spcAft>
                <a:spcPts val="0"/>
              </a:spcAft>
              <a:buClrTx/>
              <a:buSzTx/>
              <a:tabLst/>
              <a:defRPr/>
            </a:pPr>
            <a:r>
              <a:rPr kumimoji="0" lang="en-US" sz="1600" b="0" i="0" u="none" strike="noStrike" kern="1200" cap="none" spc="0" normalizeH="0" baseline="0" noProof="0" dirty="0">
                <a:ln>
                  <a:noFill/>
                </a:ln>
                <a:solidFill>
                  <a:srgbClr val="343433"/>
                </a:solidFill>
                <a:effectLst/>
                <a:uLnTx/>
                <a:uFillTx/>
                <a:latin typeface="Quicksand" pitchFamily="2" charset="0"/>
              </a:rPr>
              <a:t>Conduct business marketing for the growth of the business</a:t>
            </a:r>
          </a:p>
        </p:txBody>
      </p:sp>
      <p:sp>
        <p:nvSpPr>
          <p:cNvPr id="22" name="TextBox 21">
            <a:extLst>
              <a:ext uri="{FF2B5EF4-FFF2-40B4-BE49-F238E27FC236}">
                <a16:creationId xmlns:a16="http://schemas.microsoft.com/office/drawing/2014/main" id="{DFE97E81-00CD-D8DA-264D-810AD2458AAD}"/>
              </a:ext>
            </a:extLst>
          </p:cNvPr>
          <p:cNvSpPr txBox="1"/>
          <p:nvPr/>
        </p:nvSpPr>
        <p:spPr>
          <a:xfrm rot="20813828">
            <a:off x="680856" y="5370885"/>
            <a:ext cx="3437045" cy="584775"/>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600" b="0" i="0" u="none" strike="noStrike" kern="1200" cap="none" spc="0" normalizeH="0" baseline="0" noProof="0" dirty="0">
                <a:ln>
                  <a:noFill/>
                </a:ln>
                <a:solidFill>
                  <a:srgbClr val="343433"/>
                </a:solidFill>
                <a:effectLst/>
                <a:uLnTx/>
                <a:uFillTx/>
                <a:latin typeface="Quicksand" pitchFamily="2" charset="0"/>
              </a:rPr>
              <a:t>Make a day-to-day financial track for a smooth management </a:t>
            </a:r>
            <a:endParaRPr kumimoji="0" lang="en-US" sz="1600" b="0" i="0" u="none" strike="noStrike" kern="1200" cap="none" spc="0" normalizeH="0" baseline="0" noProof="0" dirty="0">
              <a:ln>
                <a:noFill/>
              </a:ln>
              <a:solidFill>
                <a:srgbClr val="0C0C0C"/>
              </a:solidFill>
              <a:effectLst/>
              <a:uLnTx/>
              <a:uFillTx/>
              <a:latin typeface="Quicksand" pitchFamily="2" charset="0"/>
            </a:endParaRPr>
          </a:p>
        </p:txBody>
      </p:sp>
      <p:sp>
        <p:nvSpPr>
          <p:cNvPr id="23" name="TextBox 22">
            <a:extLst>
              <a:ext uri="{FF2B5EF4-FFF2-40B4-BE49-F238E27FC236}">
                <a16:creationId xmlns:a16="http://schemas.microsoft.com/office/drawing/2014/main" id="{8C1D8FEF-3C3F-B21F-9A66-8B44F2727499}"/>
              </a:ext>
            </a:extLst>
          </p:cNvPr>
          <p:cNvSpPr txBox="1"/>
          <p:nvPr/>
        </p:nvSpPr>
        <p:spPr>
          <a:xfrm rot="20914207">
            <a:off x="2075902" y="5926452"/>
            <a:ext cx="3558289" cy="584775"/>
          </a:xfrm>
          <a:prstGeom prst="rect">
            <a:avLst/>
          </a:prstGeom>
          <a:noFill/>
        </p:spPr>
        <p:txBody>
          <a:bodyPr wrap="square" rtlCol="0">
            <a:spAutoFit/>
          </a:bodyPr>
          <a:lstStyle/>
          <a:p>
            <a:pPr marR="0" lvl="0" algn="just" defTabSz="914400" rtl="0" eaLnBrk="1" fontAlgn="auto" latinLnBrk="0" hangingPunct="1">
              <a:lnSpc>
                <a:spcPct val="100000"/>
              </a:lnSpc>
              <a:spcBef>
                <a:spcPts val="0"/>
              </a:spcBef>
              <a:spcAft>
                <a:spcPts val="0"/>
              </a:spcAft>
              <a:buClrTx/>
              <a:buSzTx/>
              <a:tabLst/>
              <a:defRPr/>
            </a:pPr>
            <a:r>
              <a:rPr kumimoji="0" lang="en-US" sz="1600" b="0" i="0" u="none" strike="noStrike" kern="1200" cap="none" spc="0" normalizeH="0" baseline="0" noProof="0" dirty="0">
                <a:ln>
                  <a:noFill/>
                </a:ln>
                <a:solidFill>
                  <a:srgbClr val="343433"/>
                </a:solidFill>
                <a:effectLst/>
                <a:uLnTx/>
                <a:uFillTx/>
                <a:latin typeface="Quicksand" pitchFamily="2" charset="0"/>
              </a:rPr>
              <a:t>Ensure that the center is well maintained, cleaned and open</a:t>
            </a:r>
            <a:endParaRPr kumimoji="0" lang="en-US" sz="1400" b="0" i="0" u="none" strike="noStrike" kern="1200" cap="none" spc="0" normalizeH="0" baseline="0" noProof="0" dirty="0">
              <a:ln>
                <a:noFill/>
              </a:ln>
              <a:solidFill>
                <a:srgbClr val="343433"/>
              </a:solidFill>
              <a:effectLst/>
              <a:uLnTx/>
              <a:uFillTx/>
              <a:latin typeface="Quicksand" pitchFamily="2" charset="0"/>
            </a:endParaRPr>
          </a:p>
        </p:txBody>
      </p:sp>
    </p:spTree>
    <p:extLst>
      <p:ext uri="{BB962C8B-B14F-4D97-AF65-F5344CB8AC3E}">
        <p14:creationId xmlns:p14="http://schemas.microsoft.com/office/powerpoint/2010/main" val="3626681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Rectangle: Rounded Corners 151">
            <a:extLst>
              <a:ext uri="{FF2B5EF4-FFF2-40B4-BE49-F238E27FC236}">
                <a16:creationId xmlns:a16="http://schemas.microsoft.com/office/drawing/2014/main" id="{17C5594D-5C6B-1183-491D-C03F515472F9}"/>
              </a:ext>
            </a:extLst>
          </p:cNvPr>
          <p:cNvSpPr/>
          <p:nvPr/>
        </p:nvSpPr>
        <p:spPr>
          <a:xfrm>
            <a:off x="4398650" y="2452759"/>
            <a:ext cx="1246106" cy="343652"/>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Rectangle: Rounded Corners 103">
            <a:extLst>
              <a:ext uri="{FF2B5EF4-FFF2-40B4-BE49-F238E27FC236}">
                <a16:creationId xmlns:a16="http://schemas.microsoft.com/office/drawing/2014/main" id="{98DA434C-78AD-397B-FE5E-4302225CCE5A}"/>
              </a:ext>
            </a:extLst>
          </p:cNvPr>
          <p:cNvSpPr/>
          <p:nvPr/>
        </p:nvSpPr>
        <p:spPr>
          <a:xfrm>
            <a:off x="7861697" y="1352915"/>
            <a:ext cx="1974056" cy="882370"/>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C0C0C"/>
                </a:solidFill>
                <a:effectLst/>
                <a:uLnTx/>
                <a:uFillTx/>
                <a:latin typeface="Calibri" panose="020F0502020204030204"/>
                <a:ea typeface="+mn-ea"/>
                <a:cs typeface="+mn-cs"/>
              </a:rPr>
              <a:t>D30 Strategy</a:t>
            </a:r>
          </a:p>
        </p:txBody>
      </p:sp>
      <p:sp>
        <p:nvSpPr>
          <p:cNvPr id="19" name="Rectangle: Rounded Corners 18">
            <a:extLst>
              <a:ext uri="{FF2B5EF4-FFF2-40B4-BE49-F238E27FC236}">
                <a16:creationId xmlns:a16="http://schemas.microsoft.com/office/drawing/2014/main" id="{9E113B76-2D29-87AA-B4B0-73040133E2C8}"/>
              </a:ext>
            </a:extLst>
          </p:cNvPr>
          <p:cNvSpPr/>
          <p:nvPr/>
        </p:nvSpPr>
        <p:spPr>
          <a:xfrm>
            <a:off x="8232786" y="4866734"/>
            <a:ext cx="2068116" cy="800219"/>
          </a:xfrm>
          <a:prstGeom prst="round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C0C0C"/>
                </a:solidFill>
                <a:effectLst/>
                <a:uLnTx/>
                <a:uFillTx/>
                <a:latin typeface="Calibri" panose="020F0502020204030204"/>
                <a:ea typeface="+mn-ea"/>
                <a:cs typeface="+mn-cs"/>
              </a:rPr>
              <a:t>Service provider Involvement </a:t>
            </a:r>
          </a:p>
        </p:txBody>
      </p:sp>
      <p:sp>
        <p:nvSpPr>
          <p:cNvPr id="18" name="Rectangle: Rounded Corners 17">
            <a:extLst>
              <a:ext uri="{FF2B5EF4-FFF2-40B4-BE49-F238E27FC236}">
                <a16:creationId xmlns:a16="http://schemas.microsoft.com/office/drawing/2014/main" id="{E476BF99-1C13-22B0-9E24-59EB34303E8E}"/>
              </a:ext>
            </a:extLst>
          </p:cNvPr>
          <p:cNvSpPr/>
          <p:nvPr/>
        </p:nvSpPr>
        <p:spPr>
          <a:xfrm>
            <a:off x="914400" y="4914900"/>
            <a:ext cx="1695451" cy="6463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C0C0C"/>
                </a:solidFill>
                <a:effectLst/>
                <a:uLnTx/>
                <a:uFillTx/>
                <a:latin typeface="Calibri" panose="020F0502020204030204"/>
                <a:ea typeface="+mn-ea"/>
                <a:cs typeface="+mn-cs"/>
              </a:rPr>
              <a:t>Community Showroom</a:t>
            </a:r>
          </a:p>
        </p:txBody>
      </p:sp>
      <p:sp>
        <p:nvSpPr>
          <p:cNvPr id="17" name="Rectangle: Rounded Corners 16">
            <a:extLst>
              <a:ext uri="{FF2B5EF4-FFF2-40B4-BE49-F238E27FC236}">
                <a16:creationId xmlns:a16="http://schemas.microsoft.com/office/drawing/2014/main" id="{032A7A96-B930-08A1-DCF6-608C593580B7}"/>
              </a:ext>
            </a:extLst>
          </p:cNvPr>
          <p:cNvSpPr/>
          <p:nvPr/>
        </p:nvSpPr>
        <p:spPr>
          <a:xfrm>
            <a:off x="2581276" y="1317498"/>
            <a:ext cx="4743450" cy="919514"/>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Rectangle: Rounded Corners 15">
            <a:extLst>
              <a:ext uri="{FF2B5EF4-FFF2-40B4-BE49-F238E27FC236}">
                <a16:creationId xmlns:a16="http://schemas.microsoft.com/office/drawing/2014/main" id="{927B662D-CA84-DFF2-233C-7C7EBD1862F3}"/>
              </a:ext>
            </a:extLst>
          </p:cNvPr>
          <p:cNvSpPr/>
          <p:nvPr/>
        </p:nvSpPr>
        <p:spPr>
          <a:xfrm>
            <a:off x="8400069" y="3018341"/>
            <a:ext cx="1733550" cy="666037"/>
          </a:xfrm>
          <a:prstGeom prst="round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C0C0C"/>
                </a:solidFill>
                <a:effectLst/>
                <a:uLnTx/>
                <a:uFillTx/>
                <a:latin typeface="Calibri" panose="020F0502020204030204"/>
                <a:ea typeface="+mn-ea"/>
                <a:cs typeface="+mn-cs"/>
              </a:rPr>
              <a:t>EF DISTRICT</a:t>
            </a:r>
          </a:p>
        </p:txBody>
      </p:sp>
      <p:sp>
        <p:nvSpPr>
          <p:cNvPr id="15" name="Rectangle: Rounded Corners 14">
            <a:extLst>
              <a:ext uri="{FF2B5EF4-FFF2-40B4-BE49-F238E27FC236}">
                <a16:creationId xmlns:a16="http://schemas.microsoft.com/office/drawing/2014/main" id="{A9583AB9-6FE9-E1FB-45F6-C19389E293CB}"/>
              </a:ext>
            </a:extLst>
          </p:cNvPr>
          <p:cNvSpPr/>
          <p:nvPr/>
        </p:nvSpPr>
        <p:spPr>
          <a:xfrm>
            <a:off x="914400" y="3001616"/>
            <a:ext cx="1733550" cy="6463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C0C0C"/>
                </a:solidFill>
                <a:effectLst/>
                <a:uLnTx/>
                <a:uFillTx/>
                <a:latin typeface="Calibri" panose="020F0502020204030204"/>
                <a:ea typeface="+mn-ea"/>
                <a:cs typeface="+mn-cs"/>
              </a:rPr>
              <a:t>DSC</a:t>
            </a:r>
          </a:p>
        </p:txBody>
      </p:sp>
      <p:sp>
        <p:nvSpPr>
          <p:cNvPr id="5" name="Text Placeholder 4">
            <a:extLst>
              <a:ext uri="{FF2B5EF4-FFF2-40B4-BE49-F238E27FC236}">
                <a16:creationId xmlns:a16="http://schemas.microsoft.com/office/drawing/2014/main" id="{C290A602-370B-4560-A1E0-E9BD64D81B64}"/>
              </a:ext>
            </a:extLst>
          </p:cNvPr>
          <p:cNvSpPr>
            <a:spLocks noGrp="1"/>
          </p:cNvSpPr>
          <p:nvPr>
            <p:ph type="body" sz="quarter" idx="3"/>
          </p:nvPr>
        </p:nvSpPr>
        <p:spPr>
          <a:xfrm>
            <a:off x="266700" y="280028"/>
            <a:ext cx="11734799" cy="800219"/>
          </a:xfrm>
          <a:noFill/>
        </p:spPr>
        <p:txBody>
          <a:bodyPr vert="horz" lIns="91440" tIns="45720" rIns="91440" bIns="45720" rtlCol="0" anchor="ctr">
            <a:normAutofit fontScale="92500" lnSpcReduction="20000"/>
          </a:bodyPr>
          <a:lstStyle/>
          <a:p>
            <a:pPr>
              <a:spcBef>
                <a:spcPct val="0"/>
              </a:spcBef>
            </a:pPr>
            <a:r>
              <a:rPr lang="en-US" sz="3200" b="0" dirty="0">
                <a:solidFill>
                  <a:schemeClr val="bg2"/>
                </a:solidFill>
                <a:latin typeface="Quicksand" pitchFamily="2" charset="0"/>
                <a:ea typeface="Calibri" panose="020F0502020204030204" pitchFamily="34" charset="0"/>
              </a:rPr>
              <a:t>R</a:t>
            </a:r>
            <a:r>
              <a:rPr lang="en-US" sz="3200" b="0" dirty="0">
                <a:solidFill>
                  <a:schemeClr val="bg2"/>
                </a:solidFill>
                <a:effectLst/>
                <a:latin typeface="Quicksand" pitchFamily="2" charset="0"/>
                <a:ea typeface="Calibri" panose="020F0502020204030204" pitchFamily="34" charset="0"/>
              </a:rPr>
              <a:t>oles played by DCSs </a:t>
            </a:r>
            <a:r>
              <a:rPr lang="en-US" sz="3200" b="0" dirty="0">
                <a:solidFill>
                  <a:schemeClr val="bg2"/>
                </a:solidFill>
                <a:latin typeface="Quicksand" pitchFamily="2" charset="0"/>
                <a:ea typeface="Calibri" panose="020F0502020204030204" pitchFamily="34" charset="0"/>
              </a:rPr>
              <a:t>to B</a:t>
            </a:r>
            <a:r>
              <a:rPr lang="en-US" sz="3200" b="0" dirty="0">
                <a:solidFill>
                  <a:schemeClr val="bg2"/>
                </a:solidFill>
                <a:effectLst/>
                <a:latin typeface="Quicksand" pitchFamily="2" charset="0"/>
                <a:ea typeface="Calibri" panose="020F0502020204030204" pitchFamily="34" charset="0"/>
              </a:rPr>
              <a:t>roader Sanitation and Hygiene </a:t>
            </a:r>
            <a:r>
              <a:rPr lang="en-US" sz="3200" b="0" dirty="0">
                <a:solidFill>
                  <a:schemeClr val="bg2"/>
                </a:solidFill>
                <a:latin typeface="Quicksand" pitchFamily="2" charset="0"/>
                <a:ea typeface="Calibri" panose="020F0502020204030204" pitchFamily="34" charset="0"/>
              </a:rPr>
              <a:t>P</a:t>
            </a:r>
            <a:r>
              <a:rPr lang="en-US" sz="3200" b="0" dirty="0">
                <a:solidFill>
                  <a:schemeClr val="bg2"/>
                </a:solidFill>
                <a:effectLst/>
                <a:latin typeface="Quicksand" pitchFamily="2" charset="0"/>
                <a:ea typeface="Calibri" panose="020F0502020204030204" pitchFamily="34" charset="0"/>
              </a:rPr>
              <a:t>romotion </a:t>
            </a:r>
            <a:r>
              <a:rPr lang="en-US" sz="3200" b="0" dirty="0">
                <a:solidFill>
                  <a:schemeClr val="bg2"/>
                </a:solidFill>
                <a:latin typeface="Quicksand" pitchFamily="2" charset="0"/>
                <a:ea typeface="Calibri" panose="020F0502020204030204" pitchFamily="34" charset="0"/>
              </a:rPr>
              <a:t>A</a:t>
            </a:r>
            <a:r>
              <a:rPr lang="en-US" sz="3200" b="0" dirty="0">
                <a:solidFill>
                  <a:schemeClr val="bg2"/>
                </a:solidFill>
                <a:effectLst/>
                <a:latin typeface="Quicksand" pitchFamily="2" charset="0"/>
                <a:ea typeface="Calibri" panose="020F0502020204030204" pitchFamily="34" charset="0"/>
              </a:rPr>
              <a:t>pproach</a:t>
            </a:r>
            <a:endParaRPr lang="en-US" sz="3200" b="0" dirty="0">
              <a:solidFill>
                <a:schemeClr val="bg2"/>
              </a:solidFill>
              <a:latin typeface="Quicksand" pitchFamily="2" charset="0"/>
              <a:ea typeface="+mj-ea"/>
              <a:cs typeface="+mj-cs"/>
            </a:endParaRPr>
          </a:p>
        </p:txBody>
      </p:sp>
      <p:sp>
        <p:nvSpPr>
          <p:cNvPr id="10" name="TextBox 9">
            <a:extLst>
              <a:ext uri="{FF2B5EF4-FFF2-40B4-BE49-F238E27FC236}">
                <a16:creationId xmlns:a16="http://schemas.microsoft.com/office/drawing/2014/main" id="{B93445CD-4872-3802-0352-31E7D0488B4A}"/>
              </a:ext>
            </a:extLst>
          </p:cNvPr>
          <p:cNvSpPr txBox="1"/>
          <p:nvPr/>
        </p:nvSpPr>
        <p:spPr>
          <a:xfrm>
            <a:off x="2724151" y="1398285"/>
            <a:ext cx="4457701"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C0C0C"/>
                </a:solidFill>
                <a:effectLst/>
                <a:uLnTx/>
                <a:uFillTx/>
                <a:latin typeface="Calibri" panose="020F0502020204030204"/>
                <a:ea typeface="+mn-ea"/>
                <a:cs typeface="+mn-cs"/>
              </a:rPr>
              <a:t>National Sanitation Policy and Strateg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C0C0C"/>
                </a:solidFill>
                <a:effectLst/>
                <a:uLnTx/>
                <a:uFillTx/>
                <a:latin typeface="Calibri" panose="020F0502020204030204"/>
                <a:ea typeface="+mn-ea"/>
                <a:cs typeface="+mn-cs"/>
              </a:rPr>
              <a:t>DSC as a tool of the strategy to reach NST1 by 2024 and SDG#6 by 2030</a:t>
            </a:r>
          </a:p>
        </p:txBody>
      </p:sp>
      <p:sp>
        <p:nvSpPr>
          <p:cNvPr id="20" name="Rectangle: Rounded Corners 19">
            <a:extLst>
              <a:ext uri="{FF2B5EF4-FFF2-40B4-BE49-F238E27FC236}">
                <a16:creationId xmlns:a16="http://schemas.microsoft.com/office/drawing/2014/main" id="{6603FFCE-8CBE-6AC5-503F-FA946B04D4B4}"/>
              </a:ext>
            </a:extLst>
          </p:cNvPr>
          <p:cNvSpPr/>
          <p:nvPr/>
        </p:nvSpPr>
        <p:spPr>
          <a:xfrm>
            <a:off x="4533899" y="5944864"/>
            <a:ext cx="1847850" cy="800219"/>
          </a:xfrm>
          <a:prstGeom prst="round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C0C0C"/>
                </a:solidFill>
                <a:effectLst/>
                <a:uLnTx/>
                <a:uFillTx/>
                <a:latin typeface="Calibri" panose="020F0502020204030204"/>
                <a:ea typeface="+mn-ea"/>
                <a:cs typeface="+mn-cs"/>
              </a:rPr>
              <a:t>Community involvement </a:t>
            </a:r>
          </a:p>
        </p:txBody>
      </p:sp>
      <p:sp>
        <p:nvSpPr>
          <p:cNvPr id="22" name="TextBox 21">
            <a:extLst>
              <a:ext uri="{FF2B5EF4-FFF2-40B4-BE49-F238E27FC236}">
                <a16:creationId xmlns:a16="http://schemas.microsoft.com/office/drawing/2014/main" id="{56F501A6-E0EF-824E-39BB-7D6140ABE3D7}"/>
              </a:ext>
            </a:extLst>
          </p:cNvPr>
          <p:cNvSpPr txBox="1"/>
          <p:nvPr/>
        </p:nvSpPr>
        <p:spPr>
          <a:xfrm>
            <a:off x="139067" y="3998011"/>
            <a:ext cx="157796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C0C0C"/>
                </a:solidFill>
                <a:effectLst/>
                <a:uLnTx/>
                <a:uFillTx/>
                <a:latin typeface="Calibri" panose="020F0502020204030204"/>
                <a:ea typeface="+mn-ea"/>
                <a:cs typeface="+mn-cs"/>
              </a:rPr>
              <a:t>Micro franchising model</a:t>
            </a:r>
          </a:p>
        </p:txBody>
      </p:sp>
      <p:sp>
        <p:nvSpPr>
          <p:cNvPr id="23" name="Oval 22">
            <a:extLst>
              <a:ext uri="{FF2B5EF4-FFF2-40B4-BE49-F238E27FC236}">
                <a16:creationId xmlns:a16="http://schemas.microsoft.com/office/drawing/2014/main" id="{F8A7C244-E4CE-8D7A-A50C-CE9497604B36}"/>
              </a:ext>
            </a:extLst>
          </p:cNvPr>
          <p:cNvSpPr/>
          <p:nvPr/>
        </p:nvSpPr>
        <p:spPr>
          <a:xfrm>
            <a:off x="3544284" y="3247872"/>
            <a:ext cx="3895305" cy="2000250"/>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DISTRIC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supported by Partn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is responsible for Planning, Technical Assistance, M&amp;E</a:t>
            </a:r>
          </a:p>
        </p:txBody>
      </p:sp>
      <p:cxnSp>
        <p:nvCxnSpPr>
          <p:cNvPr id="32" name="Straight Arrow Connector 31">
            <a:extLst>
              <a:ext uri="{FF2B5EF4-FFF2-40B4-BE49-F238E27FC236}">
                <a16:creationId xmlns:a16="http://schemas.microsoft.com/office/drawing/2014/main" id="{2EA8C0E1-B94A-1631-F901-5A629B096A6D}"/>
              </a:ext>
            </a:extLst>
          </p:cNvPr>
          <p:cNvCxnSpPr>
            <a:cxnSpLocks/>
            <a:stCxn id="104" idx="2"/>
          </p:cNvCxnSpPr>
          <p:nvPr/>
        </p:nvCxnSpPr>
        <p:spPr>
          <a:xfrm>
            <a:off x="8848725" y="2235285"/>
            <a:ext cx="408255" cy="86798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FFF5D969-B570-3F78-A0FA-5E9C82E50346}"/>
              </a:ext>
            </a:extLst>
          </p:cNvPr>
          <p:cNvCxnSpPr>
            <a:cxnSpLocks/>
          </p:cNvCxnSpPr>
          <p:nvPr/>
        </p:nvCxnSpPr>
        <p:spPr>
          <a:xfrm>
            <a:off x="9344024" y="3647947"/>
            <a:ext cx="0" cy="119211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0ACC199-EAB0-A435-6C48-25279010256C}"/>
              </a:ext>
            </a:extLst>
          </p:cNvPr>
          <p:cNvCxnSpPr>
            <a:cxnSpLocks/>
          </p:cNvCxnSpPr>
          <p:nvPr/>
        </p:nvCxnSpPr>
        <p:spPr>
          <a:xfrm flipH="1">
            <a:off x="1647825" y="2172306"/>
            <a:ext cx="952501" cy="87209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4F3C86DE-957A-B2A5-098C-03CA4D791CC5}"/>
              </a:ext>
            </a:extLst>
          </p:cNvPr>
          <p:cNvCxnSpPr>
            <a:cxnSpLocks/>
          </p:cNvCxnSpPr>
          <p:nvPr/>
        </p:nvCxnSpPr>
        <p:spPr>
          <a:xfrm flipH="1">
            <a:off x="1628775" y="3615214"/>
            <a:ext cx="33338" cy="130921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DF617A70-9219-B8F2-5527-287CF28D0A23}"/>
              </a:ext>
            </a:extLst>
          </p:cNvPr>
          <p:cNvSpPr txBox="1"/>
          <p:nvPr/>
        </p:nvSpPr>
        <p:spPr>
          <a:xfrm>
            <a:off x="1531430" y="5727300"/>
            <a:ext cx="169544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C0C0C"/>
                </a:solidFill>
                <a:effectLst/>
                <a:uLnTx/>
                <a:uFillTx/>
                <a:latin typeface="Calibri" panose="020F0502020204030204"/>
                <a:ea typeface="+mn-ea"/>
                <a:cs typeface="+mn-cs"/>
              </a:rPr>
              <a:t>Demand creation</a:t>
            </a:r>
          </a:p>
        </p:txBody>
      </p:sp>
      <p:sp>
        <p:nvSpPr>
          <p:cNvPr id="60" name="TextBox 59">
            <a:extLst>
              <a:ext uri="{FF2B5EF4-FFF2-40B4-BE49-F238E27FC236}">
                <a16:creationId xmlns:a16="http://schemas.microsoft.com/office/drawing/2014/main" id="{B52118A1-3D51-6BD6-C34F-50A9ADB0475C}"/>
              </a:ext>
            </a:extLst>
          </p:cNvPr>
          <p:cNvSpPr txBox="1"/>
          <p:nvPr/>
        </p:nvSpPr>
        <p:spPr>
          <a:xfrm flipH="1">
            <a:off x="7352522" y="6040813"/>
            <a:ext cx="127635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0C0C"/>
                </a:solidFill>
                <a:effectLst/>
                <a:uLnTx/>
                <a:uFillTx/>
                <a:latin typeface="Calibri" panose="020F0502020204030204"/>
                <a:ea typeface="+mn-ea"/>
                <a:cs typeface="+mn-cs"/>
              </a:rPr>
              <a:t>User committees</a:t>
            </a:r>
          </a:p>
        </p:txBody>
      </p:sp>
      <p:sp>
        <p:nvSpPr>
          <p:cNvPr id="73" name="TextBox 72">
            <a:extLst>
              <a:ext uri="{FF2B5EF4-FFF2-40B4-BE49-F238E27FC236}">
                <a16:creationId xmlns:a16="http://schemas.microsoft.com/office/drawing/2014/main" id="{2246B084-BC23-C474-E5FB-2D2375143D85}"/>
              </a:ext>
            </a:extLst>
          </p:cNvPr>
          <p:cNvSpPr txBox="1"/>
          <p:nvPr/>
        </p:nvSpPr>
        <p:spPr>
          <a:xfrm>
            <a:off x="3544709" y="5491670"/>
            <a:ext cx="2108946"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0C0C"/>
                </a:solidFill>
                <a:effectLst/>
                <a:uLnTx/>
                <a:uFillTx/>
                <a:latin typeface="Calibri" panose="020F0502020204030204"/>
                <a:ea typeface="+mn-ea"/>
                <a:cs typeface="+mn-cs"/>
              </a:rPr>
              <a:t>WASH Service delivery</a:t>
            </a:r>
          </a:p>
        </p:txBody>
      </p:sp>
      <p:sp>
        <p:nvSpPr>
          <p:cNvPr id="77" name="TextBox 76">
            <a:extLst>
              <a:ext uri="{FF2B5EF4-FFF2-40B4-BE49-F238E27FC236}">
                <a16:creationId xmlns:a16="http://schemas.microsoft.com/office/drawing/2014/main" id="{EE6C30AC-48FA-6BA9-9852-3B7D4C53ACCB}"/>
              </a:ext>
            </a:extLst>
          </p:cNvPr>
          <p:cNvSpPr txBox="1"/>
          <p:nvPr/>
        </p:nvSpPr>
        <p:spPr>
          <a:xfrm>
            <a:off x="1770440" y="6021622"/>
            <a:ext cx="213466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0C0C"/>
                </a:solidFill>
                <a:effectLst/>
                <a:uLnTx/>
                <a:uFillTx/>
                <a:latin typeface="Calibri" panose="020F0502020204030204"/>
                <a:ea typeface="+mn-ea"/>
                <a:cs typeface="+mn-cs"/>
              </a:rPr>
              <a:t>Community saving groups</a:t>
            </a:r>
          </a:p>
        </p:txBody>
      </p:sp>
      <p:sp>
        <p:nvSpPr>
          <p:cNvPr id="76" name="TextBox 75">
            <a:extLst>
              <a:ext uri="{FF2B5EF4-FFF2-40B4-BE49-F238E27FC236}">
                <a16:creationId xmlns:a16="http://schemas.microsoft.com/office/drawing/2014/main" id="{88BEE7C1-62DE-C943-9764-DC4ED6D749B0}"/>
              </a:ext>
            </a:extLst>
          </p:cNvPr>
          <p:cNvSpPr txBox="1"/>
          <p:nvPr/>
        </p:nvSpPr>
        <p:spPr>
          <a:xfrm>
            <a:off x="4521641" y="2482145"/>
            <a:ext cx="10001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C0C0C"/>
                </a:solidFill>
                <a:effectLst/>
                <a:uLnTx/>
                <a:uFillTx/>
                <a:latin typeface="Calibri" panose="020F0502020204030204"/>
                <a:ea typeface="+mn-ea"/>
                <a:cs typeface="+mn-cs"/>
              </a:rPr>
              <a:t>CBEHPP</a:t>
            </a:r>
          </a:p>
        </p:txBody>
      </p:sp>
      <p:cxnSp>
        <p:nvCxnSpPr>
          <p:cNvPr id="84" name="Straight Arrow Connector 83">
            <a:extLst>
              <a:ext uri="{FF2B5EF4-FFF2-40B4-BE49-F238E27FC236}">
                <a16:creationId xmlns:a16="http://schemas.microsoft.com/office/drawing/2014/main" id="{A92D8952-2D7C-12E7-9C04-396DFDE3F333}"/>
              </a:ext>
            </a:extLst>
          </p:cNvPr>
          <p:cNvCxnSpPr>
            <a:cxnSpLocks/>
          </p:cNvCxnSpPr>
          <p:nvPr/>
        </p:nvCxnSpPr>
        <p:spPr>
          <a:xfrm>
            <a:off x="6941757" y="4971820"/>
            <a:ext cx="1277127" cy="387967"/>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8DE94B12-A544-1FD7-7226-AA30F694B415}"/>
              </a:ext>
            </a:extLst>
          </p:cNvPr>
          <p:cNvCxnSpPr>
            <a:cxnSpLocks/>
          </p:cNvCxnSpPr>
          <p:nvPr/>
        </p:nvCxnSpPr>
        <p:spPr>
          <a:xfrm flipV="1">
            <a:off x="7324726" y="3503489"/>
            <a:ext cx="1058821" cy="386988"/>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47B58635-86AB-04B6-8D22-7C2E118C40D6}"/>
              </a:ext>
            </a:extLst>
          </p:cNvPr>
          <p:cNvCxnSpPr>
            <a:cxnSpLocks/>
            <a:endCxn id="15" idx="3"/>
          </p:cNvCxnSpPr>
          <p:nvPr/>
        </p:nvCxnSpPr>
        <p:spPr>
          <a:xfrm flipH="1" flipV="1">
            <a:off x="2647950" y="3324782"/>
            <a:ext cx="1152525" cy="363234"/>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4CDC7B98-5980-7047-7805-DC1C2C90074E}"/>
              </a:ext>
            </a:extLst>
          </p:cNvPr>
          <p:cNvCxnSpPr>
            <a:cxnSpLocks/>
          </p:cNvCxnSpPr>
          <p:nvPr/>
        </p:nvCxnSpPr>
        <p:spPr>
          <a:xfrm flipH="1">
            <a:off x="2600326" y="4882416"/>
            <a:ext cx="1286653" cy="484746"/>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5621DB69-3E87-37A8-9EEE-AF1EB48C592F}"/>
              </a:ext>
            </a:extLst>
          </p:cNvPr>
          <p:cNvCxnSpPr>
            <a:cxnSpLocks/>
          </p:cNvCxnSpPr>
          <p:nvPr/>
        </p:nvCxnSpPr>
        <p:spPr>
          <a:xfrm flipH="1">
            <a:off x="5478067" y="2284229"/>
            <a:ext cx="8335" cy="99934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ED7F813F-B0F9-58B0-92AA-D804C7ED0C21}"/>
              </a:ext>
            </a:extLst>
          </p:cNvPr>
          <p:cNvCxnSpPr>
            <a:cxnSpLocks/>
          </p:cNvCxnSpPr>
          <p:nvPr/>
        </p:nvCxnSpPr>
        <p:spPr>
          <a:xfrm flipV="1">
            <a:off x="7239002" y="1849404"/>
            <a:ext cx="679845" cy="6141"/>
          </a:xfrm>
          <a:prstGeom prst="straightConnector1">
            <a:avLst/>
          </a:prstGeom>
          <a:ln w="571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06427CE8-5943-9C78-1B6E-ABE30C1348EF}"/>
              </a:ext>
            </a:extLst>
          </p:cNvPr>
          <p:cNvCxnSpPr>
            <a:cxnSpLocks/>
            <a:endCxn id="20" idx="1"/>
          </p:cNvCxnSpPr>
          <p:nvPr/>
        </p:nvCxnSpPr>
        <p:spPr>
          <a:xfrm>
            <a:off x="1743076" y="5570756"/>
            <a:ext cx="2790823" cy="77421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B91A485E-643D-8252-87CE-FFBD306969DB}"/>
              </a:ext>
            </a:extLst>
          </p:cNvPr>
          <p:cNvCxnSpPr>
            <a:cxnSpLocks/>
            <a:stCxn id="20" idx="3"/>
            <a:endCxn id="19" idx="2"/>
          </p:cNvCxnSpPr>
          <p:nvPr/>
        </p:nvCxnSpPr>
        <p:spPr>
          <a:xfrm flipV="1">
            <a:off x="6381749" y="5666953"/>
            <a:ext cx="2885095" cy="67802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E50EDB50-AB5D-6182-DFF6-CF385AA058CC}"/>
              </a:ext>
            </a:extLst>
          </p:cNvPr>
          <p:cNvCxnSpPr>
            <a:cxnSpLocks/>
          </p:cNvCxnSpPr>
          <p:nvPr/>
        </p:nvCxnSpPr>
        <p:spPr>
          <a:xfrm>
            <a:off x="5410975" y="5257115"/>
            <a:ext cx="0" cy="706798"/>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A759FA15-3310-D2CB-0141-1E92263A316D}"/>
              </a:ext>
            </a:extLst>
          </p:cNvPr>
          <p:cNvSpPr txBox="1"/>
          <p:nvPr/>
        </p:nvSpPr>
        <p:spPr>
          <a:xfrm>
            <a:off x="9266844" y="4204291"/>
            <a:ext cx="125729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0C0C"/>
                </a:solidFill>
                <a:effectLst/>
                <a:uLnTx/>
                <a:uFillTx/>
                <a:latin typeface="Calibri" panose="020F0502020204030204"/>
                <a:ea typeface="+mn-ea"/>
                <a:cs typeface="+mn-cs"/>
              </a:rPr>
              <a:t>WASH Board</a:t>
            </a:r>
          </a:p>
        </p:txBody>
      </p:sp>
      <p:sp>
        <p:nvSpPr>
          <p:cNvPr id="147" name="TextBox 146">
            <a:extLst>
              <a:ext uri="{FF2B5EF4-FFF2-40B4-BE49-F238E27FC236}">
                <a16:creationId xmlns:a16="http://schemas.microsoft.com/office/drawing/2014/main" id="{0D159A5D-3CD0-33A1-33BD-1E3D74B31448}"/>
              </a:ext>
            </a:extLst>
          </p:cNvPr>
          <p:cNvSpPr txBox="1"/>
          <p:nvPr/>
        </p:nvSpPr>
        <p:spPr>
          <a:xfrm>
            <a:off x="7156135" y="2153133"/>
            <a:ext cx="13620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0C0C"/>
                </a:solidFill>
                <a:effectLst/>
                <a:uLnTx/>
                <a:uFillTx/>
                <a:latin typeface="Calibri" panose="020F0502020204030204"/>
                <a:ea typeface="+mn-ea"/>
                <a:cs typeface="+mn-cs"/>
              </a:rPr>
              <a:t>Influencing</a:t>
            </a:r>
          </a:p>
        </p:txBody>
      </p:sp>
      <p:sp>
        <p:nvSpPr>
          <p:cNvPr id="148" name="TextBox 147">
            <a:extLst>
              <a:ext uri="{FF2B5EF4-FFF2-40B4-BE49-F238E27FC236}">
                <a16:creationId xmlns:a16="http://schemas.microsoft.com/office/drawing/2014/main" id="{8B411F84-A8A8-DA34-CEA5-0A2825EFEAEA}"/>
              </a:ext>
            </a:extLst>
          </p:cNvPr>
          <p:cNvSpPr txBox="1"/>
          <p:nvPr/>
        </p:nvSpPr>
        <p:spPr>
          <a:xfrm>
            <a:off x="8729430" y="2366838"/>
            <a:ext cx="145851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0C0C"/>
                </a:solidFill>
                <a:effectLst/>
                <a:uLnTx/>
                <a:uFillTx/>
                <a:latin typeface="Calibri" panose="020F0502020204030204"/>
                <a:ea typeface="+mn-ea"/>
                <a:cs typeface="+mn-cs"/>
              </a:rPr>
              <a:t>Sector working Group</a:t>
            </a:r>
          </a:p>
        </p:txBody>
      </p:sp>
      <p:sp>
        <p:nvSpPr>
          <p:cNvPr id="151" name="TextBox 150">
            <a:extLst>
              <a:ext uri="{FF2B5EF4-FFF2-40B4-BE49-F238E27FC236}">
                <a16:creationId xmlns:a16="http://schemas.microsoft.com/office/drawing/2014/main" id="{8AA8511F-DF41-D289-7D3B-596A7C9158E4}"/>
              </a:ext>
            </a:extLst>
          </p:cNvPr>
          <p:cNvSpPr txBox="1"/>
          <p:nvPr/>
        </p:nvSpPr>
        <p:spPr>
          <a:xfrm>
            <a:off x="2486026" y="6344975"/>
            <a:ext cx="204787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0C0C"/>
                </a:solidFill>
                <a:effectLst/>
                <a:uLnTx/>
                <a:uFillTx/>
                <a:latin typeface="Calibri" panose="020F0502020204030204"/>
                <a:ea typeface="+mn-ea"/>
                <a:cs typeface="+mn-cs"/>
              </a:rPr>
              <a:t>Self-construction of latrines</a:t>
            </a:r>
          </a:p>
        </p:txBody>
      </p:sp>
      <p:cxnSp>
        <p:nvCxnSpPr>
          <p:cNvPr id="154" name="Straight Arrow Connector 153">
            <a:extLst>
              <a:ext uri="{FF2B5EF4-FFF2-40B4-BE49-F238E27FC236}">
                <a16:creationId xmlns:a16="http://schemas.microsoft.com/office/drawing/2014/main" id="{6C112963-FC84-22E5-206C-B07A284B7A2D}"/>
              </a:ext>
            </a:extLst>
          </p:cNvPr>
          <p:cNvCxnSpPr>
            <a:cxnSpLocks/>
            <a:endCxn id="76" idx="0"/>
          </p:cNvCxnSpPr>
          <p:nvPr/>
        </p:nvCxnSpPr>
        <p:spPr>
          <a:xfrm flipH="1">
            <a:off x="5021703" y="2246537"/>
            <a:ext cx="14163" cy="235608"/>
          </a:xfrm>
          <a:prstGeom prst="straightConnector1">
            <a:avLst/>
          </a:prstGeom>
          <a:ln w="571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8" name="TextBox 157">
            <a:extLst>
              <a:ext uri="{FF2B5EF4-FFF2-40B4-BE49-F238E27FC236}">
                <a16:creationId xmlns:a16="http://schemas.microsoft.com/office/drawing/2014/main" id="{2AF95855-71C8-7BDF-9CCB-5B1FDAFD8FFD}"/>
              </a:ext>
            </a:extLst>
          </p:cNvPr>
          <p:cNvSpPr txBox="1"/>
          <p:nvPr/>
        </p:nvSpPr>
        <p:spPr>
          <a:xfrm>
            <a:off x="876301" y="2207614"/>
            <a:ext cx="173355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C0C0C"/>
                </a:solidFill>
                <a:effectLst/>
                <a:uLnTx/>
                <a:uFillTx/>
                <a:latin typeface="Calibri" panose="020F0502020204030204"/>
                <a:ea typeface="+mn-ea"/>
                <a:cs typeface="+mn-cs"/>
              </a:rPr>
              <a:t>Enabling environment, </a:t>
            </a:r>
            <a:r>
              <a:rPr kumimoji="0" lang="en-US" sz="1200" b="0" i="0" u="none" strike="noStrike" kern="1200" cap="none" spc="0" normalizeH="0" baseline="0" noProof="0" dirty="0">
                <a:ln>
                  <a:noFill/>
                </a:ln>
                <a:solidFill>
                  <a:srgbClr val="0C0C0C"/>
                </a:solidFill>
                <a:effectLst/>
                <a:uLnTx/>
                <a:uFillTx/>
                <a:latin typeface="Calibri" panose="020F0502020204030204"/>
                <a:ea typeface="+mn-ea"/>
                <a:cs typeface="+mn-cs"/>
              </a:rPr>
              <a:t>Innovations</a:t>
            </a:r>
          </a:p>
        </p:txBody>
      </p:sp>
      <p:cxnSp>
        <p:nvCxnSpPr>
          <p:cNvPr id="162" name="Straight Arrow Connector 161">
            <a:extLst>
              <a:ext uri="{FF2B5EF4-FFF2-40B4-BE49-F238E27FC236}">
                <a16:creationId xmlns:a16="http://schemas.microsoft.com/office/drawing/2014/main" id="{30D8ABE9-8F01-A6FC-4B22-47B3FDFE6032}"/>
              </a:ext>
            </a:extLst>
          </p:cNvPr>
          <p:cNvCxnSpPr/>
          <p:nvPr/>
        </p:nvCxnSpPr>
        <p:spPr>
          <a:xfrm flipH="1" flipV="1">
            <a:off x="2581276" y="3076579"/>
            <a:ext cx="5791198" cy="4507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380175C2-ECBD-2EDD-BCED-03829FAC2026}"/>
              </a:ext>
            </a:extLst>
          </p:cNvPr>
          <p:cNvCxnSpPr>
            <a:cxnSpLocks/>
          </p:cNvCxnSpPr>
          <p:nvPr/>
        </p:nvCxnSpPr>
        <p:spPr>
          <a:xfrm flipH="1" flipV="1">
            <a:off x="2609851" y="5438091"/>
            <a:ext cx="5609034" cy="211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D2B91DCB-9020-0964-0BD8-DD52137A0206}"/>
              </a:ext>
            </a:extLst>
          </p:cNvPr>
          <p:cNvSpPr txBox="1"/>
          <p:nvPr/>
        </p:nvSpPr>
        <p:spPr>
          <a:xfrm>
            <a:off x="3485604" y="2829889"/>
            <a:ext cx="26003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0C0C"/>
                </a:solidFill>
                <a:effectLst/>
                <a:uLnTx/>
                <a:uFillTx/>
                <a:latin typeface="Calibri" panose="020F0502020204030204"/>
                <a:ea typeface="+mn-ea"/>
                <a:cs typeface="+mn-cs"/>
              </a:rPr>
              <a:t>Planning and implementation</a:t>
            </a:r>
          </a:p>
        </p:txBody>
      </p:sp>
    </p:spTree>
    <p:extLst>
      <p:ext uri="{BB962C8B-B14F-4D97-AF65-F5344CB8AC3E}">
        <p14:creationId xmlns:p14="http://schemas.microsoft.com/office/powerpoint/2010/main" val="132387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21DD314-5B2C-6D13-EF70-80D11AF93D61}"/>
              </a:ext>
            </a:extLst>
          </p:cNvPr>
          <p:cNvSpPr>
            <a:spLocks noGrp="1"/>
          </p:cNvSpPr>
          <p:nvPr>
            <p:ph type="title"/>
          </p:nvPr>
        </p:nvSpPr>
        <p:spPr/>
        <p:txBody>
          <a:bodyPr/>
          <a:lstStyle/>
          <a:p>
            <a:r>
              <a:rPr lang="en-GB" dirty="0"/>
              <a:t>Challenges, Opportunities and </a:t>
            </a:r>
            <a:br>
              <a:rPr lang="en-GB" dirty="0"/>
            </a:br>
            <a:r>
              <a:rPr lang="en-GB" dirty="0"/>
              <a:t>Lessons learnt</a:t>
            </a:r>
            <a:endParaRPr lang="en-RW" dirty="0"/>
          </a:p>
        </p:txBody>
      </p:sp>
      <p:sp>
        <p:nvSpPr>
          <p:cNvPr id="6" name="Slide Number Placeholder 5">
            <a:extLst>
              <a:ext uri="{FF2B5EF4-FFF2-40B4-BE49-F238E27FC236}">
                <a16:creationId xmlns:a16="http://schemas.microsoft.com/office/drawing/2014/main" id="{38EA075D-0D31-EF8E-D243-591C05C1DF46}"/>
              </a:ext>
            </a:extLst>
          </p:cNvPr>
          <p:cNvSpPr>
            <a:spLocks noGrp="1"/>
          </p:cNvSpPr>
          <p:nvPr>
            <p:ph type="sldNum" sz="quarter" idx="4294967295"/>
          </p:nvPr>
        </p:nvSpPr>
        <p:spPr>
          <a:xfrm>
            <a:off x="0" y="0"/>
            <a:ext cx="0" cy="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C6463"/>
              </a:solidFill>
              <a:effectLst/>
              <a:uLnTx/>
              <a:uFillTx/>
              <a:latin typeface="Calibri" panose="020F0502020204030204"/>
              <a:ea typeface="+mn-ea"/>
              <a:cs typeface="+mn-cs"/>
            </a:endParaRPr>
          </a:p>
        </p:txBody>
      </p:sp>
      <p:graphicFrame>
        <p:nvGraphicFramePr>
          <p:cNvPr id="9" name="Table 9">
            <a:extLst>
              <a:ext uri="{FF2B5EF4-FFF2-40B4-BE49-F238E27FC236}">
                <a16:creationId xmlns:a16="http://schemas.microsoft.com/office/drawing/2014/main" id="{1D6E519D-9FC1-017B-C8AA-54D28B345C37}"/>
              </a:ext>
            </a:extLst>
          </p:cNvPr>
          <p:cNvGraphicFramePr>
            <a:graphicFrameLocks noGrp="1"/>
          </p:cNvGraphicFramePr>
          <p:nvPr>
            <p:extLst>
              <p:ext uri="{D42A27DB-BD31-4B8C-83A1-F6EECF244321}">
                <p14:modId xmlns:p14="http://schemas.microsoft.com/office/powerpoint/2010/main" val="519491105"/>
              </p:ext>
            </p:extLst>
          </p:nvPr>
        </p:nvGraphicFramePr>
        <p:xfrm>
          <a:off x="311150" y="1898308"/>
          <a:ext cx="11569699" cy="4779679"/>
        </p:xfrm>
        <a:graphic>
          <a:graphicData uri="http://schemas.openxmlformats.org/drawingml/2006/table">
            <a:tbl>
              <a:tblPr firstRow="1" bandRow="1">
                <a:tableStyleId>{5C22544A-7EE6-4342-B048-85BDC9FD1C3A}</a:tableStyleId>
              </a:tblPr>
              <a:tblGrid>
                <a:gridCol w="3661861">
                  <a:extLst>
                    <a:ext uri="{9D8B030D-6E8A-4147-A177-3AD203B41FA5}">
                      <a16:colId xmlns:a16="http://schemas.microsoft.com/office/drawing/2014/main" val="2284475116"/>
                    </a:ext>
                  </a:extLst>
                </a:gridCol>
                <a:gridCol w="3953919">
                  <a:extLst>
                    <a:ext uri="{9D8B030D-6E8A-4147-A177-3AD203B41FA5}">
                      <a16:colId xmlns:a16="http://schemas.microsoft.com/office/drawing/2014/main" val="670444990"/>
                    </a:ext>
                  </a:extLst>
                </a:gridCol>
                <a:gridCol w="3953919">
                  <a:extLst>
                    <a:ext uri="{9D8B030D-6E8A-4147-A177-3AD203B41FA5}">
                      <a16:colId xmlns:a16="http://schemas.microsoft.com/office/drawing/2014/main" val="2038794758"/>
                    </a:ext>
                  </a:extLst>
                </a:gridCol>
              </a:tblGrid>
              <a:tr h="63686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2000" b="1" u="none" dirty="0">
                          <a:solidFill>
                            <a:schemeClr val="bg1"/>
                          </a:solidFill>
                          <a:latin typeface="Quicksand" pitchFamily="2" charset="0"/>
                        </a:rPr>
                        <a:t>Challenges</a:t>
                      </a:r>
                    </a:p>
                    <a:p>
                      <a:endParaRPr lang="en-US" sz="1600" dirty="0">
                        <a:latin typeface="Quicksand" pitchFamily="2"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2000" b="1" u="none" dirty="0">
                          <a:solidFill>
                            <a:schemeClr val="bg1"/>
                          </a:solidFill>
                          <a:latin typeface="Quicksand" pitchFamily="2" charset="0"/>
                        </a:rPr>
                        <a:t>Opportunities</a:t>
                      </a:r>
                    </a:p>
                    <a:p>
                      <a:endParaRPr lang="en-US" sz="1600" dirty="0">
                        <a:latin typeface="Quicksand" pitchFamily="2"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2000" b="1" u="none" dirty="0">
                          <a:solidFill>
                            <a:schemeClr val="bg1"/>
                          </a:solidFill>
                          <a:latin typeface="Quicksand" pitchFamily="2" charset="0"/>
                        </a:rPr>
                        <a:t>Lessons learnt </a:t>
                      </a:r>
                    </a:p>
                    <a:p>
                      <a:endParaRPr lang="en-US" sz="1600" dirty="0">
                        <a:latin typeface="Quicksand" pitchFamily="2" charset="0"/>
                      </a:endParaRPr>
                    </a:p>
                  </a:txBody>
                  <a:tcPr/>
                </a:tc>
                <a:extLst>
                  <a:ext uri="{0D108BD9-81ED-4DB2-BD59-A6C34878D82A}">
                    <a16:rowId xmlns:a16="http://schemas.microsoft.com/office/drawing/2014/main" val="4064646202"/>
                  </a:ext>
                </a:extLst>
              </a:tr>
              <a:tr h="4139599">
                <a:tc>
                  <a:txBody>
                    <a:bodyPr/>
                    <a:lstStyle/>
                    <a:p>
                      <a:pPr marL="285750" indent="-285750">
                        <a:buFont typeface="Arial" panose="020B0604020202020204" pitchFamily="34" charset="0"/>
                        <a:buChar char="•"/>
                      </a:pPr>
                      <a:r>
                        <a:rPr lang="en-GB" sz="2000" dirty="0">
                          <a:latin typeface="Quicksand" pitchFamily="2" charset="0"/>
                        </a:rPr>
                        <a:t>The concept of sanitation marketing is still new to interest local investors</a:t>
                      </a:r>
                    </a:p>
                    <a:p>
                      <a:pPr marL="285750" indent="-285750">
                        <a:buFont typeface="Arial" panose="020B0604020202020204" pitchFamily="34" charset="0"/>
                        <a:buChar char="•"/>
                      </a:pPr>
                      <a:r>
                        <a:rPr lang="en-GB" sz="2000" dirty="0">
                          <a:latin typeface="Quicksand" pitchFamily="2" charset="0"/>
                        </a:rPr>
                        <a:t>Little investment capital </a:t>
                      </a:r>
                    </a:p>
                    <a:p>
                      <a:pPr marL="285750" indent="-285750">
                        <a:buFont typeface="Arial" panose="020B0604020202020204" pitchFamily="34" charset="0"/>
                        <a:buChar char="•"/>
                      </a:pPr>
                      <a:r>
                        <a:rPr lang="en-GB" sz="2000" dirty="0">
                          <a:latin typeface="Quicksand" pitchFamily="2" charset="0"/>
                        </a:rPr>
                        <a:t>Require an operator who is committed to not only business but also to social development</a:t>
                      </a:r>
                      <a:endParaRPr lang="en-RW" sz="2000" dirty="0">
                        <a:latin typeface="Quicksand" pitchFamily="2" charset="0"/>
                      </a:endParaRPr>
                    </a:p>
                    <a:p>
                      <a:endParaRPr lang="en-US" sz="1600" dirty="0">
                        <a:latin typeface="Quicksand" pitchFamily="2" charset="0"/>
                      </a:endParaRPr>
                    </a:p>
                  </a:txBody>
                  <a:tcPr/>
                </a:tc>
                <a:tc>
                  <a:txBody>
                    <a:bodyPr/>
                    <a:lstStyle/>
                    <a:p>
                      <a:pPr marL="285750" indent="-285750">
                        <a:buFont typeface="Arial" panose="020B0604020202020204" pitchFamily="34" charset="0"/>
                        <a:buChar char="•"/>
                      </a:pPr>
                      <a:r>
                        <a:rPr lang="en-GB" sz="2000" dirty="0">
                          <a:latin typeface="Quicksand" pitchFamily="2" charset="0"/>
                        </a:rPr>
                        <a:t>Support from the local authorities</a:t>
                      </a:r>
                    </a:p>
                    <a:p>
                      <a:pPr marL="285750" indent="-285750">
                        <a:buFont typeface="Arial" panose="020B0604020202020204" pitchFamily="34" charset="0"/>
                        <a:buChar char="•"/>
                      </a:pPr>
                      <a:r>
                        <a:rPr lang="en-GB" sz="2000" dirty="0">
                          <a:latin typeface="Quicksand" pitchFamily="2" charset="0"/>
                        </a:rPr>
                        <a:t>Existing WASH structures at the lowest community level, to boost the sanitation demand</a:t>
                      </a:r>
                    </a:p>
                    <a:p>
                      <a:pPr marL="285750" indent="-285750">
                        <a:buFont typeface="Arial" panose="020B0604020202020204" pitchFamily="34" charset="0"/>
                        <a:buChar char="•"/>
                      </a:pPr>
                      <a:r>
                        <a:rPr lang="en-GB" sz="2000" dirty="0">
                          <a:latin typeface="Quicksand" pitchFamily="2" charset="0"/>
                        </a:rPr>
                        <a:t>Existence of other WASH development partners</a:t>
                      </a:r>
                      <a:endParaRPr lang="en-RW" sz="2000" dirty="0">
                        <a:latin typeface="Quicksand" pitchFamily="2" charset="0"/>
                      </a:endParaRPr>
                    </a:p>
                    <a:p>
                      <a:endParaRPr lang="en-US" sz="1600" dirty="0">
                        <a:latin typeface="Quicksand" pitchFamily="2" charset="0"/>
                      </a:endParaRPr>
                    </a:p>
                  </a:txBody>
                  <a:tcPr/>
                </a:tc>
                <a:tc>
                  <a:txBody>
                    <a:bodyPr/>
                    <a:lstStyle/>
                    <a:p>
                      <a:pPr marL="285750" indent="-285750">
                        <a:buFont typeface="Arial" panose="020B0604020202020204" pitchFamily="34" charset="0"/>
                        <a:buChar char="•"/>
                      </a:pPr>
                      <a:r>
                        <a:rPr lang="en-GB" sz="2000" dirty="0">
                          <a:latin typeface="Quicksand" pitchFamily="2" charset="0"/>
                        </a:rPr>
                        <a:t>Uniformity is not always a good solution, each community is able to select what is good for them.</a:t>
                      </a:r>
                    </a:p>
                    <a:p>
                      <a:pPr marL="285750" indent="-285750">
                        <a:buFont typeface="Arial" panose="020B0604020202020204" pitchFamily="34" charset="0"/>
                        <a:buChar char="•"/>
                      </a:pPr>
                      <a:r>
                        <a:rPr lang="en-GB" sz="2000" dirty="0">
                          <a:latin typeface="Quicksand" pitchFamily="2" charset="0"/>
                        </a:rPr>
                        <a:t>Private sector should be given a room to market innovations in sanitation</a:t>
                      </a:r>
                    </a:p>
                    <a:p>
                      <a:pPr marL="285750" indent="-285750">
                        <a:buFont typeface="Arial" panose="020B0604020202020204" pitchFamily="34" charset="0"/>
                        <a:buChar char="•"/>
                      </a:pPr>
                      <a:r>
                        <a:rPr lang="en-GB" sz="2000" dirty="0">
                          <a:latin typeface="Quicksand" pitchFamily="2" charset="0"/>
                        </a:rPr>
                        <a:t>The support from the local authorities is key to the achievement of the DSCs and Community showrooms success.</a:t>
                      </a:r>
                      <a:endParaRPr lang="en-RW" sz="2000" dirty="0">
                        <a:latin typeface="Quicksand" pitchFamily="2" charset="0"/>
                      </a:endParaRPr>
                    </a:p>
                    <a:p>
                      <a:endParaRPr lang="en-US" sz="1600" dirty="0">
                        <a:latin typeface="Quicksand" pitchFamily="2" charset="0"/>
                      </a:endParaRPr>
                    </a:p>
                  </a:txBody>
                  <a:tcPr/>
                </a:tc>
                <a:extLst>
                  <a:ext uri="{0D108BD9-81ED-4DB2-BD59-A6C34878D82A}">
                    <a16:rowId xmlns:a16="http://schemas.microsoft.com/office/drawing/2014/main" val="3939368700"/>
                  </a:ext>
                </a:extLst>
              </a:tr>
            </a:tbl>
          </a:graphicData>
        </a:graphic>
      </p:graphicFrame>
    </p:spTree>
    <p:extLst>
      <p:ext uri="{BB962C8B-B14F-4D97-AF65-F5344CB8AC3E}">
        <p14:creationId xmlns:p14="http://schemas.microsoft.com/office/powerpoint/2010/main" val="2022694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FCDFBA1-CAE2-1C79-9F92-A1F33F99B7C1}"/>
              </a:ext>
            </a:extLst>
          </p:cNvPr>
          <p:cNvSpPr>
            <a:spLocks noGrp="1"/>
          </p:cNvSpPr>
          <p:nvPr>
            <p:ph type="title"/>
          </p:nvPr>
        </p:nvSpPr>
        <p:spPr>
          <a:xfrm>
            <a:off x="777696" y="266305"/>
            <a:ext cx="10391134" cy="439771"/>
          </a:xfrm>
        </p:spPr>
        <p:txBody>
          <a:bodyPr>
            <a:normAutofit fontScale="90000"/>
          </a:bodyPr>
          <a:lstStyle/>
          <a:p>
            <a:r>
              <a:rPr lang="en-GB" sz="3600" b="1" dirty="0">
                <a:solidFill>
                  <a:schemeClr val="bg1"/>
                </a:solidFill>
              </a:rPr>
              <a:t>Conclusion and Way forward  </a:t>
            </a:r>
          </a:p>
        </p:txBody>
      </p:sp>
      <p:graphicFrame>
        <p:nvGraphicFramePr>
          <p:cNvPr id="2" name="Diagram 1">
            <a:extLst>
              <a:ext uri="{FF2B5EF4-FFF2-40B4-BE49-F238E27FC236}">
                <a16:creationId xmlns:a16="http://schemas.microsoft.com/office/drawing/2014/main" id="{F92F12E2-DC2B-0089-2FB2-C02A3DEDD992}"/>
              </a:ext>
            </a:extLst>
          </p:cNvPr>
          <p:cNvGraphicFramePr/>
          <p:nvPr>
            <p:extLst>
              <p:ext uri="{D42A27DB-BD31-4B8C-83A1-F6EECF244321}">
                <p14:modId xmlns:p14="http://schemas.microsoft.com/office/powerpoint/2010/main" val="2897017159"/>
              </p:ext>
            </p:extLst>
          </p:nvPr>
        </p:nvGraphicFramePr>
        <p:xfrm>
          <a:off x="594749" y="899970"/>
          <a:ext cx="10736608" cy="50580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45326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FF1DF77-3242-4DDE-8C7D-D8F7458A3D84}"/>
              </a:ext>
            </a:extLst>
          </p:cNvPr>
          <p:cNvSpPr>
            <a:spLocks noGrp="1"/>
          </p:cNvSpPr>
          <p:nvPr>
            <p:ph type="ftr" sz="quarter" idx="11"/>
          </p:nvPr>
        </p:nvSpPr>
        <p:spPr/>
        <p:txBody>
          <a:bodyPr/>
          <a:lstStyle/>
          <a:p>
            <a:endParaRPr lang="en-GB" dirty="0"/>
          </a:p>
        </p:txBody>
      </p:sp>
      <p:sp>
        <p:nvSpPr>
          <p:cNvPr id="3" name="Title 2">
            <a:extLst>
              <a:ext uri="{FF2B5EF4-FFF2-40B4-BE49-F238E27FC236}">
                <a16:creationId xmlns:a16="http://schemas.microsoft.com/office/drawing/2014/main" id="{24B5864F-4CF3-4555-B4A6-5390083462D7}"/>
              </a:ext>
            </a:extLst>
          </p:cNvPr>
          <p:cNvSpPr>
            <a:spLocks noGrp="1"/>
          </p:cNvSpPr>
          <p:nvPr>
            <p:ph type="title"/>
          </p:nvPr>
        </p:nvSpPr>
        <p:spPr>
          <a:xfrm>
            <a:off x="839788" y="1624965"/>
            <a:ext cx="8547587" cy="1325563"/>
          </a:xfrm>
        </p:spPr>
        <p:txBody>
          <a:bodyPr>
            <a:normAutofit/>
          </a:bodyPr>
          <a:lstStyle/>
          <a:p>
            <a:r>
              <a:rPr lang="en-US" sz="8000" dirty="0"/>
              <a:t>Where next?</a:t>
            </a:r>
          </a:p>
        </p:txBody>
      </p:sp>
      <p:sp>
        <p:nvSpPr>
          <p:cNvPr id="4" name="Content Placeholder 3">
            <a:extLst>
              <a:ext uri="{FF2B5EF4-FFF2-40B4-BE49-F238E27FC236}">
                <a16:creationId xmlns:a16="http://schemas.microsoft.com/office/drawing/2014/main" id="{7135D312-052D-4215-ADBD-4ECF6C551840}"/>
              </a:ext>
            </a:extLst>
          </p:cNvPr>
          <p:cNvSpPr>
            <a:spLocks noGrp="1"/>
          </p:cNvSpPr>
          <p:nvPr>
            <p:ph idx="1"/>
          </p:nvPr>
        </p:nvSpPr>
        <p:spPr>
          <a:xfrm>
            <a:off x="852975" y="3085465"/>
            <a:ext cx="8536539" cy="3772535"/>
          </a:xfrm>
        </p:spPr>
        <p:txBody>
          <a:bodyPr>
            <a:normAutofit/>
          </a:bodyPr>
          <a:lstStyle/>
          <a:p>
            <a:pPr marL="0" indent="0">
              <a:buNone/>
            </a:pPr>
            <a:r>
              <a:rPr lang="en-US" sz="4400" dirty="0"/>
              <a:t>AWS and ecosystem learning and research agenda’s</a:t>
            </a:r>
          </a:p>
        </p:txBody>
      </p:sp>
    </p:spTree>
    <p:extLst>
      <p:ext uri="{BB962C8B-B14F-4D97-AF65-F5344CB8AC3E}">
        <p14:creationId xmlns:p14="http://schemas.microsoft.com/office/powerpoint/2010/main" val="3373615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4084A-0D77-49BF-B6A4-01B95C0EB06E}"/>
              </a:ext>
            </a:extLst>
          </p:cNvPr>
          <p:cNvSpPr>
            <a:spLocks noGrp="1"/>
          </p:cNvSpPr>
          <p:nvPr>
            <p:ph type="title"/>
          </p:nvPr>
        </p:nvSpPr>
        <p:spPr>
          <a:xfrm>
            <a:off x="751840" y="365125"/>
            <a:ext cx="10880917" cy="1325563"/>
          </a:xfrm>
        </p:spPr>
        <p:txBody>
          <a:bodyPr/>
          <a:lstStyle/>
          <a:p>
            <a:r>
              <a:rPr lang="en-US" dirty="0" err="1"/>
              <a:t>WASHPaLS</a:t>
            </a:r>
            <a:r>
              <a:rPr lang="en-US" dirty="0"/>
              <a:t> #2 AWS research &amp; learning agenda</a:t>
            </a:r>
          </a:p>
        </p:txBody>
      </p:sp>
      <p:sp>
        <p:nvSpPr>
          <p:cNvPr id="4" name="Content Placeholder 3">
            <a:extLst>
              <a:ext uri="{FF2B5EF4-FFF2-40B4-BE49-F238E27FC236}">
                <a16:creationId xmlns:a16="http://schemas.microsoft.com/office/drawing/2014/main" id="{B5036432-E6EB-4664-90BF-7EF673254D1C}"/>
              </a:ext>
            </a:extLst>
          </p:cNvPr>
          <p:cNvSpPr>
            <a:spLocks noGrp="1"/>
          </p:cNvSpPr>
          <p:nvPr>
            <p:ph idx="1"/>
          </p:nvPr>
        </p:nvSpPr>
        <p:spPr>
          <a:xfrm>
            <a:off x="751840" y="1542732"/>
            <a:ext cx="4909489" cy="3772535"/>
          </a:xfrm>
        </p:spPr>
        <p:txBody>
          <a:bodyPr>
            <a:normAutofit/>
          </a:bodyPr>
          <a:lstStyle/>
          <a:p>
            <a:r>
              <a:rPr lang="en-US" sz="2400" dirty="0"/>
              <a:t>What?</a:t>
            </a:r>
          </a:p>
          <a:p>
            <a:pPr marL="342900" indent="-342900">
              <a:buFont typeface="Arial" panose="020B0604020202020204" pitchFamily="34" charset="0"/>
              <a:buChar char="•"/>
            </a:pPr>
            <a:r>
              <a:rPr lang="en-US" sz="2400" dirty="0"/>
              <a:t>Implementing AWS core components</a:t>
            </a:r>
          </a:p>
          <a:p>
            <a:pPr marL="342900" indent="-342900">
              <a:buFont typeface="Arial" panose="020B0604020202020204" pitchFamily="34" charset="0"/>
              <a:buChar char="•"/>
            </a:pPr>
            <a:r>
              <a:rPr lang="en-US" sz="2400" dirty="0"/>
              <a:t>MEL and adaptive management</a:t>
            </a:r>
          </a:p>
          <a:p>
            <a:pPr marL="342900" indent="-342900">
              <a:buFont typeface="Arial" panose="020B0604020202020204" pitchFamily="34" charset="0"/>
              <a:buChar char="•"/>
            </a:pPr>
            <a:r>
              <a:rPr lang="en-US" sz="2400" dirty="0"/>
              <a:t>Planning for safe containment and management of waste</a:t>
            </a:r>
          </a:p>
          <a:p>
            <a:pPr marL="342900" indent="-342900">
              <a:buFont typeface="Arial" panose="020B0604020202020204" pitchFamily="34" charset="0"/>
              <a:buChar char="•"/>
            </a:pPr>
            <a:r>
              <a:rPr lang="en-US" sz="2400" dirty="0"/>
              <a:t>Ensuring GESI outcomes</a:t>
            </a:r>
          </a:p>
          <a:p>
            <a:endParaRPr lang="en-US" sz="2400" dirty="0"/>
          </a:p>
          <a:p>
            <a:pPr marL="342900" indent="-342900">
              <a:buFont typeface="Arial" panose="020B0604020202020204" pitchFamily="34" charset="0"/>
              <a:buChar char="•"/>
            </a:pPr>
            <a:endParaRPr lang="en-US" sz="2400" dirty="0"/>
          </a:p>
        </p:txBody>
      </p:sp>
      <p:pic>
        <p:nvPicPr>
          <p:cNvPr id="5" name="Content Placeholder 6">
            <a:extLst>
              <a:ext uri="{FF2B5EF4-FFF2-40B4-BE49-F238E27FC236}">
                <a16:creationId xmlns:a16="http://schemas.microsoft.com/office/drawing/2014/main" id="{8F5ACB1D-0915-4C66-9917-96F16B1FB2BC}"/>
              </a:ext>
            </a:extLst>
          </p:cNvPr>
          <p:cNvPicPr>
            <a:picLocks/>
          </p:cNvPicPr>
          <p:nvPr/>
        </p:nvPicPr>
        <p:blipFill>
          <a:blip r:embed="rId3"/>
          <a:stretch>
            <a:fillRect/>
          </a:stretch>
        </p:blipFill>
        <p:spPr>
          <a:xfrm>
            <a:off x="468367" y="5926198"/>
            <a:ext cx="1709930" cy="665163"/>
          </a:xfrm>
          <a:prstGeom prst="rect">
            <a:avLst/>
          </a:prstGeom>
        </p:spPr>
      </p:pic>
      <p:sp>
        <p:nvSpPr>
          <p:cNvPr id="6" name="Content Placeholder 3">
            <a:extLst>
              <a:ext uri="{FF2B5EF4-FFF2-40B4-BE49-F238E27FC236}">
                <a16:creationId xmlns:a16="http://schemas.microsoft.com/office/drawing/2014/main" id="{04F53D7D-E1AD-4424-801D-91A193D740DB}"/>
              </a:ext>
            </a:extLst>
          </p:cNvPr>
          <p:cNvSpPr txBox="1">
            <a:spLocks/>
          </p:cNvSpPr>
          <p:nvPr/>
        </p:nvSpPr>
        <p:spPr>
          <a:xfrm>
            <a:off x="6375650" y="1542731"/>
            <a:ext cx="4909489" cy="377253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Tx/>
              <a:buNone/>
              <a:defRPr sz="2200" b="0" kern="1200">
                <a:solidFill>
                  <a:schemeClr val="tx1"/>
                </a:solidFill>
                <a:latin typeface="Quicksand" pitchFamily="2" charset="0"/>
                <a:ea typeface="+mn-ea"/>
                <a:cs typeface="+mn-cs"/>
              </a:defRPr>
            </a:lvl1pPr>
            <a:lvl2pPr marL="182563" indent="-182563"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tx1"/>
                </a:solidFill>
                <a:latin typeface="Quicksand" pitchFamily="2" charset="0"/>
                <a:ea typeface="+mn-ea"/>
                <a:cs typeface="+mn-cs"/>
              </a:defRPr>
            </a:lvl2pPr>
            <a:lvl3pPr marL="684000" indent="-182563" algn="l" defTabSz="914400" rtl="0" eaLnBrk="1" latinLnBrk="0" hangingPunct="1">
              <a:lnSpc>
                <a:spcPct val="90000"/>
              </a:lnSpc>
              <a:spcBef>
                <a:spcPts val="500"/>
              </a:spcBef>
              <a:buClr>
                <a:schemeClr val="bg2"/>
              </a:buClr>
              <a:buFont typeface="System Font Regular"/>
              <a:buChar char="-"/>
              <a:defRPr sz="1800" kern="1200">
                <a:solidFill>
                  <a:schemeClr val="tx1"/>
                </a:solidFill>
                <a:latin typeface="Quicksand" pitchFamily="2" charset="0"/>
                <a:ea typeface="+mn-ea"/>
                <a:cs typeface="+mn-cs"/>
              </a:defRPr>
            </a:lvl3pPr>
            <a:lvl4pPr marL="1368000" indent="-182563" algn="l" defTabSz="914400" rtl="0" eaLnBrk="1" latinLnBrk="0" hangingPunct="1">
              <a:lnSpc>
                <a:spcPct val="90000"/>
              </a:lnSpc>
              <a:spcBef>
                <a:spcPts val="500"/>
              </a:spcBef>
              <a:buClr>
                <a:schemeClr val="bg2"/>
              </a:buClr>
              <a:buFont typeface="Arial" panose="020B0604020202020204" pitchFamily="34" charset="0"/>
              <a:buChar char="•"/>
              <a:defRPr sz="1600" kern="1200">
                <a:solidFill>
                  <a:schemeClr val="tx1"/>
                </a:solidFill>
                <a:latin typeface="Quicksand" pitchFamily="2" charset="0"/>
                <a:ea typeface="+mn-ea"/>
                <a:cs typeface="+mn-cs"/>
              </a:defRPr>
            </a:lvl4pPr>
            <a:lvl5pPr marL="2052000" indent="-182563" algn="l" defTabSz="914400" rtl="0" eaLnBrk="1" latinLnBrk="0" hangingPunct="1">
              <a:lnSpc>
                <a:spcPct val="90000"/>
              </a:lnSpc>
              <a:spcBef>
                <a:spcPts val="500"/>
              </a:spcBef>
              <a:buClr>
                <a:schemeClr val="bg2"/>
              </a:buClr>
              <a:buFont typeface="System Font Regular"/>
              <a:buChar char="-"/>
              <a:defRPr sz="1400" kern="1200">
                <a:solidFill>
                  <a:schemeClr val="tx1"/>
                </a:solidFill>
                <a:latin typeface="Quicksand"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t>How?</a:t>
            </a:r>
          </a:p>
          <a:p>
            <a:pPr marL="342900" indent="-342900">
              <a:buFont typeface="Arial" panose="020B0604020202020204" pitchFamily="34" charset="0"/>
              <a:buChar char="•"/>
            </a:pPr>
            <a:r>
              <a:rPr lang="en-US" sz="2400" dirty="0" err="1"/>
              <a:t>WASHPaLS</a:t>
            </a:r>
            <a:r>
              <a:rPr lang="en-US" sz="2400" dirty="0"/>
              <a:t> #2 core research </a:t>
            </a:r>
          </a:p>
          <a:p>
            <a:pPr marL="342900" indent="-342900">
              <a:buFont typeface="Arial" panose="020B0604020202020204" pitchFamily="34" charset="0"/>
              <a:buChar char="•"/>
            </a:pPr>
            <a:r>
              <a:rPr lang="en-US" sz="2400" dirty="0"/>
              <a:t>Small grants program</a:t>
            </a:r>
          </a:p>
          <a:p>
            <a:pPr marL="342900" indent="-342900">
              <a:buFont typeface="Arial" panose="020B0604020202020204" pitchFamily="34" charset="0"/>
              <a:buChar char="•"/>
            </a:pPr>
            <a:r>
              <a:rPr lang="en-US" sz="2400" dirty="0"/>
              <a:t>AWS collaborative learning platform</a:t>
            </a:r>
          </a:p>
          <a:p>
            <a:pPr marL="525463" lvl="1" indent="-342900"/>
            <a:r>
              <a:rPr lang="en-US" sz="2400" dirty="0"/>
              <a:t>Shared learning and reflection</a:t>
            </a:r>
          </a:p>
          <a:p>
            <a:pPr marL="525463" lvl="1" indent="-342900"/>
            <a:r>
              <a:rPr lang="en-US" sz="2400" dirty="0"/>
              <a:t>Systematic documentation</a:t>
            </a:r>
          </a:p>
          <a:p>
            <a:pPr marL="342900" indent="-342900">
              <a:buFont typeface="Arial" panose="020B0604020202020204" pitchFamily="34" charset="0"/>
              <a:buChar char="•"/>
            </a:pPr>
            <a:endParaRPr lang="en-US" sz="2400" dirty="0"/>
          </a:p>
          <a:p>
            <a:endParaRPr lang="en-US" sz="2400" dirty="0"/>
          </a:p>
          <a:p>
            <a:pPr marL="342900" indent="-342900">
              <a:buFont typeface="Arial" panose="020B0604020202020204" pitchFamily="34" charset="0"/>
              <a:buChar char="•"/>
            </a:pPr>
            <a:endParaRPr lang="en-US" sz="2400" dirty="0"/>
          </a:p>
        </p:txBody>
      </p:sp>
      <p:sp>
        <p:nvSpPr>
          <p:cNvPr id="7" name="Content Placeholder 3">
            <a:extLst>
              <a:ext uri="{FF2B5EF4-FFF2-40B4-BE49-F238E27FC236}">
                <a16:creationId xmlns:a16="http://schemas.microsoft.com/office/drawing/2014/main" id="{F72EAECF-3CC6-4D4D-AF1A-8053FCE708F6}"/>
              </a:ext>
            </a:extLst>
          </p:cNvPr>
          <p:cNvSpPr txBox="1">
            <a:spLocks/>
          </p:cNvSpPr>
          <p:nvPr/>
        </p:nvSpPr>
        <p:spPr>
          <a:xfrm>
            <a:off x="980740" y="4728685"/>
            <a:ext cx="9708796" cy="1173162"/>
          </a:xfrm>
          <a:prstGeom prst="rect">
            <a:avLst/>
          </a:prstGeom>
        </p:spPr>
        <p:txBody>
          <a:bodyPr vert="horz" lIns="91440" tIns="45720" rIns="91440" bIns="45720" rtlCol="0">
            <a:normAutofit fontScale="85000" lnSpcReduction="10000"/>
          </a:bodyPr>
          <a:lstStyle>
            <a:lvl1pPr marL="0" indent="0" algn="l" defTabSz="914400" rtl="0" eaLnBrk="1" latinLnBrk="0" hangingPunct="1">
              <a:lnSpc>
                <a:spcPct val="90000"/>
              </a:lnSpc>
              <a:spcBef>
                <a:spcPts val="1000"/>
              </a:spcBef>
              <a:buFontTx/>
              <a:buNone/>
              <a:defRPr sz="2200" b="0" kern="1200">
                <a:solidFill>
                  <a:schemeClr val="tx1"/>
                </a:solidFill>
                <a:latin typeface="Quicksand" pitchFamily="2" charset="0"/>
                <a:ea typeface="+mn-ea"/>
                <a:cs typeface="+mn-cs"/>
              </a:defRPr>
            </a:lvl1pPr>
            <a:lvl2pPr marL="182563" indent="-182563"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tx1"/>
                </a:solidFill>
                <a:latin typeface="Quicksand" pitchFamily="2" charset="0"/>
                <a:ea typeface="+mn-ea"/>
                <a:cs typeface="+mn-cs"/>
              </a:defRPr>
            </a:lvl2pPr>
            <a:lvl3pPr marL="684000" indent="-182563" algn="l" defTabSz="914400" rtl="0" eaLnBrk="1" latinLnBrk="0" hangingPunct="1">
              <a:lnSpc>
                <a:spcPct val="90000"/>
              </a:lnSpc>
              <a:spcBef>
                <a:spcPts val="500"/>
              </a:spcBef>
              <a:buClr>
                <a:schemeClr val="bg2"/>
              </a:buClr>
              <a:buFont typeface="System Font Regular"/>
              <a:buChar char="-"/>
              <a:defRPr sz="1800" kern="1200">
                <a:solidFill>
                  <a:schemeClr val="tx1"/>
                </a:solidFill>
                <a:latin typeface="Quicksand" pitchFamily="2" charset="0"/>
                <a:ea typeface="+mn-ea"/>
                <a:cs typeface="+mn-cs"/>
              </a:defRPr>
            </a:lvl3pPr>
            <a:lvl4pPr marL="1368000" indent="-182563" algn="l" defTabSz="914400" rtl="0" eaLnBrk="1" latinLnBrk="0" hangingPunct="1">
              <a:lnSpc>
                <a:spcPct val="90000"/>
              </a:lnSpc>
              <a:spcBef>
                <a:spcPts val="500"/>
              </a:spcBef>
              <a:buClr>
                <a:schemeClr val="bg2"/>
              </a:buClr>
              <a:buFont typeface="Arial" panose="020B0604020202020204" pitchFamily="34" charset="0"/>
              <a:buChar char="•"/>
              <a:defRPr sz="1600" kern="1200">
                <a:solidFill>
                  <a:schemeClr val="tx1"/>
                </a:solidFill>
                <a:latin typeface="Quicksand" pitchFamily="2" charset="0"/>
                <a:ea typeface="+mn-ea"/>
                <a:cs typeface="+mn-cs"/>
              </a:defRPr>
            </a:lvl4pPr>
            <a:lvl5pPr marL="2052000" indent="-182563" algn="l" defTabSz="914400" rtl="0" eaLnBrk="1" latinLnBrk="0" hangingPunct="1">
              <a:lnSpc>
                <a:spcPct val="90000"/>
              </a:lnSpc>
              <a:spcBef>
                <a:spcPts val="500"/>
              </a:spcBef>
              <a:buClr>
                <a:schemeClr val="bg2"/>
              </a:buClr>
              <a:buFont typeface="System Font Regular"/>
              <a:buChar char="-"/>
              <a:defRPr sz="1400" kern="1200">
                <a:solidFill>
                  <a:schemeClr val="tx1"/>
                </a:solidFill>
                <a:latin typeface="Quicksand"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dirty="0"/>
              <a:t>Find the AWS desk review report and brief here:</a:t>
            </a:r>
          </a:p>
          <a:p>
            <a:r>
              <a:rPr lang="en-US" u="sng" dirty="0">
                <a:solidFill>
                  <a:schemeClr val="accent6">
                    <a:lumMod val="50000"/>
                  </a:schemeClr>
                </a:solidFill>
                <a:hlinkClick r:id="rId4">
                  <a:extLst>
                    <a:ext uri="{A12FA001-AC4F-418D-AE19-62706E023703}">
                      <ahyp:hlinkClr xmlns:ahyp="http://schemas.microsoft.com/office/drawing/2018/hyperlinkcolor" val="tx"/>
                    </a:ext>
                  </a:extLst>
                </a:hlinkClick>
              </a:rPr>
              <a:t>https://www.globalwaters.org/resources/assets/Area-wide-Sanitation-Desk-Review</a:t>
            </a:r>
            <a:r>
              <a:rPr lang="en-US" dirty="0">
                <a:solidFill>
                  <a:schemeClr val="accent6">
                    <a:lumMod val="50000"/>
                  </a:schemeClr>
                </a:solidFill>
              </a:rPr>
              <a:t> </a:t>
            </a:r>
          </a:p>
          <a:p>
            <a:r>
              <a:rPr lang="en-US" u="sng" dirty="0">
                <a:solidFill>
                  <a:schemeClr val="accent6">
                    <a:lumMod val="50000"/>
                  </a:schemeClr>
                </a:solidFill>
                <a:hlinkClick r:id="rId5">
                  <a:extLst>
                    <a:ext uri="{A12FA001-AC4F-418D-AE19-62706E023703}">
                      <ahyp:hlinkClr xmlns:ahyp="http://schemas.microsoft.com/office/drawing/2018/hyperlinkcolor" val="tx"/>
                    </a:ext>
                  </a:extLst>
                </a:hlinkClick>
              </a:rPr>
              <a:t>https://www.globalwaters.org/resources/assets/Area-wide-Sanitation-brief</a:t>
            </a:r>
            <a:r>
              <a:rPr lang="en-US" dirty="0">
                <a:solidFill>
                  <a:schemeClr val="accent6">
                    <a:lumMod val="50000"/>
                  </a:schemeClr>
                </a:solidFill>
              </a:rPr>
              <a:t> </a:t>
            </a:r>
          </a:p>
          <a:p>
            <a:pPr marL="342900" indent="-342900">
              <a:buFont typeface="Arial" panose="020B0604020202020204" pitchFamily="34" charset="0"/>
              <a:buChar char="•"/>
            </a:pPr>
            <a:endParaRPr lang="en-US" sz="2400" i="1" dirty="0"/>
          </a:p>
        </p:txBody>
      </p:sp>
    </p:spTree>
    <p:extLst>
      <p:ext uri="{BB962C8B-B14F-4D97-AF65-F5344CB8AC3E}">
        <p14:creationId xmlns:p14="http://schemas.microsoft.com/office/powerpoint/2010/main" val="113249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1D18B427-F5EC-53CC-5254-D0105C9CE9FC}"/>
              </a:ext>
            </a:extLst>
          </p:cNvPr>
          <p:cNvSpPr>
            <a:spLocks noGrp="1"/>
          </p:cNvSpPr>
          <p:nvPr>
            <p:ph type="title"/>
          </p:nvPr>
        </p:nvSpPr>
        <p:spPr/>
        <p:txBody>
          <a:bodyPr>
            <a:normAutofit/>
          </a:bodyPr>
          <a:lstStyle/>
          <a:p>
            <a:pPr>
              <a:spcBef>
                <a:spcPts val="0"/>
              </a:spcBef>
              <a:buSzPts val="2800"/>
            </a:pPr>
            <a:r>
              <a:rPr lang="en-US" dirty="0">
                <a:extLst>
                  <a:ext uri="http://customooxmlschemas.google.com/">
                    <go:slidesCustomData xmlns:lc="http://schemas.openxmlformats.org/drawingml/2006/lockedCanva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0"/>
                  </a:ext>
                </a:extLst>
              </a:rPr>
              <a:t>Area-wide sanitation poll</a:t>
            </a:r>
            <a:endParaRPr lang="en-GB" dirty="0"/>
          </a:p>
        </p:txBody>
      </p:sp>
      <p:sp>
        <p:nvSpPr>
          <p:cNvPr id="10" name="Content Placeholder 9">
            <a:extLst>
              <a:ext uri="{FF2B5EF4-FFF2-40B4-BE49-F238E27FC236}">
                <a16:creationId xmlns:a16="http://schemas.microsoft.com/office/drawing/2014/main" id="{93BC70BD-D587-E0A7-D787-5CB81963B284}"/>
              </a:ext>
            </a:extLst>
          </p:cNvPr>
          <p:cNvSpPr>
            <a:spLocks noGrp="1"/>
          </p:cNvSpPr>
          <p:nvPr>
            <p:ph idx="1"/>
          </p:nvPr>
        </p:nvSpPr>
        <p:spPr>
          <a:xfrm>
            <a:off x="751840" y="1825625"/>
            <a:ext cx="10586720" cy="3772535"/>
          </a:xfrm>
        </p:spPr>
        <p:txBody>
          <a:bodyPr>
            <a:normAutofit/>
          </a:bodyPr>
          <a:lstStyle/>
          <a:p>
            <a:pPr marL="585787" indent="-514350">
              <a:buClr>
                <a:schemeClr val="tx1">
                  <a:lumMod val="65000"/>
                  <a:lumOff val="35000"/>
                </a:schemeClr>
              </a:buClr>
              <a:buSzPts val="2100"/>
              <a:buFont typeface="+mj-lt"/>
              <a:buAutoNum type="arabicPeriod"/>
            </a:pPr>
            <a:r>
              <a:rPr lang="en-US" sz="2800" dirty="0">
                <a:solidFill>
                  <a:schemeClr val="accent3"/>
                </a:solidFill>
                <a:ea typeface="Gill Sans"/>
                <a:cs typeface="Gill Sans"/>
                <a:sym typeface="Gill Sans"/>
              </a:rPr>
              <a:t>How many of you are working on rural sanitation and hygiene?</a:t>
            </a:r>
          </a:p>
          <a:p>
            <a:pPr marL="585787" indent="-514350">
              <a:buClr>
                <a:schemeClr val="tx1">
                  <a:lumMod val="65000"/>
                  <a:lumOff val="35000"/>
                </a:schemeClr>
              </a:buClr>
              <a:buSzPts val="2100"/>
              <a:buFont typeface="+mj-lt"/>
              <a:buAutoNum type="arabicPeriod"/>
            </a:pPr>
            <a:r>
              <a:rPr lang="en-US" sz="2800" dirty="0">
                <a:solidFill>
                  <a:schemeClr val="accent3"/>
                </a:solidFill>
                <a:ea typeface="Gill Sans"/>
                <a:cs typeface="Gill Sans"/>
                <a:sym typeface="Gill Sans"/>
              </a:rPr>
              <a:t>How many of those are working on multi-intervention, at-scale programs? </a:t>
            </a:r>
          </a:p>
          <a:p>
            <a:pPr marL="585787" indent="-514350">
              <a:buClr>
                <a:schemeClr val="tx1">
                  <a:lumMod val="65000"/>
                  <a:lumOff val="35000"/>
                </a:schemeClr>
              </a:buClr>
              <a:buSzPts val="2100"/>
              <a:buFont typeface="+mj-lt"/>
              <a:buAutoNum type="arabicPeriod"/>
            </a:pPr>
            <a:r>
              <a:rPr lang="en-US" sz="2800" dirty="0">
                <a:solidFill>
                  <a:schemeClr val="accent3"/>
                </a:solidFill>
                <a:ea typeface="Gill Sans"/>
                <a:cs typeface="Gill Sans"/>
                <a:sym typeface="Gill Sans"/>
              </a:rPr>
              <a:t>How many of those programs are really designed and planned to reach area-wide outcomes? </a:t>
            </a:r>
          </a:p>
          <a:p>
            <a:pPr marL="585787" indent="-514350">
              <a:buClr>
                <a:schemeClr val="tx1">
                  <a:lumMod val="65000"/>
                  <a:lumOff val="35000"/>
                </a:schemeClr>
              </a:buClr>
              <a:buSzPts val="2100"/>
              <a:buFont typeface="+mj-lt"/>
              <a:buAutoNum type="arabicPeriod"/>
            </a:pPr>
            <a:r>
              <a:rPr lang="en-US" sz="2800" dirty="0">
                <a:solidFill>
                  <a:schemeClr val="accent3"/>
                </a:solidFill>
                <a:ea typeface="Gill Sans"/>
                <a:cs typeface="Gill Sans"/>
                <a:sym typeface="Gill Sans"/>
              </a:rPr>
              <a:t>How many of those have actually achieved area-wide results?</a:t>
            </a:r>
          </a:p>
          <a:p>
            <a:pPr marL="357187" indent="-285750">
              <a:buClr>
                <a:schemeClr val="tx1">
                  <a:lumMod val="65000"/>
                  <a:lumOff val="35000"/>
                </a:schemeClr>
              </a:buClr>
              <a:buSzPts val="2100"/>
              <a:buFont typeface="Arial" panose="020B0604020202020204" pitchFamily="34" charset="0"/>
              <a:buChar char="•"/>
            </a:pPr>
            <a:endParaRPr lang="en-US" sz="2400" dirty="0">
              <a:solidFill>
                <a:schemeClr val="accent3"/>
              </a:solidFill>
              <a:latin typeface="Gill Sans MT" panose="020B0502020104020203" pitchFamily="34" charset="0"/>
              <a:ea typeface="Gill Sans"/>
              <a:cs typeface="Gill Sans"/>
              <a:sym typeface="Gill Sans"/>
            </a:endParaRPr>
          </a:p>
        </p:txBody>
      </p:sp>
      <p:pic>
        <p:nvPicPr>
          <p:cNvPr id="27" name="Content Placeholder 6">
            <a:extLst>
              <a:ext uri="{FF2B5EF4-FFF2-40B4-BE49-F238E27FC236}">
                <a16:creationId xmlns:a16="http://schemas.microsoft.com/office/drawing/2014/main" id="{85273AC6-2AC4-4952-85E9-41455400DAC1}"/>
              </a:ext>
            </a:extLst>
          </p:cNvPr>
          <p:cNvPicPr>
            <a:picLocks noGrp="1"/>
          </p:cNvPicPr>
          <p:nvPr>
            <p:ph sz="quarter" idx="11"/>
          </p:nvPr>
        </p:nvPicPr>
        <p:blipFill>
          <a:blip r:embed="rId3"/>
          <a:stretch>
            <a:fillRect/>
          </a:stretch>
        </p:blipFill>
        <p:spPr>
          <a:xfrm>
            <a:off x="468367" y="5926198"/>
            <a:ext cx="1709930" cy="665163"/>
          </a:xfrm>
          <a:prstGeom prst="rect">
            <a:avLst/>
          </a:prstGeom>
        </p:spPr>
      </p:pic>
    </p:spTree>
    <p:extLst>
      <p:ext uri="{BB962C8B-B14F-4D97-AF65-F5344CB8AC3E}">
        <p14:creationId xmlns:p14="http://schemas.microsoft.com/office/powerpoint/2010/main" val="2589065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83B4AF5-4F39-4C45-9650-9C3743F4BAC8}"/>
              </a:ext>
            </a:extLst>
          </p:cNvPr>
          <p:cNvSpPr>
            <a:spLocks noGrp="1"/>
          </p:cNvSpPr>
          <p:nvPr>
            <p:ph type="ftr" sz="quarter" idx="3"/>
          </p:nvPr>
        </p:nvSpPr>
        <p:spPr/>
        <p:txBody>
          <a:bodyPr/>
          <a:lstStyle/>
          <a:p>
            <a:r>
              <a:rPr lang="en-GB" sz="1400" i="1" kern="100" dirty="0">
                <a:latin typeface="Franklin Gothic Book" panose="020B0503020102020204" pitchFamily="34" charset="0"/>
                <a:ea typeface="Calibri" panose="020F0502020204030204" pitchFamily="34" charset="0"/>
                <a:cs typeface="Mangal" panose="02040503050203030202" pitchFamily="18" charset="0"/>
              </a:rPr>
              <a:t>Mid term review of FM started</a:t>
            </a:r>
          </a:p>
          <a:p>
            <a:endParaRPr lang="en-GB" dirty="0"/>
          </a:p>
        </p:txBody>
      </p:sp>
      <p:sp>
        <p:nvSpPr>
          <p:cNvPr id="4" name="Content Placeholder 3">
            <a:extLst>
              <a:ext uri="{FF2B5EF4-FFF2-40B4-BE49-F238E27FC236}">
                <a16:creationId xmlns:a16="http://schemas.microsoft.com/office/drawing/2014/main" id="{0E0233B3-8B40-4F27-95EF-A756FA3622E3}"/>
              </a:ext>
            </a:extLst>
          </p:cNvPr>
          <p:cNvSpPr>
            <a:spLocks noGrp="1"/>
          </p:cNvSpPr>
          <p:nvPr>
            <p:ph idx="1"/>
          </p:nvPr>
        </p:nvSpPr>
        <p:spPr>
          <a:xfrm>
            <a:off x="751840" y="276447"/>
            <a:ext cx="10703150" cy="5321713"/>
          </a:xfrm>
        </p:spPr>
        <p:txBody>
          <a:bodyPr>
            <a:normAutofit/>
          </a:bodyPr>
          <a:lstStyle/>
          <a:p>
            <a:endParaRPr lang="en-US" dirty="0"/>
          </a:p>
          <a:p>
            <a:endParaRPr lang="en-US" dirty="0"/>
          </a:p>
          <a:p>
            <a:endParaRPr lang="en-US" dirty="0"/>
          </a:p>
          <a:p>
            <a:pPr algn="just">
              <a:lnSpc>
                <a:spcPct val="107000"/>
              </a:lnSpc>
              <a:spcAft>
                <a:spcPts val="800"/>
              </a:spcAft>
            </a:pPr>
            <a:endParaRPr lang="en-GB" sz="1800" i="1" kern="100" dirty="0">
              <a:latin typeface="Franklin Gothic Book" panose="020B0503020102020204" pitchFamily="34" charset="0"/>
              <a:ea typeface="Calibri" panose="020F0502020204030204" pitchFamily="34" charset="0"/>
              <a:cs typeface="Mangal" panose="02040503050203030202" pitchFamily="18" charset="0"/>
            </a:endParaRPr>
          </a:p>
        </p:txBody>
      </p:sp>
      <p:sp>
        <p:nvSpPr>
          <p:cNvPr id="8" name="Content Placeholder 2">
            <a:extLst>
              <a:ext uri="{FF2B5EF4-FFF2-40B4-BE49-F238E27FC236}">
                <a16:creationId xmlns:a16="http://schemas.microsoft.com/office/drawing/2014/main" id="{7B35AC9C-2A03-D440-AA9E-55F87A4CEBEA}"/>
              </a:ext>
            </a:extLst>
          </p:cNvPr>
          <p:cNvSpPr txBox="1">
            <a:spLocks/>
          </p:cNvSpPr>
          <p:nvPr/>
        </p:nvSpPr>
        <p:spPr>
          <a:xfrm>
            <a:off x="751840" y="1987763"/>
            <a:ext cx="10550215" cy="4020865"/>
          </a:xfrm>
          <a:prstGeom prst="rect">
            <a:avLst/>
          </a:prstGeom>
        </p:spPr>
        <p:txBody>
          <a:bodyPr vert="horz" lIns="91440" tIns="45720" rIns="91440" bIns="45720" rtlCol="0">
            <a:normAutofit fontScale="85000" lnSpcReduction="20000"/>
          </a:bodyPr>
          <a:lstStyle>
            <a:lvl1pPr marL="0" indent="0" algn="l" defTabSz="914400" rtl="0" eaLnBrk="1" latinLnBrk="0" hangingPunct="1">
              <a:lnSpc>
                <a:spcPct val="90000"/>
              </a:lnSpc>
              <a:spcBef>
                <a:spcPts val="1000"/>
              </a:spcBef>
              <a:buFontTx/>
              <a:buNone/>
              <a:defRPr sz="2200" b="0" kern="1200">
                <a:solidFill>
                  <a:schemeClr val="tx1"/>
                </a:solidFill>
                <a:latin typeface="Quicksand" pitchFamily="2" charset="0"/>
                <a:ea typeface="+mn-ea"/>
                <a:cs typeface="+mn-cs"/>
              </a:defRPr>
            </a:lvl1pPr>
            <a:lvl2pPr marL="182563" indent="-182563"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tx1"/>
                </a:solidFill>
                <a:latin typeface="Quicksand" pitchFamily="2" charset="0"/>
                <a:ea typeface="+mn-ea"/>
                <a:cs typeface="+mn-cs"/>
              </a:defRPr>
            </a:lvl2pPr>
            <a:lvl3pPr marL="684000" indent="-182563" algn="l" defTabSz="914400" rtl="0" eaLnBrk="1" latinLnBrk="0" hangingPunct="1">
              <a:lnSpc>
                <a:spcPct val="90000"/>
              </a:lnSpc>
              <a:spcBef>
                <a:spcPts val="500"/>
              </a:spcBef>
              <a:buClr>
                <a:schemeClr val="bg2"/>
              </a:buClr>
              <a:buFont typeface="System Font Regular"/>
              <a:buChar char="-"/>
              <a:defRPr sz="1800" kern="1200">
                <a:solidFill>
                  <a:schemeClr val="tx1"/>
                </a:solidFill>
                <a:latin typeface="Quicksand" pitchFamily="2" charset="0"/>
                <a:ea typeface="+mn-ea"/>
                <a:cs typeface="+mn-cs"/>
              </a:defRPr>
            </a:lvl3pPr>
            <a:lvl4pPr marL="1368000" indent="-182563" algn="l" defTabSz="914400" rtl="0" eaLnBrk="1" latinLnBrk="0" hangingPunct="1">
              <a:lnSpc>
                <a:spcPct val="90000"/>
              </a:lnSpc>
              <a:spcBef>
                <a:spcPts val="500"/>
              </a:spcBef>
              <a:buClr>
                <a:schemeClr val="bg2"/>
              </a:buClr>
              <a:buFont typeface="Arial" panose="020B0604020202020204" pitchFamily="34" charset="0"/>
              <a:buChar char="•"/>
              <a:defRPr sz="1600" kern="1200">
                <a:solidFill>
                  <a:schemeClr val="tx1"/>
                </a:solidFill>
                <a:latin typeface="Quicksand" pitchFamily="2" charset="0"/>
                <a:ea typeface="+mn-ea"/>
                <a:cs typeface="+mn-cs"/>
              </a:defRPr>
            </a:lvl4pPr>
            <a:lvl5pPr marL="2052000" indent="-182563" algn="l" defTabSz="914400" rtl="0" eaLnBrk="1" latinLnBrk="0" hangingPunct="1">
              <a:lnSpc>
                <a:spcPct val="90000"/>
              </a:lnSpc>
              <a:spcBef>
                <a:spcPts val="500"/>
              </a:spcBef>
              <a:buClr>
                <a:schemeClr val="bg2"/>
              </a:buClr>
              <a:buFont typeface="System Font Regular"/>
              <a:buChar char="-"/>
              <a:defRPr sz="1400" kern="1200">
                <a:solidFill>
                  <a:schemeClr val="tx1"/>
                </a:solidFill>
                <a:latin typeface="Quicksand"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Reporting:</a:t>
            </a:r>
            <a:r>
              <a:rPr lang="en-US" dirty="0"/>
              <a:t> dynamic dashboard </a:t>
            </a:r>
          </a:p>
          <a:p>
            <a:endParaRPr lang="en-US" dirty="0"/>
          </a:p>
          <a:p>
            <a:r>
              <a:rPr lang="en-US" b="1" dirty="0"/>
              <a:t>Strengths:</a:t>
            </a:r>
            <a:r>
              <a:rPr lang="en-US" dirty="0"/>
              <a:t> learnings and experience from 6 countries</a:t>
            </a:r>
          </a:p>
          <a:p>
            <a:endParaRPr lang="en-US" dirty="0"/>
          </a:p>
          <a:p>
            <a:r>
              <a:rPr lang="en-US" b="1" dirty="0"/>
              <a:t>Agility</a:t>
            </a:r>
            <a:r>
              <a:rPr lang="en-US" dirty="0"/>
              <a:t>: more than a decade’s intervention with adaptive strategies at local level</a:t>
            </a:r>
          </a:p>
          <a:p>
            <a:endParaRPr lang="en-US" dirty="0"/>
          </a:p>
          <a:p>
            <a:r>
              <a:rPr lang="en-US" b="1" dirty="0"/>
              <a:t>What’s next</a:t>
            </a:r>
            <a:r>
              <a:rPr lang="en-US" dirty="0"/>
              <a:t>: building a structured framework for with a dedicated taskforce</a:t>
            </a:r>
          </a:p>
          <a:p>
            <a:endParaRPr lang="en-US" dirty="0"/>
          </a:p>
          <a:p>
            <a:r>
              <a:rPr lang="en-US" b="1" dirty="0"/>
              <a:t>Approach</a:t>
            </a:r>
            <a:r>
              <a:rPr lang="en-US" dirty="0"/>
              <a:t>:  enabling a culture of knowledge sharing with collaborative strategy, </a:t>
            </a:r>
          </a:p>
          <a:p>
            <a:endParaRPr lang="en-US" dirty="0"/>
          </a:p>
          <a:p>
            <a:r>
              <a:rPr lang="en-US" dirty="0"/>
              <a:t>The main goals of knowledge management in FINISH Mondial to improve efficiency, effectiveness, and innovation by maximizing the use of our experiences, learning and knowledge assets.  </a:t>
            </a:r>
          </a:p>
          <a:p>
            <a:endParaRPr lang="en-IN" dirty="0"/>
          </a:p>
        </p:txBody>
      </p:sp>
      <p:sp>
        <p:nvSpPr>
          <p:cNvPr id="10" name="Title 9">
            <a:extLst>
              <a:ext uri="{FF2B5EF4-FFF2-40B4-BE49-F238E27FC236}">
                <a16:creationId xmlns:a16="http://schemas.microsoft.com/office/drawing/2014/main" id="{5394CDC5-9C40-1324-1083-D5894A3D222E}"/>
              </a:ext>
            </a:extLst>
          </p:cNvPr>
          <p:cNvSpPr>
            <a:spLocks noGrp="1"/>
          </p:cNvSpPr>
          <p:nvPr>
            <p:ph type="title"/>
          </p:nvPr>
        </p:nvSpPr>
        <p:spPr>
          <a:xfrm>
            <a:off x="751840" y="415005"/>
            <a:ext cx="10703150" cy="1313960"/>
          </a:xfrm>
        </p:spPr>
        <p:txBody>
          <a:bodyPr>
            <a:normAutofit/>
          </a:bodyPr>
          <a:lstStyle/>
          <a:p>
            <a:r>
              <a:rPr lang="en-US" sz="4400" dirty="0"/>
              <a:t>Monitoring, Evaluation, Accountability &amp; Learning (MEAL) in FINISH Mondial</a:t>
            </a:r>
            <a:endParaRPr lang="en-GB" dirty="0"/>
          </a:p>
        </p:txBody>
      </p:sp>
    </p:spTree>
    <p:extLst>
      <p:ext uri="{BB962C8B-B14F-4D97-AF65-F5344CB8AC3E}">
        <p14:creationId xmlns:p14="http://schemas.microsoft.com/office/powerpoint/2010/main" val="4251688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83B4AF5-4F39-4C45-9650-9C3743F4BAC8}"/>
              </a:ext>
            </a:extLst>
          </p:cNvPr>
          <p:cNvSpPr>
            <a:spLocks noGrp="1"/>
          </p:cNvSpPr>
          <p:nvPr>
            <p:ph type="ftr" sz="quarter" idx="3"/>
          </p:nvPr>
        </p:nvSpPr>
        <p:spPr/>
        <p:txBody>
          <a:bodyPr/>
          <a:lstStyle/>
          <a:p>
            <a:endParaRPr lang="en-GB" dirty="0"/>
          </a:p>
        </p:txBody>
      </p:sp>
      <p:sp>
        <p:nvSpPr>
          <p:cNvPr id="4" name="Content Placeholder 3">
            <a:extLst>
              <a:ext uri="{FF2B5EF4-FFF2-40B4-BE49-F238E27FC236}">
                <a16:creationId xmlns:a16="http://schemas.microsoft.com/office/drawing/2014/main" id="{0E0233B3-8B40-4F27-95EF-A756FA3622E3}"/>
              </a:ext>
            </a:extLst>
          </p:cNvPr>
          <p:cNvSpPr>
            <a:spLocks noGrp="1"/>
          </p:cNvSpPr>
          <p:nvPr>
            <p:ph idx="1"/>
          </p:nvPr>
        </p:nvSpPr>
        <p:spPr>
          <a:xfrm>
            <a:off x="751840" y="1339702"/>
            <a:ext cx="10703150" cy="4258458"/>
          </a:xfrm>
        </p:spPr>
        <p:txBody>
          <a:bodyPr>
            <a:normAutofit/>
          </a:bodyPr>
          <a:lstStyle/>
          <a:p>
            <a:endParaRPr lang="en-US" dirty="0"/>
          </a:p>
          <a:p>
            <a:endParaRPr lang="en-US" dirty="0"/>
          </a:p>
        </p:txBody>
      </p:sp>
      <p:sp>
        <p:nvSpPr>
          <p:cNvPr id="9" name="Title 8">
            <a:extLst>
              <a:ext uri="{FF2B5EF4-FFF2-40B4-BE49-F238E27FC236}">
                <a16:creationId xmlns:a16="http://schemas.microsoft.com/office/drawing/2014/main" id="{6DCE7B7C-A990-5657-F8A0-45C921DD2B10}"/>
              </a:ext>
            </a:extLst>
          </p:cNvPr>
          <p:cNvSpPr>
            <a:spLocks noGrp="1"/>
          </p:cNvSpPr>
          <p:nvPr>
            <p:ph type="title"/>
          </p:nvPr>
        </p:nvSpPr>
        <p:spPr/>
        <p:txBody>
          <a:bodyPr/>
          <a:lstStyle/>
          <a:p>
            <a:r>
              <a:rPr lang="en-US" dirty="0"/>
              <a:t> </a:t>
            </a:r>
            <a:endParaRPr lang="en-GB" dirty="0"/>
          </a:p>
        </p:txBody>
      </p:sp>
      <p:sp>
        <p:nvSpPr>
          <p:cNvPr id="10" name="Title 1">
            <a:extLst>
              <a:ext uri="{FF2B5EF4-FFF2-40B4-BE49-F238E27FC236}">
                <a16:creationId xmlns:a16="http://schemas.microsoft.com/office/drawing/2014/main" id="{2E7DEED1-14A8-E2BA-CA86-F783DAF39757}"/>
              </a:ext>
            </a:extLst>
          </p:cNvPr>
          <p:cNvSpPr txBox="1">
            <a:spLocks/>
          </p:cNvSpPr>
          <p:nvPr/>
        </p:nvSpPr>
        <p:spPr>
          <a:xfrm>
            <a:off x="667423" y="159076"/>
            <a:ext cx="10703150" cy="97670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2"/>
                </a:solidFill>
                <a:latin typeface="Quicksand" pitchFamily="2" charset="0"/>
                <a:ea typeface="+mj-ea"/>
                <a:cs typeface="Quire Sans" panose="020B0502040204020203" pitchFamily="34" charset="0"/>
              </a:defRPr>
            </a:lvl1pPr>
          </a:lstStyle>
          <a:p>
            <a:r>
              <a:rPr lang="en-US" sz="3500"/>
              <a:t>Learning and knowledge initiatives under FM</a:t>
            </a:r>
            <a:endParaRPr lang="en-IN" sz="3500" dirty="0"/>
          </a:p>
        </p:txBody>
      </p:sp>
      <p:graphicFrame>
        <p:nvGraphicFramePr>
          <p:cNvPr id="11" name="Diagram 10">
            <a:extLst>
              <a:ext uri="{FF2B5EF4-FFF2-40B4-BE49-F238E27FC236}">
                <a16:creationId xmlns:a16="http://schemas.microsoft.com/office/drawing/2014/main" id="{0F5CC36C-30AC-7832-C32E-0C2ACA51CEC3}"/>
              </a:ext>
            </a:extLst>
          </p:cNvPr>
          <p:cNvGraphicFramePr/>
          <p:nvPr>
            <p:extLst>
              <p:ext uri="{D42A27DB-BD31-4B8C-83A1-F6EECF244321}">
                <p14:modId xmlns:p14="http://schemas.microsoft.com/office/powerpoint/2010/main" val="3234956851"/>
              </p:ext>
            </p:extLst>
          </p:nvPr>
        </p:nvGraphicFramePr>
        <p:xfrm>
          <a:off x="821427" y="1135782"/>
          <a:ext cx="10135402" cy="263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2" name="Diagram 11">
            <a:extLst>
              <a:ext uri="{FF2B5EF4-FFF2-40B4-BE49-F238E27FC236}">
                <a16:creationId xmlns:a16="http://schemas.microsoft.com/office/drawing/2014/main" id="{FA0D1FC5-A4C4-68B5-DF09-70C80959C453}"/>
              </a:ext>
            </a:extLst>
          </p:cNvPr>
          <p:cNvGraphicFramePr/>
          <p:nvPr>
            <p:extLst>
              <p:ext uri="{D42A27DB-BD31-4B8C-83A1-F6EECF244321}">
                <p14:modId xmlns:p14="http://schemas.microsoft.com/office/powerpoint/2010/main" val="1502057090"/>
              </p:ext>
            </p:extLst>
          </p:nvPr>
        </p:nvGraphicFramePr>
        <p:xfrm>
          <a:off x="821427" y="3888606"/>
          <a:ext cx="10549145" cy="249294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869732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3C6FC02-CCCC-4EFF-ADD8-5128E7BFFFE8}"/>
              </a:ext>
            </a:extLst>
          </p:cNvPr>
          <p:cNvSpPr>
            <a:spLocks noGrp="1"/>
          </p:cNvSpPr>
          <p:nvPr>
            <p:ph idx="1"/>
          </p:nvPr>
        </p:nvSpPr>
        <p:spPr/>
        <p:txBody>
          <a:bodyPr>
            <a:normAutofit fontScale="77500" lnSpcReduction="20000"/>
          </a:bodyPr>
          <a:lstStyle/>
          <a:p>
            <a:r>
              <a:rPr lang="en-US" sz="2800" dirty="0"/>
              <a:t>Connect with </a:t>
            </a:r>
            <a:r>
              <a:rPr lang="en-US" sz="2800" dirty="0" err="1"/>
              <a:t>WASHPaLS</a:t>
            </a:r>
            <a:r>
              <a:rPr lang="en-US" sz="2800" dirty="0"/>
              <a:t> #2 to discuss learning and research on AWS:</a:t>
            </a:r>
            <a:endParaRPr lang="en-US" dirty="0"/>
          </a:p>
          <a:p>
            <a:endParaRPr lang="en-US" dirty="0"/>
          </a:p>
          <a:p>
            <a:r>
              <a:rPr lang="en-US" dirty="0"/>
              <a:t>Jesse Shapiro, Environmental Health Team Lead and Senior WASH Advisor</a:t>
            </a:r>
          </a:p>
          <a:p>
            <a:pPr>
              <a:spcBef>
                <a:spcPts val="600"/>
              </a:spcBef>
              <a:spcAft>
                <a:spcPts val="600"/>
              </a:spcAft>
            </a:pPr>
            <a:r>
              <a:rPr lang="en-US" dirty="0">
                <a:hlinkClick r:id="rId2"/>
              </a:rPr>
              <a:t>Jeshapiro@usaid.gov</a:t>
            </a:r>
            <a:endParaRPr lang="en-US" dirty="0"/>
          </a:p>
          <a:p>
            <a:r>
              <a:rPr lang="en-US" dirty="0"/>
              <a:t>Morris Israel, Chief of Party </a:t>
            </a:r>
            <a:r>
              <a:rPr lang="en-US" dirty="0" err="1"/>
              <a:t>WASHPaLS</a:t>
            </a:r>
            <a:r>
              <a:rPr lang="en-US" dirty="0"/>
              <a:t> #2</a:t>
            </a:r>
          </a:p>
          <a:p>
            <a:pPr>
              <a:spcBef>
                <a:spcPts val="600"/>
              </a:spcBef>
              <a:spcAft>
                <a:spcPts val="600"/>
              </a:spcAft>
            </a:pPr>
            <a:r>
              <a:rPr lang="en-US" dirty="0">
                <a:hlinkClick r:id="rId3"/>
              </a:rPr>
              <a:t>Morris.Israel@tetratech.com</a:t>
            </a:r>
            <a:endParaRPr lang="en-US" dirty="0"/>
          </a:p>
          <a:p>
            <a:r>
              <a:rPr lang="en-US" dirty="0"/>
              <a:t>Carolien van der Voorden, Deputy Chief of Party </a:t>
            </a:r>
            <a:r>
              <a:rPr lang="en-US" dirty="0" err="1"/>
              <a:t>WASHPaLS</a:t>
            </a:r>
            <a:r>
              <a:rPr lang="en-US" dirty="0"/>
              <a:t> #2</a:t>
            </a:r>
          </a:p>
          <a:p>
            <a:pPr>
              <a:spcBef>
                <a:spcPts val="600"/>
              </a:spcBef>
              <a:spcAft>
                <a:spcPts val="600"/>
              </a:spcAft>
            </a:pPr>
            <a:r>
              <a:rPr lang="en-US" dirty="0">
                <a:hlinkClick r:id="rId4"/>
              </a:rPr>
              <a:t>c.vandervoorden@tetratech.com</a:t>
            </a:r>
            <a:endParaRPr lang="en-US" dirty="0"/>
          </a:p>
          <a:p>
            <a:endParaRPr lang="en-US" dirty="0"/>
          </a:p>
        </p:txBody>
      </p:sp>
      <p:sp>
        <p:nvSpPr>
          <p:cNvPr id="5" name="Content Placeholder 4">
            <a:extLst>
              <a:ext uri="{FF2B5EF4-FFF2-40B4-BE49-F238E27FC236}">
                <a16:creationId xmlns:a16="http://schemas.microsoft.com/office/drawing/2014/main" id="{CDAA29AB-29F6-46BC-A4CC-EB6B77266E50}"/>
              </a:ext>
            </a:extLst>
          </p:cNvPr>
          <p:cNvSpPr>
            <a:spLocks noGrp="1"/>
          </p:cNvSpPr>
          <p:nvPr>
            <p:ph idx="10"/>
          </p:nvPr>
        </p:nvSpPr>
        <p:spPr/>
        <p:txBody>
          <a:bodyPr>
            <a:normAutofit fontScale="85000" lnSpcReduction="10000"/>
          </a:bodyPr>
          <a:lstStyle/>
          <a:p>
            <a:r>
              <a:rPr lang="en-US" dirty="0"/>
              <a:t>Connect with FINISH Mondial to discuss on </a:t>
            </a:r>
          </a:p>
          <a:p>
            <a:r>
              <a:rPr lang="en-US" dirty="0"/>
              <a:t>learning and research on FM:</a:t>
            </a:r>
          </a:p>
          <a:p>
            <a:endParaRPr lang="en-US" dirty="0"/>
          </a:p>
          <a:p>
            <a:r>
              <a:rPr lang="en-US" dirty="0"/>
              <a:t>Santwana Sneha, FINISH Mondial MEAL working group secretary</a:t>
            </a:r>
          </a:p>
          <a:p>
            <a:r>
              <a:rPr lang="en-US" dirty="0">
                <a:hlinkClick r:id="rId5"/>
              </a:rPr>
              <a:t>programmemonitoring@yahoo.com</a:t>
            </a:r>
            <a:endParaRPr lang="en-US" dirty="0"/>
          </a:p>
          <a:p>
            <a:r>
              <a:rPr lang="en-US" dirty="0"/>
              <a:t>Valentin Post, FINISH Mondial CEO</a:t>
            </a:r>
          </a:p>
          <a:p>
            <a:r>
              <a:rPr lang="en-US" dirty="0">
                <a:hlinkClick r:id="rId6"/>
              </a:rPr>
              <a:t>vpost@waste.nl</a:t>
            </a:r>
            <a:endParaRPr lang="en-US" dirty="0"/>
          </a:p>
          <a:p>
            <a:r>
              <a:rPr lang="en-US" dirty="0"/>
              <a:t>Nouria Ouibrahim, FINISH Mondial COO</a:t>
            </a:r>
          </a:p>
          <a:p>
            <a:r>
              <a:rPr lang="en-US" dirty="0">
                <a:hlinkClick r:id="rId7"/>
              </a:rPr>
              <a:t>nouibrahim@waste.nl</a:t>
            </a:r>
            <a:endParaRPr lang="en-US" dirty="0"/>
          </a:p>
          <a:p>
            <a:endParaRPr lang="en-US" dirty="0"/>
          </a:p>
          <a:p>
            <a:endParaRPr lang="en-US" dirty="0"/>
          </a:p>
        </p:txBody>
      </p:sp>
      <p:sp>
        <p:nvSpPr>
          <p:cNvPr id="3" name="Title 2">
            <a:extLst>
              <a:ext uri="{FF2B5EF4-FFF2-40B4-BE49-F238E27FC236}">
                <a16:creationId xmlns:a16="http://schemas.microsoft.com/office/drawing/2014/main" id="{F7C88AFF-0B1A-4521-AF04-2BA3415E1619}"/>
              </a:ext>
            </a:extLst>
          </p:cNvPr>
          <p:cNvSpPr>
            <a:spLocks noGrp="1"/>
          </p:cNvSpPr>
          <p:nvPr>
            <p:ph type="title"/>
          </p:nvPr>
        </p:nvSpPr>
        <p:spPr/>
        <p:txBody>
          <a:bodyPr/>
          <a:lstStyle/>
          <a:p>
            <a:r>
              <a:rPr lang="en-US" dirty="0"/>
              <a:t>Get in touch</a:t>
            </a:r>
          </a:p>
        </p:txBody>
      </p:sp>
      <p:pic>
        <p:nvPicPr>
          <p:cNvPr id="6" name="Content Placeholder 6">
            <a:extLst>
              <a:ext uri="{FF2B5EF4-FFF2-40B4-BE49-F238E27FC236}">
                <a16:creationId xmlns:a16="http://schemas.microsoft.com/office/drawing/2014/main" id="{AF6D5ABD-74EE-446D-834A-B393827E91AA}"/>
              </a:ext>
            </a:extLst>
          </p:cNvPr>
          <p:cNvPicPr>
            <a:picLocks/>
          </p:cNvPicPr>
          <p:nvPr/>
        </p:nvPicPr>
        <p:blipFill>
          <a:blip r:embed="rId8"/>
          <a:stretch>
            <a:fillRect/>
          </a:stretch>
        </p:blipFill>
        <p:spPr>
          <a:xfrm>
            <a:off x="144276" y="5984071"/>
            <a:ext cx="1709930" cy="665163"/>
          </a:xfrm>
          <a:prstGeom prst="rect">
            <a:avLst/>
          </a:prstGeom>
        </p:spPr>
      </p:pic>
    </p:spTree>
    <p:extLst>
      <p:ext uri="{BB962C8B-B14F-4D97-AF65-F5344CB8AC3E}">
        <p14:creationId xmlns:p14="http://schemas.microsoft.com/office/powerpoint/2010/main" val="2769449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F7C5378-A18E-F132-33F8-2439582BED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06437" y="232471"/>
            <a:ext cx="9514841" cy="1004380"/>
          </a:xfrm>
          <a:prstGeom prst="rect">
            <a:avLst/>
          </a:prstGeom>
        </p:spPr>
      </p:pic>
      <p:pic>
        <p:nvPicPr>
          <p:cNvPr id="5" name="Picture 4" descr="Logo&#10;&#10;Description automatically generated">
            <a:extLst>
              <a:ext uri="{FF2B5EF4-FFF2-40B4-BE49-F238E27FC236}">
                <a16:creationId xmlns:a16="http://schemas.microsoft.com/office/drawing/2014/main" id="{98ED0A5C-B1F0-A944-0555-E3E3B7CFA7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094" y="4717176"/>
            <a:ext cx="1537163" cy="1053241"/>
          </a:xfrm>
          <a:prstGeom prst="rect">
            <a:avLst/>
          </a:prstGeom>
        </p:spPr>
      </p:pic>
      <p:pic>
        <p:nvPicPr>
          <p:cNvPr id="6" name="Picture 5">
            <a:extLst>
              <a:ext uri="{FF2B5EF4-FFF2-40B4-BE49-F238E27FC236}">
                <a16:creationId xmlns:a16="http://schemas.microsoft.com/office/drawing/2014/main" id="{A17910DA-9265-F335-841B-267430206F3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37658" y="4847264"/>
            <a:ext cx="1540727" cy="619945"/>
          </a:xfrm>
          <a:prstGeom prst="rect">
            <a:avLst/>
          </a:prstGeom>
        </p:spPr>
      </p:pic>
      <p:pic>
        <p:nvPicPr>
          <p:cNvPr id="7" name="Graphic 6">
            <a:extLst>
              <a:ext uri="{FF2B5EF4-FFF2-40B4-BE49-F238E27FC236}">
                <a16:creationId xmlns:a16="http://schemas.microsoft.com/office/drawing/2014/main" id="{C67AC3B6-FF09-E86F-ACA5-85410D39AB4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7189" y="1953996"/>
            <a:ext cx="3094543" cy="1224649"/>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BAA79A97-A744-4E5D-C725-95FB73CE6F7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89308" y="2188590"/>
            <a:ext cx="938825" cy="1016719"/>
          </a:xfrm>
          <a:prstGeom prst="rect">
            <a:avLst/>
          </a:prstGeom>
        </p:spPr>
      </p:pic>
      <p:pic>
        <p:nvPicPr>
          <p:cNvPr id="9" name="Picture 8" descr="Logo, company name&#10;&#10;Description automatically generated">
            <a:extLst>
              <a:ext uri="{FF2B5EF4-FFF2-40B4-BE49-F238E27FC236}">
                <a16:creationId xmlns:a16="http://schemas.microsoft.com/office/drawing/2014/main" id="{CAD00AC7-923F-DAE9-D747-E35E1E17C83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687770" y="5938983"/>
            <a:ext cx="1323897" cy="551624"/>
          </a:xfrm>
          <a:prstGeom prst="rect">
            <a:avLst/>
          </a:prstGeom>
        </p:spPr>
      </p:pic>
      <p:pic>
        <p:nvPicPr>
          <p:cNvPr id="10" name="Picture 9" descr="A picture containing logo&#10;&#10;Description automatically generated">
            <a:extLst>
              <a:ext uri="{FF2B5EF4-FFF2-40B4-BE49-F238E27FC236}">
                <a16:creationId xmlns:a16="http://schemas.microsoft.com/office/drawing/2014/main" id="{51CD7E15-555F-B552-7DD1-5A801B47DA9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30555" y="4657539"/>
            <a:ext cx="1225550" cy="737769"/>
          </a:xfrm>
          <a:prstGeom prst="rect">
            <a:avLst/>
          </a:prstGeom>
        </p:spPr>
      </p:pic>
      <p:pic>
        <p:nvPicPr>
          <p:cNvPr id="11" name="Picture 10">
            <a:extLst>
              <a:ext uri="{FF2B5EF4-FFF2-40B4-BE49-F238E27FC236}">
                <a16:creationId xmlns:a16="http://schemas.microsoft.com/office/drawing/2014/main" id="{032F1418-3BC5-51E6-E549-D427BA59DBF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404956" y="4743977"/>
            <a:ext cx="1701800" cy="553085"/>
          </a:xfrm>
          <a:prstGeom prst="rect">
            <a:avLst/>
          </a:prstGeom>
        </p:spPr>
      </p:pic>
      <p:pic>
        <p:nvPicPr>
          <p:cNvPr id="12" name="Picture 11" descr="A picture containing text&#10;&#10;Description automatically generated">
            <a:extLst>
              <a:ext uri="{FF2B5EF4-FFF2-40B4-BE49-F238E27FC236}">
                <a16:creationId xmlns:a16="http://schemas.microsoft.com/office/drawing/2014/main" id="{D6C665B7-2F7D-E704-7599-3EF86D714CF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453923" y="2183518"/>
            <a:ext cx="2336800" cy="700291"/>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5C30B21B-DDD6-3DAE-5601-ABC04D7AC4F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702800" y="2327388"/>
            <a:ext cx="2059167" cy="412551"/>
          </a:xfrm>
          <a:prstGeom prst="rect">
            <a:avLst/>
          </a:prstGeom>
        </p:spPr>
      </p:pic>
      <p:pic>
        <p:nvPicPr>
          <p:cNvPr id="14" name="Picture 13" descr="Logo&#10;&#10;Description automatically generated">
            <a:extLst>
              <a:ext uri="{FF2B5EF4-FFF2-40B4-BE49-F238E27FC236}">
                <a16:creationId xmlns:a16="http://schemas.microsoft.com/office/drawing/2014/main" id="{6D8B330E-54DD-3AD5-AB77-DCB755D6E708}"/>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82876" y="3341472"/>
            <a:ext cx="853529" cy="939800"/>
          </a:xfrm>
          <a:prstGeom prst="rect">
            <a:avLst/>
          </a:prstGeom>
        </p:spPr>
      </p:pic>
      <p:pic>
        <p:nvPicPr>
          <p:cNvPr id="15" name="Graphic 14">
            <a:extLst>
              <a:ext uri="{FF2B5EF4-FFF2-40B4-BE49-F238E27FC236}">
                <a16:creationId xmlns:a16="http://schemas.microsoft.com/office/drawing/2014/main" id="{443527BB-AA46-85EF-06D7-16F773948BA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144258" y="3452506"/>
            <a:ext cx="1852253" cy="848360"/>
          </a:xfrm>
          <a:prstGeom prst="rect">
            <a:avLst/>
          </a:prstGeom>
        </p:spPr>
      </p:pic>
      <p:pic>
        <p:nvPicPr>
          <p:cNvPr id="16" name="Picture 15" descr="Logo, company name&#10;&#10;Description automatically generated">
            <a:extLst>
              <a:ext uri="{FF2B5EF4-FFF2-40B4-BE49-F238E27FC236}">
                <a16:creationId xmlns:a16="http://schemas.microsoft.com/office/drawing/2014/main" id="{556A780C-2151-597D-2112-9B5764DFB4C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776946" y="3231527"/>
            <a:ext cx="1828800" cy="1137920"/>
          </a:xfrm>
          <a:prstGeom prst="rect">
            <a:avLst/>
          </a:prstGeom>
        </p:spPr>
      </p:pic>
      <p:pic>
        <p:nvPicPr>
          <p:cNvPr id="17" name="Picture 16" descr="Logo&#10;&#10;Description automatically generated">
            <a:extLst>
              <a:ext uri="{FF2B5EF4-FFF2-40B4-BE49-F238E27FC236}">
                <a16:creationId xmlns:a16="http://schemas.microsoft.com/office/drawing/2014/main" id="{A6808CC2-7DDA-7D4C-69A1-C60BD4091A93}"/>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763623" y="3538322"/>
            <a:ext cx="2184400" cy="546100"/>
          </a:xfrm>
          <a:prstGeom prst="rect">
            <a:avLst/>
          </a:prstGeom>
        </p:spPr>
      </p:pic>
      <p:pic>
        <p:nvPicPr>
          <p:cNvPr id="18" name="Picture 17">
            <a:extLst>
              <a:ext uri="{FF2B5EF4-FFF2-40B4-BE49-F238E27FC236}">
                <a16:creationId xmlns:a16="http://schemas.microsoft.com/office/drawing/2014/main" id="{747B59B8-AE8F-57E3-C16C-DD7ECFA62A68}"/>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530080" y="3596393"/>
            <a:ext cx="2285153" cy="429959"/>
          </a:xfrm>
          <a:prstGeom prst="rect">
            <a:avLst/>
          </a:prstGeom>
        </p:spPr>
      </p:pic>
      <p:pic>
        <p:nvPicPr>
          <p:cNvPr id="19" name="Picture 18" descr="A picture containing logo&#10;&#10;Description automatically generated">
            <a:extLst>
              <a:ext uri="{FF2B5EF4-FFF2-40B4-BE49-F238E27FC236}">
                <a16:creationId xmlns:a16="http://schemas.microsoft.com/office/drawing/2014/main" id="{3D985E9A-74CA-6E83-BBDE-47EE1D51661C}"/>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280650" y="4510215"/>
            <a:ext cx="1098550" cy="1098550"/>
          </a:xfrm>
          <a:prstGeom prst="rect">
            <a:avLst/>
          </a:prstGeom>
        </p:spPr>
      </p:pic>
      <p:pic>
        <p:nvPicPr>
          <p:cNvPr id="20" name="Picture 19" descr="Background pattern&#10;&#10;Description automatically generated">
            <a:extLst>
              <a:ext uri="{FF2B5EF4-FFF2-40B4-BE49-F238E27FC236}">
                <a16:creationId xmlns:a16="http://schemas.microsoft.com/office/drawing/2014/main" id="{BCE43ACB-3D5A-CEDA-5D81-5D3D08B8A92B}"/>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975593" y="5902511"/>
            <a:ext cx="1633385" cy="744306"/>
          </a:xfrm>
          <a:prstGeom prst="rect">
            <a:avLst/>
          </a:prstGeom>
        </p:spPr>
      </p:pic>
      <p:pic>
        <p:nvPicPr>
          <p:cNvPr id="21" name="Picture 20" descr="Graphical user interface, text, application&#10;&#10;Description automatically generated">
            <a:extLst>
              <a:ext uri="{FF2B5EF4-FFF2-40B4-BE49-F238E27FC236}">
                <a16:creationId xmlns:a16="http://schemas.microsoft.com/office/drawing/2014/main" id="{1199D1E2-EBFF-5BD5-4628-CA605A186F49}"/>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5381240" y="5867315"/>
            <a:ext cx="1424828" cy="716866"/>
          </a:xfrm>
          <a:prstGeom prst="rect">
            <a:avLst/>
          </a:prstGeom>
        </p:spPr>
      </p:pic>
      <p:sp>
        <p:nvSpPr>
          <p:cNvPr id="22" name="TextBox 21">
            <a:extLst>
              <a:ext uri="{FF2B5EF4-FFF2-40B4-BE49-F238E27FC236}">
                <a16:creationId xmlns:a16="http://schemas.microsoft.com/office/drawing/2014/main" id="{F0F94E1B-97AB-7E8F-BF78-9DD4E2AD666A}"/>
              </a:ext>
            </a:extLst>
          </p:cNvPr>
          <p:cNvSpPr txBox="1"/>
          <p:nvPr/>
        </p:nvSpPr>
        <p:spPr>
          <a:xfrm>
            <a:off x="2335696" y="1105930"/>
            <a:ext cx="713629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lumMod val="50000"/>
                </a:prstClr>
              </a:solidFill>
              <a:effectLst/>
              <a:uLnTx/>
              <a:uFillTx/>
              <a:latin typeface="Bryant Medium Italic" panose="020B0603040000020003" pitchFamily="34" charset="77"/>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lumMod val="50000"/>
                  </a:prstClr>
                </a:solidFill>
                <a:effectLst/>
                <a:uLnTx/>
                <a:uFillTx/>
                <a:latin typeface="Bryant Medium Italic" panose="020B0603040000020003" pitchFamily="34" charset="77"/>
                <a:ea typeface="+mn-ea"/>
                <a:cs typeface="+mn-cs"/>
              </a:rPr>
              <a:t>All Systems Connect 2023 is made possible thanks to the generous support of our partners including the World Health Organization an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lumMod val="50000"/>
                </a:prstClr>
              </a:solidFill>
              <a:effectLst/>
              <a:uLnTx/>
              <a:uFillTx/>
              <a:latin typeface="Bryant Medium Italic" panose="020B0603040000020003" pitchFamily="34" charset="77"/>
              <a:ea typeface="+mn-ea"/>
              <a:cs typeface="+mn-cs"/>
            </a:endParaRPr>
          </a:p>
        </p:txBody>
      </p:sp>
    </p:spTree>
    <p:extLst>
      <p:ext uri="{BB962C8B-B14F-4D97-AF65-F5344CB8AC3E}">
        <p14:creationId xmlns:p14="http://schemas.microsoft.com/office/powerpoint/2010/main" val="27280986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DEB72AD-BC1A-4CB4-AEC4-9D6D41CDD2F6}"/>
              </a:ext>
            </a:extLst>
          </p:cNvPr>
          <p:cNvSpPr>
            <a:spLocks noGrp="1"/>
          </p:cNvSpPr>
          <p:nvPr>
            <p:ph type="body" idx="1"/>
          </p:nvPr>
        </p:nvSpPr>
        <p:spPr>
          <a:xfrm>
            <a:off x="839788" y="1909049"/>
            <a:ext cx="9409173" cy="3364383"/>
          </a:xfrm>
        </p:spPr>
        <p:txBody>
          <a:bodyPr>
            <a:normAutofit/>
          </a:bodyPr>
          <a:lstStyle/>
          <a:p>
            <a:r>
              <a:rPr lang="en-US" sz="6000" dirty="0"/>
              <a:t>The FINISH Mondial approach and results</a:t>
            </a:r>
          </a:p>
        </p:txBody>
      </p:sp>
      <p:sp>
        <p:nvSpPr>
          <p:cNvPr id="3" name="Footer Placeholder 2">
            <a:extLst>
              <a:ext uri="{FF2B5EF4-FFF2-40B4-BE49-F238E27FC236}">
                <a16:creationId xmlns:a16="http://schemas.microsoft.com/office/drawing/2014/main" id="{2D7BA990-2FF2-4AE7-B6F6-722D12998218}"/>
              </a:ext>
            </a:extLst>
          </p:cNvPr>
          <p:cNvSpPr>
            <a:spLocks noGrp="1"/>
          </p:cNvSpPr>
          <p:nvPr>
            <p:ph type="ftr" sz="quarter" idx="3"/>
          </p:nvPr>
        </p:nvSpPr>
        <p:spPr/>
        <p:txBody>
          <a:bodyPr/>
          <a:lstStyle/>
          <a:p>
            <a:r>
              <a:rPr lang="en-GB" dirty="0"/>
              <a:t>Valentin Post, FINISH Mondial</a:t>
            </a:r>
          </a:p>
        </p:txBody>
      </p:sp>
    </p:spTree>
    <p:extLst>
      <p:ext uri="{BB962C8B-B14F-4D97-AF65-F5344CB8AC3E}">
        <p14:creationId xmlns:p14="http://schemas.microsoft.com/office/powerpoint/2010/main" val="3245594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1D18B427-F5EC-53CC-5254-D0105C9CE9FC}"/>
              </a:ext>
            </a:extLst>
          </p:cNvPr>
          <p:cNvSpPr>
            <a:spLocks noGrp="1"/>
          </p:cNvSpPr>
          <p:nvPr>
            <p:ph type="title"/>
          </p:nvPr>
        </p:nvSpPr>
        <p:spPr/>
        <p:txBody>
          <a:bodyPr>
            <a:normAutofit/>
          </a:bodyPr>
          <a:lstStyle/>
          <a:p>
            <a:pPr>
              <a:spcBef>
                <a:spcPts val="0"/>
              </a:spcBef>
              <a:buSzPts val="2800"/>
            </a:pPr>
            <a:r>
              <a:rPr lang="en-US" dirty="0">
                <a:extLst>
                  <a:ext uri="http://customooxmlschemas.google.com/">
                    <go:slidesCustomData xmlns:lc="http://schemas.openxmlformats.org/drawingml/2006/lockedCanva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0"/>
                  </a:ext>
                </a:extLst>
              </a:rPr>
              <a:t>FINISH Mondial</a:t>
            </a:r>
            <a:br>
              <a:rPr lang="en-US" dirty="0">
                <a:extLst>
                  <a:ext uri="http://customooxmlschemas.google.com/">
                    <go:slidesCustomData xmlns:lc="http://schemas.openxmlformats.org/drawingml/2006/lockedCanva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0"/>
                  </a:ext>
                </a:extLst>
              </a:rPr>
            </a:br>
            <a:r>
              <a:rPr lang="en-GB" sz="2400" b="1" dirty="0"/>
              <a:t>Proven Model on Sanitation Market Development for </a:t>
            </a:r>
            <a:r>
              <a:rPr lang="en-GB" sz="3100" b="1" dirty="0" err="1"/>
              <a:t>BoP</a:t>
            </a:r>
            <a:endParaRPr lang="en-GB" sz="3100" dirty="0"/>
          </a:p>
        </p:txBody>
      </p:sp>
      <p:sp>
        <p:nvSpPr>
          <p:cNvPr id="10" name="Content Placeholder 9">
            <a:extLst>
              <a:ext uri="{FF2B5EF4-FFF2-40B4-BE49-F238E27FC236}">
                <a16:creationId xmlns:a16="http://schemas.microsoft.com/office/drawing/2014/main" id="{93BC70BD-D587-E0A7-D787-5CB81963B284}"/>
              </a:ext>
            </a:extLst>
          </p:cNvPr>
          <p:cNvSpPr>
            <a:spLocks noGrp="1"/>
          </p:cNvSpPr>
          <p:nvPr>
            <p:ph idx="1"/>
          </p:nvPr>
        </p:nvSpPr>
        <p:spPr>
          <a:xfrm>
            <a:off x="751839" y="1825624"/>
            <a:ext cx="10300473" cy="4900673"/>
          </a:xfrm>
        </p:spPr>
        <p:txBody>
          <a:bodyPr>
            <a:normAutofit/>
          </a:bodyPr>
          <a:lstStyle/>
          <a:p>
            <a:pPr marL="342900" indent="-342900">
              <a:buFont typeface="Arial" panose="020B0604020202020204" pitchFamily="34" charset="0"/>
              <a:buChar char="•"/>
            </a:pPr>
            <a:r>
              <a:rPr lang="en-US" sz="2400" dirty="0">
                <a:latin typeface="Quicksand"/>
              </a:rPr>
              <a:t>People </a:t>
            </a:r>
            <a:r>
              <a:rPr lang="en-US" sz="2400" i="1" dirty="0">
                <a:latin typeface="Quicksand"/>
              </a:rPr>
              <a:t>knowing </a:t>
            </a:r>
            <a:r>
              <a:rPr lang="en-US" sz="2400" dirty="0">
                <a:latin typeface="Quicksand"/>
              </a:rPr>
              <a:t>they need a toilet (through </a:t>
            </a:r>
            <a:r>
              <a:rPr lang="en-US" sz="2400" b="1" dirty="0">
                <a:latin typeface="Quicksand"/>
              </a:rPr>
              <a:t>health awareness creation</a:t>
            </a:r>
            <a:r>
              <a:rPr lang="en-US" sz="2400" dirty="0">
                <a:latin typeface="Quicksand"/>
              </a:rPr>
              <a:t>)</a:t>
            </a:r>
          </a:p>
          <a:p>
            <a:pPr marL="342900" indent="-342900">
              <a:buFont typeface="Arial" panose="020B0604020202020204" pitchFamily="34" charset="0"/>
              <a:buChar char="•"/>
            </a:pPr>
            <a:r>
              <a:rPr lang="en-US" sz="2400" dirty="0">
                <a:latin typeface="Quicksand"/>
              </a:rPr>
              <a:t>People </a:t>
            </a:r>
            <a:r>
              <a:rPr lang="en-US" sz="2400" i="1" dirty="0">
                <a:latin typeface="Quicksand"/>
              </a:rPr>
              <a:t>wanting </a:t>
            </a:r>
            <a:r>
              <a:rPr lang="en-US" sz="2400" dirty="0">
                <a:latin typeface="Quicksand"/>
              </a:rPr>
              <a:t>a toilet (through </a:t>
            </a:r>
            <a:r>
              <a:rPr lang="en-US" sz="2400" b="1" dirty="0">
                <a:latin typeface="Quicksand"/>
              </a:rPr>
              <a:t>demand creation</a:t>
            </a:r>
            <a:r>
              <a:rPr lang="en-US" sz="2400" dirty="0">
                <a:latin typeface="Quicksand"/>
              </a:rPr>
              <a:t>)</a:t>
            </a:r>
          </a:p>
          <a:p>
            <a:pPr marL="342900" indent="-342900">
              <a:buFont typeface="Arial" panose="020B0604020202020204" pitchFamily="34" charset="0"/>
              <a:buChar char="•"/>
            </a:pPr>
            <a:r>
              <a:rPr lang="en-US" sz="2400" dirty="0">
                <a:latin typeface="Quicksand"/>
              </a:rPr>
              <a:t>People </a:t>
            </a:r>
            <a:r>
              <a:rPr lang="en-US" sz="2400" i="1" dirty="0">
                <a:latin typeface="Quicksand"/>
              </a:rPr>
              <a:t>wanting </a:t>
            </a:r>
            <a:r>
              <a:rPr lang="en-US" sz="2400" dirty="0">
                <a:latin typeface="Quicksand"/>
              </a:rPr>
              <a:t>to buy a durable toilet with </a:t>
            </a:r>
            <a:r>
              <a:rPr lang="en-US" sz="2400" i="1" dirty="0">
                <a:latin typeface="Quicksand"/>
              </a:rPr>
              <a:t>safe management</a:t>
            </a:r>
          </a:p>
          <a:p>
            <a:r>
              <a:rPr lang="en-US" sz="2400" i="1" dirty="0">
                <a:latin typeface="Quicksand"/>
              </a:rPr>
              <a:t>     </a:t>
            </a:r>
            <a:r>
              <a:rPr lang="en-US" sz="2400" dirty="0">
                <a:latin typeface="Quicksand"/>
              </a:rPr>
              <a:t>of human waste (through </a:t>
            </a:r>
            <a:r>
              <a:rPr lang="en-US" sz="2400" b="1" dirty="0">
                <a:latin typeface="Quicksand"/>
              </a:rPr>
              <a:t>sanitation</a:t>
            </a:r>
            <a:r>
              <a:rPr lang="en-US" sz="2400" dirty="0">
                <a:latin typeface="Quicksand"/>
              </a:rPr>
              <a:t> </a:t>
            </a:r>
            <a:r>
              <a:rPr lang="en-US" sz="2400" b="1" dirty="0">
                <a:latin typeface="Quicksand"/>
              </a:rPr>
              <a:t>marketing</a:t>
            </a:r>
            <a:r>
              <a:rPr lang="en-US" sz="2400" dirty="0">
                <a:latin typeface="Quicksand"/>
              </a:rPr>
              <a:t>)</a:t>
            </a:r>
          </a:p>
          <a:p>
            <a:pPr marL="342900" indent="-342900">
              <a:buFont typeface="Arial" panose="020B0604020202020204" pitchFamily="34" charset="0"/>
              <a:buChar char="•"/>
            </a:pPr>
            <a:r>
              <a:rPr lang="en-US" sz="2400" i="1" dirty="0">
                <a:latin typeface="Quicksand"/>
              </a:rPr>
              <a:t>Local people </a:t>
            </a:r>
            <a:r>
              <a:rPr lang="en-US" sz="2400" dirty="0">
                <a:latin typeface="Quicksand"/>
              </a:rPr>
              <a:t>building those (through </a:t>
            </a:r>
            <a:r>
              <a:rPr lang="en-US" sz="2400" b="1" dirty="0">
                <a:latin typeface="Quicksand"/>
              </a:rPr>
              <a:t>mason training</a:t>
            </a:r>
            <a:r>
              <a:rPr lang="en-US" sz="2400" dirty="0">
                <a:latin typeface="Quicksand"/>
              </a:rPr>
              <a:t>)</a:t>
            </a:r>
          </a:p>
          <a:p>
            <a:pPr marL="342900" indent="-342900">
              <a:buFont typeface="Arial" panose="020B0604020202020204" pitchFamily="34" charset="0"/>
              <a:buChar char="•"/>
            </a:pPr>
            <a:r>
              <a:rPr lang="en-US" sz="2400" dirty="0">
                <a:latin typeface="Quicksand"/>
              </a:rPr>
              <a:t>People being able to </a:t>
            </a:r>
            <a:r>
              <a:rPr lang="en-US" sz="2400" i="1" dirty="0">
                <a:latin typeface="Quicksand"/>
              </a:rPr>
              <a:t>afford </a:t>
            </a:r>
            <a:r>
              <a:rPr lang="en-US" sz="2400" dirty="0">
                <a:latin typeface="Quicksand"/>
              </a:rPr>
              <a:t>those (through </a:t>
            </a:r>
            <a:r>
              <a:rPr lang="en-US" sz="2400" b="1" dirty="0">
                <a:latin typeface="Quicksand"/>
              </a:rPr>
              <a:t>financial </a:t>
            </a:r>
          </a:p>
          <a:p>
            <a:r>
              <a:rPr lang="en-US" sz="2400" b="1" dirty="0">
                <a:latin typeface="Quicksand"/>
              </a:rPr>
              <a:t>     inclusion &amp; </a:t>
            </a:r>
            <a:r>
              <a:rPr lang="en-US" sz="2400" dirty="0">
                <a:latin typeface="Quicksand"/>
              </a:rPr>
              <a:t>loans, </a:t>
            </a:r>
            <a:r>
              <a:rPr lang="en-US" sz="2400" b="1" dirty="0">
                <a:latin typeface="Quicksand"/>
              </a:rPr>
              <a:t>design improvements </a:t>
            </a:r>
            <a:r>
              <a:rPr lang="en-US" sz="2400" dirty="0">
                <a:latin typeface="Quicksand"/>
              </a:rPr>
              <a:t>and </a:t>
            </a:r>
          </a:p>
          <a:p>
            <a:r>
              <a:rPr lang="en-US" sz="2400" b="1" dirty="0">
                <a:latin typeface="Quicksand"/>
              </a:rPr>
              <a:t>     economies of scale)</a:t>
            </a:r>
            <a:endParaRPr lang="en-US" sz="2400" dirty="0">
              <a:solidFill>
                <a:schemeClr val="accent3"/>
              </a:solidFill>
              <a:latin typeface="Quicksand"/>
              <a:ea typeface="Gill Sans"/>
              <a:cs typeface="Gill Sans"/>
              <a:sym typeface="Gill Sans"/>
            </a:endParaRPr>
          </a:p>
        </p:txBody>
      </p:sp>
      <p:pic>
        <p:nvPicPr>
          <p:cNvPr id="27" name="Content Placeholder 6">
            <a:extLst>
              <a:ext uri="{FF2B5EF4-FFF2-40B4-BE49-F238E27FC236}">
                <a16:creationId xmlns:a16="http://schemas.microsoft.com/office/drawing/2014/main" id="{85273AC6-2AC4-4952-85E9-41455400DAC1}"/>
              </a:ext>
            </a:extLst>
          </p:cNvPr>
          <p:cNvPicPr>
            <a:picLocks noGrp="1"/>
          </p:cNvPicPr>
          <p:nvPr>
            <p:ph sz="quarter" idx="11"/>
          </p:nvPr>
        </p:nvPicPr>
        <p:blipFill>
          <a:blip r:embed="rId2"/>
          <a:stretch>
            <a:fillRect/>
          </a:stretch>
        </p:blipFill>
        <p:spPr>
          <a:xfrm>
            <a:off x="468367" y="5926198"/>
            <a:ext cx="1709930" cy="665163"/>
          </a:xfrm>
          <a:prstGeom prst="rect">
            <a:avLst/>
          </a:prstGeom>
        </p:spPr>
      </p:pic>
      <p:pic>
        <p:nvPicPr>
          <p:cNvPr id="2" name="image6.png">
            <a:extLst>
              <a:ext uri="{FF2B5EF4-FFF2-40B4-BE49-F238E27FC236}">
                <a16:creationId xmlns:a16="http://schemas.microsoft.com/office/drawing/2014/main" id="{795EE473-C840-01FC-678F-87AA1EF298EB}"/>
              </a:ext>
            </a:extLst>
          </p:cNvPr>
          <p:cNvPicPr>
            <a:picLocks/>
          </p:cNvPicPr>
          <p:nvPr/>
        </p:nvPicPr>
        <p:blipFill>
          <a:blip r:embed="rId3"/>
          <a:srcRect/>
          <a:stretch>
            <a:fillRect/>
          </a:stretch>
        </p:blipFill>
        <p:spPr>
          <a:xfrm>
            <a:off x="9003679" y="3429000"/>
            <a:ext cx="3188321" cy="3297297"/>
          </a:xfrm>
          <a:prstGeom prst="rect">
            <a:avLst/>
          </a:prstGeom>
          <a:ln/>
        </p:spPr>
      </p:pic>
    </p:spTree>
    <p:extLst>
      <p:ext uri="{BB962C8B-B14F-4D97-AF65-F5344CB8AC3E}">
        <p14:creationId xmlns:p14="http://schemas.microsoft.com/office/powerpoint/2010/main" val="205083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1D18B427-F5EC-53CC-5254-D0105C9CE9FC}"/>
              </a:ext>
            </a:extLst>
          </p:cNvPr>
          <p:cNvSpPr>
            <a:spLocks noGrp="1"/>
          </p:cNvSpPr>
          <p:nvPr>
            <p:ph type="title"/>
          </p:nvPr>
        </p:nvSpPr>
        <p:spPr/>
        <p:txBody>
          <a:bodyPr>
            <a:normAutofit/>
          </a:bodyPr>
          <a:lstStyle/>
          <a:p>
            <a:pPr>
              <a:spcBef>
                <a:spcPts val="0"/>
              </a:spcBef>
              <a:buSzPts val="2800"/>
            </a:pPr>
            <a:r>
              <a:rPr lang="en-US" dirty="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0"/>
                  </a:ext>
                </a:extLst>
              </a:rPr>
              <a:t>FINISH Mondial</a:t>
            </a:r>
            <a:br>
              <a:rPr lang="en-US" dirty="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0"/>
                  </a:ext>
                </a:extLst>
              </a:rPr>
            </a:br>
            <a:r>
              <a:rPr lang="en-GB" sz="2400" b="1" dirty="0"/>
              <a:t>Proven Model on Sanitation Market Development for </a:t>
            </a:r>
            <a:r>
              <a:rPr lang="en-GB" sz="3100" b="1" dirty="0" err="1"/>
              <a:t>BoP</a:t>
            </a:r>
            <a:endParaRPr lang="en-GB" sz="3100" dirty="0"/>
          </a:p>
        </p:txBody>
      </p:sp>
      <p:pic>
        <p:nvPicPr>
          <p:cNvPr id="27" name="Content Placeholder 6">
            <a:extLst>
              <a:ext uri="{FF2B5EF4-FFF2-40B4-BE49-F238E27FC236}">
                <a16:creationId xmlns:a16="http://schemas.microsoft.com/office/drawing/2014/main" id="{85273AC6-2AC4-4952-85E9-41455400DAC1}"/>
              </a:ext>
            </a:extLst>
          </p:cNvPr>
          <p:cNvPicPr>
            <a:picLocks noGrp="1"/>
          </p:cNvPicPr>
          <p:nvPr>
            <p:ph sz="quarter" idx="11"/>
          </p:nvPr>
        </p:nvPicPr>
        <p:blipFill>
          <a:blip r:embed="rId2"/>
          <a:stretch>
            <a:fillRect/>
          </a:stretch>
        </p:blipFill>
        <p:spPr>
          <a:xfrm>
            <a:off x="468367" y="5926198"/>
            <a:ext cx="1709930" cy="665163"/>
          </a:xfrm>
          <a:prstGeom prst="rect">
            <a:avLst/>
          </a:prstGeom>
        </p:spPr>
      </p:pic>
      <p:sp>
        <p:nvSpPr>
          <p:cNvPr id="4" name="Content Placeholder 3">
            <a:extLst>
              <a:ext uri="{FF2B5EF4-FFF2-40B4-BE49-F238E27FC236}">
                <a16:creationId xmlns:a16="http://schemas.microsoft.com/office/drawing/2014/main" id="{8EFA3734-3EC2-080F-B4A8-568E0EF42C42}"/>
              </a:ext>
            </a:extLst>
          </p:cNvPr>
          <p:cNvSpPr>
            <a:spLocks noGrp="1"/>
          </p:cNvSpPr>
          <p:nvPr>
            <p:ph idx="1"/>
          </p:nvPr>
        </p:nvSpPr>
        <p:spPr>
          <a:xfrm>
            <a:off x="751840" y="1825625"/>
            <a:ext cx="10703150" cy="3672239"/>
          </a:xfrm>
        </p:spPr>
        <p:txBody>
          <a:bodyPr/>
          <a:lstStyle/>
          <a:p>
            <a:r>
              <a:rPr lang="en-US" sz="2400" dirty="0">
                <a:hlinkClick r:id="rId3"/>
              </a:rPr>
              <a:t>(233) What is Finish Mondial - Animation video (new version 2023) - YouTube</a:t>
            </a:r>
            <a:endParaRPr lang="en-US" sz="2800" dirty="0">
              <a:solidFill>
                <a:schemeClr val="accent3"/>
              </a:solidFill>
              <a:latin typeface="Gill Sans MT" panose="020B0502020104020203" pitchFamily="34" charset="0"/>
              <a:ea typeface="Gill Sans"/>
              <a:cs typeface="Gill Sans"/>
              <a:sym typeface="Gill Sans"/>
            </a:endParaRPr>
          </a:p>
          <a:p>
            <a:endParaRPr lang="en-GB" dirty="0"/>
          </a:p>
        </p:txBody>
      </p:sp>
    </p:spTree>
    <p:extLst>
      <p:ext uri="{BB962C8B-B14F-4D97-AF65-F5344CB8AC3E}">
        <p14:creationId xmlns:p14="http://schemas.microsoft.com/office/powerpoint/2010/main" val="1228004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11768-B9EC-96EE-D90F-4541258A21F9}"/>
              </a:ext>
            </a:extLst>
          </p:cNvPr>
          <p:cNvSpPr>
            <a:spLocks noGrp="1"/>
          </p:cNvSpPr>
          <p:nvPr>
            <p:ph type="title"/>
          </p:nvPr>
        </p:nvSpPr>
        <p:spPr>
          <a:xfrm>
            <a:off x="227733" y="114434"/>
            <a:ext cx="10703150" cy="526973"/>
          </a:xfrm>
        </p:spPr>
        <p:txBody>
          <a:bodyPr>
            <a:normAutofit fontScale="90000"/>
          </a:bodyPr>
          <a:lstStyle/>
          <a:p>
            <a:r>
              <a:rPr lang="en-US" dirty="0"/>
              <a:t>FINISH Mondial Results 2022</a:t>
            </a:r>
            <a:endParaRPr lang="en-GB" dirty="0"/>
          </a:p>
        </p:txBody>
      </p:sp>
      <p:sp>
        <p:nvSpPr>
          <p:cNvPr id="3" name="Footer Placeholder 2">
            <a:extLst>
              <a:ext uri="{FF2B5EF4-FFF2-40B4-BE49-F238E27FC236}">
                <a16:creationId xmlns:a16="http://schemas.microsoft.com/office/drawing/2014/main" id="{7BB87FDC-AAEF-B66A-5CBB-CC6B5CEC7365}"/>
              </a:ext>
            </a:extLst>
          </p:cNvPr>
          <p:cNvSpPr>
            <a:spLocks noGrp="1"/>
          </p:cNvSpPr>
          <p:nvPr>
            <p:ph type="ftr" sz="quarter" idx="3"/>
          </p:nvPr>
        </p:nvSpPr>
        <p:spPr/>
        <p:txBody>
          <a:bodyPr/>
          <a:lstStyle/>
          <a:p>
            <a:endParaRPr lang="en-GB" dirty="0"/>
          </a:p>
        </p:txBody>
      </p:sp>
      <p:pic>
        <p:nvPicPr>
          <p:cNvPr id="6" name="Content Placeholder 5">
            <a:extLst>
              <a:ext uri="{FF2B5EF4-FFF2-40B4-BE49-F238E27FC236}">
                <a16:creationId xmlns:a16="http://schemas.microsoft.com/office/drawing/2014/main" id="{63045591-DA9A-20C7-1BFD-D71103225620}"/>
              </a:ext>
            </a:extLst>
          </p:cNvPr>
          <p:cNvPicPr>
            <a:picLocks noGrp="1" noChangeAspect="1"/>
          </p:cNvPicPr>
          <p:nvPr>
            <p:ph idx="1"/>
          </p:nvPr>
        </p:nvPicPr>
        <p:blipFill>
          <a:blip r:embed="rId2"/>
          <a:stretch>
            <a:fillRect/>
          </a:stretch>
        </p:blipFill>
        <p:spPr>
          <a:xfrm>
            <a:off x="89210" y="759691"/>
            <a:ext cx="12102790" cy="6015684"/>
          </a:xfrm>
        </p:spPr>
      </p:pic>
    </p:spTree>
    <p:extLst>
      <p:ext uri="{BB962C8B-B14F-4D97-AF65-F5344CB8AC3E}">
        <p14:creationId xmlns:p14="http://schemas.microsoft.com/office/powerpoint/2010/main" val="428694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Content Placeholder 6">
            <a:extLst>
              <a:ext uri="{FF2B5EF4-FFF2-40B4-BE49-F238E27FC236}">
                <a16:creationId xmlns:a16="http://schemas.microsoft.com/office/drawing/2014/main" id="{85273AC6-2AC4-4952-85E9-41455400DAC1}"/>
              </a:ext>
            </a:extLst>
          </p:cNvPr>
          <p:cNvPicPr>
            <a:picLocks noGrp="1"/>
          </p:cNvPicPr>
          <p:nvPr>
            <p:ph sz="quarter" idx="11"/>
          </p:nvPr>
        </p:nvPicPr>
        <p:blipFill>
          <a:blip r:embed="rId2"/>
          <a:stretch>
            <a:fillRect/>
          </a:stretch>
        </p:blipFill>
        <p:spPr>
          <a:xfrm>
            <a:off x="468367" y="5926198"/>
            <a:ext cx="1709930" cy="665163"/>
          </a:xfrm>
          <a:prstGeom prst="rect">
            <a:avLst/>
          </a:prstGeom>
        </p:spPr>
      </p:pic>
      <p:sp>
        <p:nvSpPr>
          <p:cNvPr id="2" name="Rectangle 1">
            <a:extLst>
              <a:ext uri="{FF2B5EF4-FFF2-40B4-BE49-F238E27FC236}">
                <a16:creationId xmlns:a16="http://schemas.microsoft.com/office/drawing/2014/main" id="{AA466274-3395-9C86-7E53-9772C6ABA447}"/>
              </a:ext>
            </a:extLst>
          </p:cNvPr>
          <p:cNvSpPr/>
          <p:nvPr/>
        </p:nvSpPr>
        <p:spPr>
          <a:xfrm>
            <a:off x="7350494" y="2134639"/>
            <a:ext cx="1312365" cy="11097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Imagen 8">
            <a:extLst>
              <a:ext uri="{FF2B5EF4-FFF2-40B4-BE49-F238E27FC236}">
                <a16:creationId xmlns:a16="http://schemas.microsoft.com/office/drawing/2014/main" id="{3FF88882-EAE3-A778-FE96-9BD217FB8435}"/>
              </a:ext>
            </a:extLst>
          </p:cNvPr>
          <p:cNvPicPr>
            <a:picLocks noChangeAspect="1"/>
          </p:cNvPicPr>
          <p:nvPr/>
        </p:nvPicPr>
        <p:blipFill>
          <a:blip r:embed="rId3"/>
          <a:stretch>
            <a:fillRect/>
          </a:stretch>
        </p:blipFill>
        <p:spPr>
          <a:xfrm>
            <a:off x="6665862" y="1457615"/>
            <a:ext cx="830994" cy="817691"/>
          </a:xfrm>
          <a:prstGeom prst="rect">
            <a:avLst/>
          </a:prstGeom>
        </p:spPr>
      </p:pic>
      <p:pic>
        <p:nvPicPr>
          <p:cNvPr id="4" name="Imagen 9" descr="Texto&#10;&#10;Descripción generada automáticamente">
            <a:extLst>
              <a:ext uri="{FF2B5EF4-FFF2-40B4-BE49-F238E27FC236}">
                <a16:creationId xmlns:a16="http://schemas.microsoft.com/office/drawing/2014/main" id="{0C321C2C-C989-4247-4819-72580975C9FE}"/>
              </a:ext>
            </a:extLst>
          </p:cNvPr>
          <p:cNvPicPr>
            <a:picLocks noChangeAspect="1"/>
          </p:cNvPicPr>
          <p:nvPr/>
        </p:nvPicPr>
        <p:blipFill>
          <a:blip r:embed="rId4"/>
          <a:stretch>
            <a:fillRect/>
          </a:stretch>
        </p:blipFill>
        <p:spPr>
          <a:xfrm>
            <a:off x="9265832" y="1468301"/>
            <a:ext cx="1435581" cy="575999"/>
          </a:xfrm>
          <a:prstGeom prst="rect">
            <a:avLst/>
          </a:prstGeom>
        </p:spPr>
      </p:pic>
      <p:pic>
        <p:nvPicPr>
          <p:cNvPr id="16" name="Imagen 10" descr="Imagen que contiene Diagrama&#10;&#10;Descripción generada automáticamente">
            <a:extLst>
              <a:ext uri="{FF2B5EF4-FFF2-40B4-BE49-F238E27FC236}">
                <a16:creationId xmlns:a16="http://schemas.microsoft.com/office/drawing/2014/main" id="{E2DF9111-1EC9-644D-D18B-32CDBFB9E3DA}"/>
              </a:ext>
            </a:extLst>
          </p:cNvPr>
          <p:cNvPicPr>
            <a:picLocks noChangeAspect="1"/>
          </p:cNvPicPr>
          <p:nvPr/>
        </p:nvPicPr>
        <p:blipFill>
          <a:blip r:embed="rId5"/>
          <a:stretch>
            <a:fillRect/>
          </a:stretch>
        </p:blipFill>
        <p:spPr>
          <a:xfrm>
            <a:off x="7904355" y="1453431"/>
            <a:ext cx="1012332" cy="693056"/>
          </a:xfrm>
          <a:prstGeom prst="rect">
            <a:avLst/>
          </a:prstGeom>
        </p:spPr>
      </p:pic>
      <p:pic>
        <p:nvPicPr>
          <p:cNvPr id="17" name="Imagen 11" descr="Logotipo, nombre de la empresa&#10;&#10;Descripción generada automáticamente">
            <a:extLst>
              <a:ext uri="{FF2B5EF4-FFF2-40B4-BE49-F238E27FC236}">
                <a16:creationId xmlns:a16="http://schemas.microsoft.com/office/drawing/2014/main" id="{F1720A51-71E9-2E88-5609-96855DAE969F}"/>
              </a:ext>
            </a:extLst>
          </p:cNvPr>
          <p:cNvPicPr>
            <a:picLocks noChangeAspect="1"/>
          </p:cNvPicPr>
          <p:nvPr/>
        </p:nvPicPr>
        <p:blipFill>
          <a:blip r:embed="rId6"/>
          <a:stretch>
            <a:fillRect/>
          </a:stretch>
        </p:blipFill>
        <p:spPr>
          <a:xfrm>
            <a:off x="9283238" y="4781012"/>
            <a:ext cx="689767" cy="420315"/>
          </a:xfrm>
          <a:prstGeom prst="rect">
            <a:avLst/>
          </a:prstGeom>
        </p:spPr>
      </p:pic>
      <p:pic>
        <p:nvPicPr>
          <p:cNvPr id="20" name="Imagen 4" descr="Logotipo, nombre de la empresa&#10;&#10;Descripción generada automáticamente">
            <a:extLst>
              <a:ext uri="{FF2B5EF4-FFF2-40B4-BE49-F238E27FC236}">
                <a16:creationId xmlns:a16="http://schemas.microsoft.com/office/drawing/2014/main" id="{6E19BC97-D038-6D48-A397-9A0524854E28}"/>
              </a:ext>
            </a:extLst>
          </p:cNvPr>
          <p:cNvPicPr>
            <a:picLocks noChangeAspect="1"/>
          </p:cNvPicPr>
          <p:nvPr/>
        </p:nvPicPr>
        <p:blipFill>
          <a:blip r:embed="rId7"/>
          <a:stretch>
            <a:fillRect/>
          </a:stretch>
        </p:blipFill>
        <p:spPr>
          <a:xfrm>
            <a:off x="6733413" y="3056248"/>
            <a:ext cx="1219745" cy="1054227"/>
          </a:xfrm>
          <a:prstGeom prst="rect">
            <a:avLst/>
          </a:prstGeom>
        </p:spPr>
      </p:pic>
      <p:pic>
        <p:nvPicPr>
          <p:cNvPr id="21" name="Imagen 3" descr="Logotipo&#10;&#10;Descripción generada automáticamente">
            <a:extLst>
              <a:ext uri="{FF2B5EF4-FFF2-40B4-BE49-F238E27FC236}">
                <a16:creationId xmlns:a16="http://schemas.microsoft.com/office/drawing/2014/main" id="{143A3468-0B79-51C3-5A17-853FAC86E546}"/>
              </a:ext>
            </a:extLst>
          </p:cNvPr>
          <p:cNvPicPr>
            <a:picLocks noChangeAspect="1"/>
          </p:cNvPicPr>
          <p:nvPr/>
        </p:nvPicPr>
        <p:blipFill>
          <a:blip r:embed="rId8"/>
          <a:stretch>
            <a:fillRect/>
          </a:stretch>
        </p:blipFill>
        <p:spPr>
          <a:xfrm>
            <a:off x="6488477" y="2463473"/>
            <a:ext cx="1061052" cy="592775"/>
          </a:xfrm>
          <a:prstGeom prst="rect">
            <a:avLst/>
          </a:prstGeom>
        </p:spPr>
      </p:pic>
      <p:pic>
        <p:nvPicPr>
          <p:cNvPr id="22" name="Gráfico 5">
            <a:extLst>
              <a:ext uri="{FF2B5EF4-FFF2-40B4-BE49-F238E27FC236}">
                <a16:creationId xmlns:a16="http://schemas.microsoft.com/office/drawing/2014/main" id="{132DFA75-ED2C-98D7-04C6-3CAC995B48A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62838" y="3711955"/>
            <a:ext cx="1030853" cy="1021465"/>
          </a:xfrm>
          <a:prstGeom prst="rect">
            <a:avLst/>
          </a:prstGeom>
        </p:spPr>
      </p:pic>
      <p:pic>
        <p:nvPicPr>
          <p:cNvPr id="23" name="Picture 6" descr="Logo&#10;&#10;Description automatically generated">
            <a:extLst>
              <a:ext uri="{FF2B5EF4-FFF2-40B4-BE49-F238E27FC236}">
                <a16:creationId xmlns:a16="http://schemas.microsoft.com/office/drawing/2014/main" id="{31E1724D-AB4B-9B2F-CF83-3EA839A362AA}"/>
              </a:ext>
            </a:extLst>
          </p:cNvPr>
          <p:cNvPicPr>
            <a:picLocks noChangeAspect="1"/>
          </p:cNvPicPr>
          <p:nvPr/>
        </p:nvPicPr>
        <p:blipFill>
          <a:blip r:embed="rId11"/>
          <a:stretch>
            <a:fillRect/>
          </a:stretch>
        </p:blipFill>
        <p:spPr>
          <a:xfrm>
            <a:off x="7686926" y="2489940"/>
            <a:ext cx="1449239" cy="420314"/>
          </a:xfrm>
          <a:prstGeom prst="rect">
            <a:avLst/>
          </a:prstGeom>
        </p:spPr>
      </p:pic>
      <p:pic>
        <p:nvPicPr>
          <p:cNvPr id="24" name="Picture 12" descr="Icon&#10;&#10;Description automatically generated">
            <a:extLst>
              <a:ext uri="{FF2B5EF4-FFF2-40B4-BE49-F238E27FC236}">
                <a16:creationId xmlns:a16="http://schemas.microsoft.com/office/drawing/2014/main" id="{B9E83B8C-F41F-1324-9D35-B1E2583BA46A}"/>
              </a:ext>
            </a:extLst>
          </p:cNvPr>
          <p:cNvPicPr>
            <a:picLocks noChangeAspect="1"/>
          </p:cNvPicPr>
          <p:nvPr/>
        </p:nvPicPr>
        <p:blipFill>
          <a:blip r:embed="rId12"/>
          <a:stretch>
            <a:fillRect/>
          </a:stretch>
        </p:blipFill>
        <p:spPr>
          <a:xfrm>
            <a:off x="6034103" y="3910796"/>
            <a:ext cx="842873" cy="842873"/>
          </a:xfrm>
          <a:prstGeom prst="rect">
            <a:avLst/>
          </a:prstGeom>
        </p:spPr>
      </p:pic>
      <p:pic>
        <p:nvPicPr>
          <p:cNvPr id="26" name="Picture 13" descr="A picture containing text&#10;&#10;Description automatically generated">
            <a:extLst>
              <a:ext uri="{FF2B5EF4-FFF2-40B4-BE49-F238E27FC236}">
                <a16:creationId xmlns:a16="http://schemas.microsoft.com/office/drawing/2014/main" id="{13231CA2-CBFD-F58B-F57E-6F0F02E04E9E}"/>
              </a:ext>
            </a:extLst>
          </p:cNvPr>
          <p:cNvPicPr>
            <a:picLocks noChangeAspect="1"/>
          </p:cNvPicPr>
          <p:nvPr/>
        </p:nvPicPr>
        <p:blipFill>
          <a:blip r:embed="rId13"/>
          <a:stretch>
            <a:fillRect/>
          </a:stretch>
        </p:blipFill>
        <p:spPr>
          <a:xfrm>
            <a:off x="9249240" y="2298181"/>
            <a:ext cx="989163" cy="612073"/>
          </a:xfrm>
          <a:prstGeom prst="rect">
            <a:avLst/>
          </a:prstGeom>
        </p:spPr>
      </p:pic>
      <p:pic>
        <p:nvPicPr>
          <p:cNvPr id="28" name="Picture 14" descr="Logo&#10;&#10;Description automatically generated">
            <a:extLst>
              <a:ext uri="{FF2B5EF4-FFF2-40B4-BE49-F238E27FC236}">
                <a16:creationId xmlns:a16="http://schemas.microsoft.com/office/drawing/2014/main" id="{A3AD9EA5-FDE1-FF22-2121-90C20A6C1EA0}"/>
              </a:ext>
            </a:extLst>
          </p:cNvPr>
          <p:cNvPicPr>
            <a:picLocks noChangeAspect="1"/>
          </p:cNvPicPr>
          <p:nvPr/>
        </p:nvPicPr>
        <p:blipFill>
          <a:blip r:embed="rId14"/>
          <a:stretch>
            <a:fillRect/>
          </a:stretch>
        </p:blipFill>
        <p:spPr>
          <a:xfrm>
            <a:off x="6127779" y="3076322"/>
            <a:ext cx="485956" cy="725573"/>
          </a:xfrm>
          <a:prstGeom prst="rect">
            <a:avLst/>
          </a:prstGeom>
        </p:spPr>
      </p:pic>
      <p:pic>
        <p:nvPicPr>
          <p:cNvPr id="29" name="Picture 16" descr="A picture containing logo&#10;&#10;Description automatically generated">
            <a:extLst>
              <a:ext uri="{FF2B5EF4-FFF2-40B4-BE49-F238E27FC236}">
                <a16:creationId xmlns:a16="http://schemas.microsoft.com/office/drawing/2014/main" id="{02610C99-270B-0DCA-6819-528971FE91F2}"/>
              </a:ext>
            </a:extLst>
          </p:cNvPr>
          <p:cNvPicPr>
            <a:picLocks noChangeAspect="1"/>
          </p:cNvPicPr>
          <p:nvPr/>
        </p:nvPicPr>
        <p:blipFill>
          <a:blip r:embed="rId15"/>
          <a:stretch>
            <a:fillRect/>
          </a:stretch>
        </p:blipFill>
        <p:spPr>
          <a:xfrm>
            <a:off x="8437869" y="4862012"/>
            <a:ext cx="602521" cy="339315"/>
          </a:xfrm>
          <a:prstGeom prst="rect">
            <a:avLst/>
          </a:prstGeom>
        </p:spPr>
      </p:pic>
      <p:pic>
        <p:nvPicPr>
          <p:cNvPr id="30" name="Picture 17" descr="Logo, company name&#10;&#10;Description automatically generated">
            <a:extLst>
              <a:ext uri="{FF2B5EF4-FFF2-40B4-BE49-F238E27FC236}">
                <a16:creationId xmlns:a16="http://schemas.microsoft.com/office/drawing/2014/main" id="{91571582-28C4-B535-DEFE-33E2804B10AC}"/>
              </a:ext>
            </a:extLst>
          </p:cNvPr>
          <p:cNvPicPr>
            <a:picLocks noChangeAspect="1"/>
          </p:cNvPicPr>
          <p:nvPr/>
        </p:nvPicPr>
        <p:blipFill>
          <a:blip r:embed="rId16"/>
          <a:stretch>
            <a:fillRect/>
          </a:stretch>
        </p:blipFill>
        <p:spPr>
          <a:xfrm>
            <a:off x="6034103" y="4612693"/>
            <a:ext cx="898586" cy="855454"/>
          </a:xfrm>
          <a:prstGeom prst="rect">
            <a:avLst/>
          </a:prstGeom>
        </p:spPr>
      </p:pic>
      <p:pic>
        <p:nvPicPr>
          <p:cNvPr id="31" name="Picture 18" descr="A picture containing text, sign&#10;&#10;Description automatically generated">
            <a:extLst>
              <a:ext uri="{FF2B5EF4-FFF2-40B4-BE49-F238E27FC236}">
                <a16:creationId xmlns:a16="http://schemas.microsoft.com/office/drawing/2014/main" id="{7049DEA7-21A0-1F62-EBEB-C2A80218C5D2}"/>
              </a:ext>
            </a:extLst>
          </p:cNvPr>
          <p:cNvPicPr>
            <a:picLocks noChangeAspect="1"/>
          </p:cNvPicPr>
          <p:nvPr/>
        </p:nvPicPr>
        <p:blipFill>
          <a:blip r:embed="rId17"/>
          <a:stretch>
            <a:fillRect/>
          </a:stretch>
        </p:blipFill>
        <p:spPr>
          <a:xfrm>
            <a:off x="10944826" y="4143617"/>
            <a:ext cx="859767" cy="430348"/>
          </a:xfrm>
          <a:prstGeom prst="rect">
            <a:avLst/>
          </a:prstGeom>
        </p:spPr>
      </p:pic>
      <p:pic>
        <p:nvPicPr>
          <p:cNvPr id="32" name="Picture 19" descr="Logo&#10;&#10;Description automatically generated">
            <a:extLst>
              <a:ext uri="{FF2B5EF4-FFF2-40B4-BE49-F238E27FC236}">
                <a16:creationId xmlns:a16="http://schemas.microsoft.com/office/drawing/2014/main" id="{A9D0AC19-29EE-4368-289B-82C27A9511A9}"/>
              </a:ext>
            </a:extLst>
          </p:cNvPr>
          <p:cNvPicPr>
            <a:picLocks noChangeAspect="1"/>
          </p:cNvPicPr>
          <p:nvPr/>
        </p:nvPicPr>
        <p:blipFill>
          <a:blip r:embed="rId18"/>
          <a:stretch>
            <a:fillRect/>
          </a:stretch>
        </p:blipFill>
        <p:spPr>
          <a:xfrm>
            <a:off x="7081359" y="4862013"/>
            <a:ext cx="1012332" cy="339315"/>
          </a:xfrm>
          <a:prstGeom prst="rect">
            <a:avLst/>
          </a:prstGeom>
        </p:spPr>
      </p:pic>
      <p:pic>
        <p:nvPicPr>
          <p:cNvPr id="33" name="Picture 20" descr="Logo, company name&#10;&#10;Description automatically generated">
            <a:extLst>
              <a:ext uri="{FF2B5EF4-FFF2-40B4-BE49-F238E27FC236}">
                <a16:creationId xmlns:a16="http://schemas.microsoft.com/office/drawing/2014/main" id="{02DF294F-7414-CB2D-35E1-6B74B5D5AC66}"/>
              </a:ext>
            </a:extLst>
          </p:cNvPr>
          <p:cNvPicPr>
            <a:picLocks noChangeAspect="1"/>
          </p:cNvPicPr>
          <p:nvPr/>
        </p:nvPicPr>
        <p:blipFill>
          <a:blip r:embed="rId19"/>
          <a:stretch>
            <a:fillRect/>
          </a:stretch>
        </p:blipFill>
        <p:spPr>
          <a:xfrm>
            <a:off x="10875464" y="3168332"/>
            <a:ext cx="701616" cy="687239"/>
          </a:xfrm>
          <a:prstGeom prst="rect">
            <a:avLst/>
          </a:prstGeom>
        </p:spPr>
      </p:pic>
      <p:pic>
        <p:nvPicPr>
          <p:cNvPr id="34" name="Picture 21" descr="Logo&#10;&#10;Description automatically generated">
            <a:extLst>
              <a:ext uri="{FF2B5EF4-FFF2-40B4-BE49-F238E27FC236}">
                <a16:creationId xmlns:a16="http://schemas.microsoft.com/office/drawing/2014/main" id="{27A3E254-8D51-178A-D9D2-827D7D6C30EF}"/>
              </a:ext>
            </a:extLst>
          </p:cNvPr>
          <p:cNvPicPr>
            <a:picLocks noChangeAspect="1"/>
          </p:cNvPicPr>
          <p:nvPr/>
        </p:nvPicPr>
        <p:blipFill>
          <a:blip r:embed="rId20"/>
          <a:stretch>
            <a:fillRect/>
          </a:stretch>
        </p:blipFill>
        <p:spPr>
          <a:xfrm>
            <a:off x="9368704" y="4055646"/>
            <a:ext cx="1246697" cy="502669"/>
          </a:xfrm>
          <a:prstGeom prst="rect">
            <a:avLst/>
          </a:prstGeom>
        </p:spPr>
      </p:pic>
      <p:pic>
        <p:nvPicPr>
          <p:cNvPr id="35" name="Picture 2" descr="A picture containing outdoor, ground, red, building&#10;&#10;Description automatically generated">
            <a:extLst>
              <a:ext uri="{FF2B5EF4-FFF2-40B4-BE49-F238E27FC236}">
                <a16:creationId xmlns:a16="http://schemas.microsoft.com/office/drawing/2014/main" id="{9DEAB362-006E-3249-BDEB-65E4FD5F24D5}"/>
              </a:ext>
            </a:extLst>
          </p:cNvPr>
          <p:cNvPicPr>
            <a:picLocks noChangeAspect="1"/>
          </p:cNvPicPr>
          <p:nvPr/>
        </p:nvPicPr>
        <p:blipFill>
          <a:blip r:embed="rId21"/>
          <a:stretch>
            <a:fillRect/>
          </a:stretch>
        </p:blipFill>
        <p:spPr>
          <a:xfrm>
            <a:off x="1145957" y="3428999"/>
            <a:ext cx="3636107" cy="2415707"/>
          </a:xfrm>
          <a:prstGeom prst="rect">
            <a:avLst/>
          </a:prstGeom>
        </p:spPr>
      </p:pic>
      <p:sp>
        <p:nvSpPr>
          <p:cNvPr id="36" name="Content Placeholder 9">
            <a:extLst>
              <a:ext uri="{FF2B5EF4-FFF2-40B4-BE49-F238E27FC236}">
                <a16:creationId xmlns:a16="http://schemas.microsoft.com/office/drawing/2014/main" id="{3886D91A-A554-D786-97C6-7E971020F083}"/>
              </a:ext>
            </a:extLst>
          </p:cNvPr>
          <p:cNvSpPr txBox="1">
            <a:spLocks/>
          </p:cNvSpPr>
          <p:nvPr/>
        </p:nvSpPr>
        <p:spPr>
          <a:xfrm>
            <a:off x="422418" y="1391723"/>
            <a:ext cx="4994052" cy="377253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Tx/>
              <a:buNone/>
              <a:defRPr sz="2200" b="0" kern="1200">
                <a:solidFill>
                  <a:schemeClr val="tx1"/>
                </a:solidFill>
                <a:latin typeface="Quicksand" pitchFamily="2" charset="0"/>
                <a:ea typeface="+mn-ea"/>
                <a:cs typeface="+mn-cs"/>
              </a:defRPr>
            </a:lvl1pPr>
            <a:lvl2pPr marL="182563" indent="-182563" algn="l" defTabSz="914400" rtl="0" eaLnBrk="1" latinLnBrk="0" hangingPunct="1">
              <a:lnSpc>
                <a:spcPct val="90000"/>
              </a:lnSpc>
              <a:spcBef>
                <a:spcPts val="500"/>
              </a:spcBef>
              <a:buClr>
                <a:schemeClr val="bg2"/>
              </a:buClr>
              <a:buFont typeface="Arial" panose="020B0604020202020204" pitchFamily="34" charset="0"/>
              <a:buChar char="•"/>
              <a:defRPr sz="2000" kern="1200">
                <a:solidFill>
                  <a:schemeClr val="tx1"/>
                </a:solidFill>
                <a:latin typeface="Quicksand" pitchFamily="2" charset="0"/>
                <a:ea typeface="+mn-ea"/>
                <a:cs typeface="+mn-cs"/>
              </a:defRPr>
            </a:lvl2pPr>
            <a:lvl3pPr marL="684000" indent="-182563" algn="l" defTabSz="914400" rtl="0" eaLnBrk="1" latinLnBrk="0" hangingPunct="1">
              <a:lnSpc>
                <a:spcPct val="90000"/>
              </a:lnSpc>
              <a:spcBef>
                <a:spcPts val="500"/>
              </a:spcBef>
              <a:buClr>
                <a:schemeClr val="bg2"/>
              </a:buClr>
              <a:buFont typeface="System Font Regular"/>
              <a:buChar char="-"/>
              <a:defRPr sz="1800" kern="1200">
                <a:solidFill>
                  <a:schemeClr val="tx1"/>
                </a:solidFill>
                <a:latin typeface="Quicksand" pitchFamily="2" charset="0"/>
                <a:ea typeface="+mn-ea"/>
                <a:cs typeface="+mn-cs"/>
              </a:defRPr>
            </a:lvl3pPr>
            <a:lvl4pPr marL="1368000" indent="-182563" algn="l" defTabSz="914400" rtl="0" eaLnBrk="1" latinLnBrk="0" hangingPunct="1">
              <a:lnSpc>
                <a:spcPct val="90000"/>
              </a:lnSpc>
              <a:spcBef>
                <a:spcPts val="500"/>
              </a:spcBef>
              <a:buClr>
                <a:schemeClr val="bg2"/>
              </a:buClr>
              <a:buFont typeface="Arial" panose="020B0604020202020204" pitchFamily="34" charset="0"/>
              <a:buChar char="•"/>
              <a:defRPr sz="1600" kern="1200">
                <a:solidFill>
                  <a:schemeClr val="tx1"/>
                </a:solidFill>
                <a:latin typeface="Quicksand" pitchFamily="2" charset="0"/>
                <a:ea typeface="+mn-ea"/>
                <a:cs typeface="+mn-cs"/>
              </a:defRPr>
            </a:lvl4pPr>
            <a:lvl5pPr marL="2052000" indent="-182563" algn="l" defTabSz="914400" rtl="0" eaLnBrk="1" latinLnBrk="0" hangingPunct="1">
              <a:lnSpc>
                <a:spcPct val="90000"/>
              </a:lnSpc>
              <a:spcBef>
                <a:spcPts val="500"/>
              </a:spcBef>
              <a:buClr>
                <a:schemeClr val="bg2"/>
              </a:buClr>
              <a:buFont typeface="System Font Regular"/>
              <a:buChar char="-"/>
              <a:defRPr sz="1400" kern="1200">
                <a:solidFill>
                  <a:schemeClr val="tx1"/>
                </a:solidFill>
                <a:latin typeface="Quicksand"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7187" indent="-285750">
              <a:buClr>
                <a:schemeClr val="tx1">
                  <a:lumMod val="65000"/>
                  <a:lumOff val="35000"/>
                </a:schemeClr>
              </a:buClr>
              <a:buSzPts val="2100"/>
              <a:buFont typeface="Arial" panose="020B0604020202020204" pitchFamily="34" charset="0"/>
              <a:buChar char="•"/>
            </a:pPr>
            <a:endParaRPr lang="en-US" sz="2400" dirty="0">
              <a:solidFill>
                <a:schemeClr val="accent3"/>
              </a:solidFill>
              <a:latin typeface="Gill Sans MT" panose="020B0502020104020203" pitchFamily="34" charset="0"/>
              <a:ea typeface="Gill Sans"/>
              <a:cs typeface="Gill Sans"/>
              <a:sym typeface="Gill Sans"/>
            </a:endParaRPr>
          </a:p>
        </p:txBody>
      </p:sp>
      <p:pic>
        <p:nvPicPr>
          <p:cNvPr id="1026" name="Picture 2" descr="Environment and Social Development Organization-ESDO">
            <a:extLst>
              <a:ext uri="{FF2B5EF4-FFF2-40B4-BE49-F238E27FC236}">
                <a16:creationId xmlns:a16="http://schemas.microsoft.com/office/drawing/2014/main" id="{5DB370DB-BE24-C9E9-3BC0-4CF28BA6D03C}"/>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249240" y="3243383"/>
            <a:ext cx="1131080" cy="56474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Uttaran - Citizen's Platform for SDGs, Bangladesh">
            <a:extLst>
              <a:ext uri="{FF2B5EF4-FFF2-40B4-BE49-F238E27FC236}">
                <a16:creationId xmlns:a16="http://schemas.microsoft.com/office/drawing/2014/main" id="{206B9D1A-FA42-FD34-94DD-E828804736ED}"/>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8229156" y="3310551"/>
            <a:ext cx="524940" cy="54502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Sa-Dhan seeks government support for its members - The Economic Times">
            <a:extLst>
              <a:ext uri="{FF2B5EF4-FFF2-40B4-BE49-F238E27FC236}">
                <a16:creationId xmlns:a16="http://schemas.microsoft.com/office/drawing/2014/main" id="{82041B71-EDAE-6D18-6C7D-48994D80DF21}"/>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8287197" y="4036379"/>
            <a:ext cx="859767" cy="644825"/>
          </a:xfrm>
          <a:prstGeom prst="rect">
            <a:avLst/>
          </a:prstGeom>
          <a:noFill/>
          <a:extLst>
            <a:ext uri="{909E8E84-426E-40DD-AFC4-6F175D3DCCD1}">
              <a14:hiddenFill xmlns:a14="http://schemas.microsoft.com/office/drawing/2010/main">
                <a:solidFill>
                  <a:srgbClr val="FFFFFF"/>
                </a:solidFill>
              </a14:hiddenFill>
            </a:ext>
          </a:extLst>
        </p:spPr>
      </p:pic>
      <p:sp>
        <p:nvSpPr>
          <p:cNvPr id="38" name="Content Placeholder 37">
            <a:extLst>
              <a:ext uri="{FF2B5EF4-FFF2-40B4-BE49-F238E27FC236}">
                <a16:creationId xmlns:a16="http://schemas.microsoft.com/office/drawing/2014/main" id="{31A65E63-F300-8F5B-E208-0C6CC801CD40}"/>
              </a:ext>
            </a:extLst>
          </p:cNvPr>
          <p:cNvSpPr>
            <a:spLocks noGrp="1"/>
          </p:cNvSpPr>
          <p:nvPr>
            <p:ph idx="1"/>
          </p:nvPr>
        </p:nvSpPr>
        <p:spPr>
          <a:xfrm>
            <a:off x="803275" y="1288918"/>
            <a:ext cx="5140325" cy="3772535"/>
          </a:xfrm>
        </p:spPr>
        <p:txBody>
          <a:bodyPr/>
          <a:lstStyle/>
          <a:p>
            <a:pPr marL="357187" indent="-285750">
              <a:lnSpc>
                <a:spcPct val="100000"/>
              </a:lnSpc>
              <a:buClr>
                <a:schemeClr val="tx1">
                  <a:lumMod val="65000"/>
                  <a:lumOff val="35000"/>
                </a:schemeClr>
              </a:buClr>
              <a:buSzPts val="2100"/>
              <a:buFont typeface="Arial" panose="020B0604020202020204" pitchFamily="34" charset="0"/>
              <a:buChar char="•"/>
            </a:pPr>
            <a:r>
              <a:rPr lang="en-US" sz="2000" dirty="0">
                <a:solidFill>
                  <a:schemeClr val="accent3"/>
                </a:solidFill>
                <a:ea typeface="Gill Sans"/>
                <a:cs typeface="Gill Sans"/>
                <a:sym typeface="Gill Sans"/>
              </a:rPr>
              <a:t>FM targets 10 million people with access to safely managed sanitation (2021-2025) </a:t>
            </a:r>
          </a:p>
          <a:p>
            <a:pPr marL="357187" indent="-285750">
              <a:lnSpc>
                <a:spcPct val="100000"/>
              </a:lnSpc>
              <a:buClr>
                <a:schemeClr val="tx1">
                  <a:lumMod val="65000"/>
                  <a:lumOff val="35000"/>
                </a:schemeClr>
              </a:buClr>
              <a:buSzPts val="2100"/>
              <a:buFont typeface="Arial" panose="020B0604020202020204" pitchFamily="34" charset="0"/>
              <a:buChar char="•"/>
            </a:pPr>
            <a:r>
              <a:rPr lang="en-US" sz="2000" dirty="0">
                <a:solidFill>
                  <a:schemeClr val="accent3"/>
                </a:solidFill>
                <a:ea typeface="Gill Sans"/>
                <a:cs typeface="Gill Sans"/>
                <a:sym typeface="Gill Sans"/>
              </a:rPr>
              <a:t>Financial inclusion &amp; leverage are next to climate adapted safely managed sanitation USPs</a:t>
            </a:r>
          </a:p>
          <a:p>
            <a:endParaRPr lang="en-GB" dirty="0"/>
          </a:p>
        </p:txBody>
      </p:sp>
      <p:sp>
        <p:nvSpPr>
          <p:cNvPr id="40" name="Title 39">
            <a:extLst>
              <a:ext uri="{FF2B5EF4-FFF2-40B4-BE49-F238E27FC236}">
                <a16:creationId xmlns:a16="http://schemas.microsoft.com/office/drawing/2014/main" id="{4BA680C3-73F9-1F56-93C3-4E01D2E33774}"/>
              </a:ext>
            </a:extLst>
          </p:cNvPr>
          <p:cNvSpPr>
            <a:spLocks noGrp="1"/>
          </p:cNvSpPr>
          <p:nvPr>
            <p:ph type="title"/>
          </p:nvPr>
        </p:nvSpPr>
        <p:spPr>
          <a:xfrm>
            <a:off x="803275" y="636975"/>
            <a:ext cx="10703150" cy="759778"/>
          </a:xfrm>
        </p:spPr>
        <p:txBody>
          <a:bodyPr>
            <a:noAutofit/>
          </a:bodyPr>
          <a:lstStyle/>
          <a:p>
            <a:r>
              <a:rPr lang="es-ES" spc="-20" dirty="0">
                <a:cs typeface="Carlito"/>
              </a:rPr>
              <a:t>FINISH Mondial </a:t>
            </a:r>
            <a:br>
              <a:rPr lang="es-ES" spc="-20" dirty="0">
                <a:cs typeface="Carlito"/>
              </a:rPr>
            </a:br>
            <a:endParaRPr lang="en-GB" dirty="0"/>
          </a:p>
        </p:txBody>
      </p:sp>
      <p:pic>
        <p:nvPicPr>
          <p:cNvPr id="1034" name="Picture 10" descr="Family Bank Ltd – Chief Risk Officer. – Career Associated">
            <a:extLst>
              <a:ext uri="{FF2B5EF4-FFF2-40B4-BE49-F238E27FC236}">
                <a16:creationId xmlns:a16="http://schemas.microsoft.com/office/drawing/2014/main" id="{CC376DE7-B999-D442-5BB5-EF9FD5493406}"/>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0229937" y="4847686"/>
            <a:ext cx="1424058" cy="353641"/>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Achieving SDG Synergies Through Innovative Financial Instruments ...">
            <a:extLst>
              <a:ext uri="{FF2B5EF4-FFF2-40B4-BE49-F238E27FC236}">
                <a16:creationId xmlns:a16="http://schemas.microsoft.com/office/drawing/2014/main" id="{AC2CAC33-2E4E-C14C-E05C-58CC19936F8A}"/>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0612586" y="2350627"/>
            <a:ext cx="613686" cy="5793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4430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py0015CvnSPdY4aFihJoA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hJTghnYBfX67IZYDeOX_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yKMcErkgYiiBsXBEwtA4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pqsO5hOvPpfFcgbg1o8_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JOqDJSUXtN5H3uqcAUJ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b4Xtb_UtSZXje4puGCdm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ESEO5sgzEsmVlIn7YITb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5PMuwKFL0Yg24OCv78P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2Y0yH0DMcUTxBR72xzv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DfR9yjvYqZFdzt6CiVE.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BmVs55BARG0_J.FLYLly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kXoQlYDtxU8YENAOkJw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QIgM6v2rMtDCCbRhLsp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w4_ltZ8aHEVMKFjFRYl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SX_6q9kqax3wPtyq_r1r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q396GyZtverVM98Niqv_Z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aNjSjSvCfsy0Uu5uSCfy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ozgkYpF50AiShb4Zh_gk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_v5sqDzYR8X2l_3JQp1sN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kgRIe9q4cYAP5t44_5S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mFwqkb3Y6aE7CbYEZ0k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xPqeIdXKYo1oODRNs5v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B.nVOrwISOLH8TpeJYM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5J3NYUoFlA.pnG2lwEc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a7NpOLaGQj0.7X8mqXMc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8yJyusPg9..BwKDU1pah2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HWZGDW_ZpvbuN6AHjmTcQ"/>
</p:tagLst>
</file>

<file path=ppt/theme/theme1.xml><?xml version="1.0" encoding="utf-8"?>
<a:theme xmlns:a="http://schemas.openxmlformats.org/drawingml/2006/main" name="Office Theme">
  <a:themeElements>
    <a:clrScheme name="All Systems Connect">
      <a:dk1>
        <a:srgbClr val="0C0C0C"/>
      </a:dk1>
      <a:lt1>
        <a:sysClr val="window" lastClr="FFFFFF"/>
      </a:lt1>
      <a:dk2>
        <a:srgbClr val="CAF906"/>
      </a:dk2>
      <a:lt2>
        <a:srgbClr val="00B0E1"/>
      </a:lt2>
      <a:accent1>
        <a:srgbClr val="00A79D"/>
      </a:accent1>
      <a:accent2>
        <a:srgbClr val="9D63E3"/>
      </a:accent2>
      <a:accent3>
        <a:srgbClr val="0F5C78"/>
      </a:accent3>
      <a:accent4>
        <a:srgbClr val="0C0C0C"/>
      </a:accent4>
      <a:accent5>
        <a:srgbClr val="595959"/>
      </a:accent5>
      <a:accent6>
        <a:srgbClr val="92CDDC"/>
      </a:accent6>
      <a:hlink>
        <a:srgbClr val="92CDDC"/>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8" id="{5C1DAF2E-F007-EA41-8BB6-A2B3DEBEC09C}" vid="{CE75E3E0-FF25-4D47-A780-FA8F036E8DA4}"/>
    </a:ext>
  </a:extLst>
</a:theme>
</file>

<file path=ppt/theme/theme2.xml><?xml version="1.0" encoding="utf-8"?>
<a:theme xmlns:a="http://schemas.openxmlformats.org/drawingml/2006/main" name="2_Office Theme">
  <a:themeElements>
    <a:clrScheme name="All Systems Connect">
      <a:dk1>
        <a:srgbClr val="0C0C0C"/>
      </a:dk1>
      <a:lt1>
        <a:sysClr val="window" lastClr="FFFFFF"/>
      </a:lt1>
      <a:dk2>
        <a:srgbClr val="CAF906"/>
      </a:dk2>
      <a:lt2>
        <a:srgbClr val="00B0E1"/>
      </a:lt2>
      <a:accent1>
        <a:srgbClr val="00A79D"/>
      </a:accent1>
      <a:accent2>
        <a:srgbClr val="9D63E3"/>
      </a:accent2>
      <a:accent3>
        <a:srgbClr val="0F5C78"/>
      </a:accent3>
      <a:accent4>
        <a:srgbClr val="0C0C0C"/>
      </a:accent4>
      <a:accent5>
        <a:srgbClr val="595959"/>
      </a:accent5>
      <a:accent6>
        <a:srgbClr val="92CDDC"/>
      </a:accent6>
      <a:hlink>
        <a:srgbClr val="92CDDC"/>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5E9FDEED1CF3F4B9DC0D7FB7D725DAF" ma:contentTypeVersion="17" ma:contentTypeDescription="Create a new document." ma:contentTypeScope="" ma:versionID="a00065f7382228d9d3730e1fe2adf852">
  <xsd:schema xmlns:xsd="http://www.w3.org/2001/XMLSchema" xmlns:xs="http://www.w3.org/2001/XMLSchema" xmlns:p="http://schemas.microsoft.com/office/2006/metadata/properties" xmlns:ns2="7cf6d27a-a121-47a7-bb37-240d2e08ea91" xmlns:ns3="bbc718c4-94a0-4501-a8e8-70f7c8e44e11" targetNamespace="http://schemas.microsoft.com/office/2006/metadata/properties" ma:root="true" ma:fieldsID="76c43f8a2367fa9bfe0536691432201d" ns2:_="" ns3:_="">
    <xsd:import namespace="7cf6d27a-a121-47a7-bb37-240d2e08ea91"/>
    <xsd:import namespace="bbc718c4-94a0-4501-a8e8-70f7c8e44e1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GenerationTime" minOccurs="0"/>
                <xsd:element ref="ns2:MediaServiceEventHashCode" minOccurs="0"/>
                <xsd:element ref="ns2:MediaServiceOCR" minOccurs="0"/>
                <xsd:element ref="ns2:lcf76f155ced4ddcb4097134ff3c332f" minOccurs="0"/>
                <xsd:element ref="ns3:TaxCatchAll" minOccurs="0"/>
                <xsd:element ref="ns2:MediaServiceDateTaken" minOccurs="0"/>
                <xsd:element ref="ns2:MediaLengthInSecond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cf6d27a-a121-47a7-bb37-240d2e08ea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fe83bbb5-db0d-49e0-93d3-6afa06249b03" ma:termSetId="09814cd3-568e-fe90-9814-8d621ff8fb84" ma:anchorId="fba54fb3-c3e1-fe81-a776-ca4b69148c4d" ma:open="true" ma:isKeyword="false">
      <xsd:complexType>
        <xsd:sequence>
          <xsd:element ref="pc:Terms" minOccurs="0" maxOccurs="1"/>
        </xsd:sequence>
      </xsd:complexType>
    </xsd:element>
    <xsd:element name="MediaServiceDateTaken" ma:index="20" nillable="true" ma:displayName="MediaServiceDateTaken" ma:hidden="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ternalName="MediaServiceLocation"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bc718c4-94a0-4501-a8e8-70f7c8e44e1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72d0e25c-88f3-40b1-ba6b-c6b79027402b}" ma:internalName="TaxCatchAll" ma:showField="CatchAllData" ma:web="bbc718c4-94a0-4501-a8e8-70f7c8e44e1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cf6d27a-a121-47a7-bb37-240d2e08ea91">
      <Terms xmlns="http://schemas.microsoft.com/office/infopath/2007/PartnerControls"/>
    </lcf76f155ced4ddcb4097134ff3c332f>
    <TaxCatchAll xmlns="bbc718c4-94a0-4501-a8e8-70f7c8e44e11" xsi:nil="true"/>
  </documentManagement>
</p:properties>
</file>

<file path=customXml/itemProps1.xml><?xml version="1.0" encoding="utf-8"?>
<ds:datastoreItem xmlns:ds="http://schemas.openxmlformats.org/officeDocument/2006/customXml" ds:itemID="{1508F857-A136-450A-97FC-47DCE9C36CE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cf6d27a-a121-47a7-bb37-240d2e08ea91"/>
    <ds:schemaRef ds:uri="bbc718c4-94a0-4501-a8e8-70f7c8e44e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A773CE7-6A6A-4A81-9C13-DC9C31612452}">
  <ds:schemaRefs>
    <ds:schemaRef ds:uri="http://schemas.microsoft.com/sharepoint/v3/contenttype/forms"/>
  </ds:schemaRefs>
</ds:datastoreItem>
</file>

<file path=customXml/itemProps3.xml><?xml version="1.0" encoding="utf-8"?>
<ds:datastoreItem xmlns:ds="http://schemas.openxmlformats.org/officeDocument/2006/customXml" ds:itemID="{3EBBF8C0-4232-4ED5-8C41-F237ABF6B8FF}">
  <ds:schemaRefs>
    <ds:schemaRef ds:uri="http://schemas.microsoft.com/office/2006/metadata/properties"/>
    <ds:schemaRef ds:uri="http://schemas.microsoft.com/office/infopath/2007/PartnerControls"/>
    <ds:schemaRef ds:uri="7cf6d27a-a121-47a7-bb37-240d2e08ea91"/>
    <ds:schemaRef ds:uri="bbc718c4-94a0-4501-a8e8-70f7c8e44e11"/>
  </ds:schemaRefs>
</ds:datastoreItem>
</file>

<file path=docProps/app.xml><?xml version="1.0" encoding="utf-8"?>
<Properties xmlns="http://schemas.openxmlformats.org/officeDocument/2006/extended-properties" xmlns:vt="http://schemas.openxmlformats.org/officeDocument/2006/docPropsVTypes">
  <Template>Office Theme</Template>
  <TotalTime>4175</TotalTime>
  <Words>4291</Words>
  <Application>Microsoft Office PowerPoint</Application>
  <PresentationFormat>Widescreen</PresentationFormat>
  <Paragraphs>478</Paragraphs>
  <Slides>43</Slides>
  <Notes>30</Notes>
  <HiddenSlides>1</HiddenSlides>
  <MMClips>0</MMClips>
  <ScaleCrop>false</ScaleCrop>
  <HeadingPairs>
    <vt:vector size="6" baseType="variant">
      <vt:variant>
        <vt:lpstr>Fonts Used</vt:lpstr>
      </vt:variant>
      <vt:variant>
        <vt:i4>11</vt:i4>
      </vt:variant>
      <vt:variant>
        <vt:lpstr>Theme</vt:lpstr>
      </vt:variant>
      <vt:variant>
        <vt:i4>3</vt:i4>
      </vt:variant>
      <vt:variant>
        <vt:lpstr>Slide Titles</vt:lpstr>
      </vt:variant>
      <vt:variant>
        <vt:i4>43</vt:i4>
      </vt:variant>
    </vt:vector>
  </HeadingPairs>
  <TitlesOfParts>
    <vt:vector size="57" baseType="lpstr">
      <vt:lpstr>Arial</vt:lpstr>
      <vt:lpstr>Bryant Medium Italic</vt:lpstr>
      <vt:lpstr>Calibri</vt:lpstr>
      <vt:lpstr>Calibri Light</vt:lpstr>
      <vt:lpstr>Franklin Gothic Book</vt:lpstr>
      <vt:lpstr>Gill Sans</vt:lpstr>
      <vt:lpstr>Gill Sans MT</vt:lpstr>
      <vt:lpstr>Quicksand</vt:lpstr>
      <vt:lpstr>Quicksand Medium</vt:lpstr>
      <vt:lpstr>Symbol</vt:lpstr>
      <vt:lpstr>System Font Regular</vt:lpstr>
      <vt:lpstr>Office Theme</vt:lpstr>
      <vt:lpstr>2_Office Theme</vt:lpstr>
      <vt:lpstr>1_Office Theme</vt:lpstr>
      <vt:lpstr>PowerPoint Presentation</vt:lpstr>
      <vt:lpstr>An area-wide approach  for programming rural sanitation</vt:lpstr>
      <vt:lpstr>Session plan</vt:lpstr>
      <vt:lpstr>Area-wide sanitation poll</vt:lpstr>
      <vt:lpstr>PowerPoint Presentation</vt:lpstr>
      <vt:lpstr>FINISH Mondial Proven Model on Sanitation Market Development for BoP</vt:lpstr>
      <vt:lpstr>FINISH Mondial Proven Model on Sanitation Market Development for BoP</vt:lpstr>
      <vt:lpstr>FINISH Mondial Results 2022</vt:lpstr>
      <vt:lpstr>FINISH Mondial  </vt:lpstr>
      <vt:lpstr>PowerPoint Presentation</vt:lpstr>
      <vt:lpstr>USAID Water, Sanitation, and Hygiene Partnerships and Learning for Sustainability (WASHPaLS) #2</vt:lpstr>
      <vt:lpstr>The goal</vt:lpstr>
      <vt:lpstr>The reality</vt:lpstr>
      <vt:lpstr>A response</vt:lpstr>
      <vt:lpstr>AWS principles – what’s different?</vt:lpstr>
      <vt:lpstr>How to implement AWS?</vt:lpstr>
      <vt:lpstr>PowerPoint Presentation</vt:lpstr>
      <vt:lpstr>Summary ToC</vt:lpstr>
      <vt:lpstr>PowerPoint Presentation</vt:lpstr>
      <vt:lpstr>PowerPoint Presentation</vt:lpstr>
      <vt:lpstr>PowerPoint Presentation</vt:lpstr>
      <vt:lpstr>Questions – elements and pathways  of change</vt:lpstr>
      <vt:lpstr>Nice, this TOC, but how to implement, sequence and combine all these different processes, interventions  and activities? </vt:lpstr>
      <vt:lpstr>An example on market-based sanitation</vt:lpstr>
      <vt:lpstr>Finish Mondial LNOB </vt:lpstr>
      <vt:lpstr>PowerPoint Presentation</vt:lpstr>
      <vt:lpstr>Contents slide</vt:lpstr>
      <vt:lpstr>Rationale of the DSCs establishment</vt:lpstr>
      <vt:lpstr> What are the components and functions of the DSC?</vt:lpstr>
      <vt:lpstr>DSC and Community showrooms Parts</vt:lpstr>
      <vt:lpstr>Location and management the DSCs</vt:lpstr>
      <vt:lpstr>Current status and impact</vt:lpstr>
      <vt:lpstr>Partners roles &amp; responsibilities</vt:lpstr>
      <vt:lpstr>PowerPoint Presentation</vt:lpstr>
      <vt:lpstr>PowerPoint Presentation</vt:lpstr>
      <vt:lpstr>Challenges, Opportunities and  Lessons learnt</vt:lpstr>
      <vt:lpstr>Conclusion and Way forward  </vt:lpstr>
      <vt:lpstr>Where next?</vt:lpstr>
      <vt:lpstr>WASHPaLS #2 AWS research &amp; learning agenda</vt:lpstr>
      <vt:lpstr>Monitoring, Evaluation, Accountability &amp; Learning (MEAL) in FINISH Mondial</vt:lpstr>
      <vt:lpstr> </vt:lpstr>
      <vt:lpstr>Get in touch</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chan Dalrymple</dc:creator>
  <cp:lastModifiedBy>USER</cp:lastModifiedBy>
  <cp:revision>17</cp:revision>
  <dcterms:created xsi:type="dcterms:W3CDTF">2023-03-15T11:22:56Z</dcterms:created>
  <dcterms:modified xsi:type="dcterms:W3CDTF">2023-05-03T07:3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E9FDEED1CF3F4B9DC0D7FB7D725DAF</vt:lpwstr>
  </property>
  <property fmtid="{D5CDD505-2E9C-101B-9397-08002B2CF9AE}" pid="3" name="MediaServiceImageTags">
    <vt:lpwstr/>
  </property>
</Properties>
</file>